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1.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4869" r:id="rId5"/>
    <p:sldMasterId id="2147484942" r:id="rId6"/>
    <p:sldMasterId id="2147485135" r:id="rId7"/>
    <p:sldMasterId id="2147485148" r:id="rId8"/>
    <p:sldMasterId id="2147485160" r:id="rId9"/>
    <p:sldMasterId id="2147485172" r:id="rId10"/>
    <p:sldMasterId id="2147485184" r:id="rId11"/>
    <p:sldMasterId id="2147485196" r:id="rId12"/>
    <p:sldMasterId id="2147485208" r:id="rId13"/>
    <p:sldMasterId id="2147485265" r:id="rId14"/>
    <p:sldMasterId id="2147485289" r:id="rId15"/>
  </p:sldMasterIdLst>
  <p:notesMasterIdLst>
    <p:notesMasterId r:id="rId79"/>
  </p:notesMasterIdLst>
  <p:sldIdLst>
    <p:sldId id="2147308687" r:id="rId16"/>
    <p:sldId id="256" r:id="rId17"/>
    <p:sldId id="743" r:id="rId18"/>
    <p:sldId id="741" r:id="rId19"/>
    <p:sldId id="2147308676" r:id="rId20"/>
    <p:sldId id="262" r:id="rId21"/>
    <p:sldId id="280" r:id="rId22"/>
    <p:sldId id="747" r:id="rId23"/>
    <p:sldId id="259" r:id="rId24"/>
    <p:sldId id="742" r:id="rId25"/>
    <p:sldId id="2147308674" r:id="rId26"/>
    <p:sldId id="2147308689" r:id="rId27"/>
    <p:sldId id="274" r:id="rId28"/>
    <p:sldId id="2147308677" r:id="rId29"/>
    <p:sldId id="2147308678" r:id="rId30"/>
    <p:sldId id="2147308679" r:id="rId31"/>
    <p:sldId id="275" r:id="rId32"/>
    <p:sldId id="276" r:id="rId33"/>
    <p:sldId id="277" r:id="rId34"/>
    <p:sldId id="278" r:id="rId35"/>
    <p:sldId id="279" r:id="rId36"/>
    <p:sldId id="2147308680" r:id="rId37"/>
    <p:sldId id="2147308681" r:id="rId38"/>
    <p:sldId id="2147308683" r:id="rId39"/>
    <p:sldId id="2147308682" r:id="rId40"/>
    <p:sldId id="268" r:id="rId41"/>
    <p:sldId id="269" r:id="rId42"/>
    <p:sldId id="270" r:id="rId43"/>
    <p:sldId id="271" r:id="rId44"/>
    <p:sldId id="752" r:id="rId45"/>
    <p:sldId id="292" r:id="rId46"/>
    <p:sldId id="293" r:id="rId47"/>
    <p:sldId id="2147308713" r:id="rId48"/>
    <p:sldId id="2147308715" r:id="rId49"/>
    <p:sldId id="2147308684" r:id="rId50"/>
    <p:sldId id="2147308690" r:id="rId51"/>
    <p:sldId id="2147308692" r:id="rId52"/>
    <p:sldId id="2147308693" r:id="rId53"/>
    <p:sldId id="2147308694" r:id="rId54"/>
    <p:sldId id="2147308695" r:id="rId55"/>
    <p:sldId id="2147308696" r:id="rId56"/>
    <p:sldId id="2147308697" r:id="rId57"/>
    <p:sldId id="2147308704" r:id="rId58"/>
    <p:sldId id="2147308705" r:id="rId59"/>
    <p:sldId id="2147308706" r:id="rId60"/>
    <p:sldId id="2147308707" r:id="rId61"/>
    <p:sldId id="473" r:id="rId62"/>
    <p:sldId id="2147308698" r:id="rId63"/>
    <p:sldId id="2147308699" r:id="rId64"/>
    <p:sldId id="2147308700" r:id="rId65"/>
    <p:sldId id="2147308701" r:id="rId66"/>
    <p:sldId id="2147308702" r:id="rId67"/>
    <p:sldId id="2147308703" r:id="rId68"/>
    <p:sldId id="2147308710" r:id="rId69"/>
    <p:sldId id="2147308711" r:id="rId70"/>
    <p:sldId id="2147308708" r:id="rId71"/>
    <p:sldId id="460" r:id="rId72"/>
    <p:sldId id="2147308709" r:id="rId73"/>
    <p:sldId id="2147308685" r:id="rId74"/>
    <p:sldId id="2147308686" r:id="rId75"/>
    <p:sldId id="2147308712" r:id="rId76"/>
    <p:sldId id="739" r:id="rId77"/>
    <p:sldId id="734" r:id="rId78"/>
  </p:sldIdLst>
  <p:sldSz cx="12192000" cy="6858000"/>
  <p:notesSz cx="9309100" cy="7023100"/>
  <p:defaultTextStyle>
    <a:defPPr>
      <a:defRPr lang="es-MX"/>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37">
          <p15:clr>
            <a:srgbClr val="A4A3A4"/>
          </p15:clr>
        </p15:guide>
        <p15:guide id="2" pos="461">
          <p15:clr>
            <a:srgbClr val="A4A3A4"/>
          </p15:clr>
        </p15:guide>
        <p15:guide id="3" pos="3940">
          <p15:clr>
            <a:srgbClr val="A4A3A4"/>
          </p15:clr>
        </p15:guide>
        <p15:guide id="4" pos="302">
          <p15:clr>
            <a:srgbClr val="A4A3A4"/>
          </p15:clr>
        </p15:guide>
        <p15:guide id="5" orient="horz" pos="55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4D600"/>
    <a:srgbClr val="2BD0EC"/>
    <a:srgbClr val="0075BD"/>
    <a:srgbClr val="0053B8"/>
    <a:srgbClr val="0097A9"/>
    <a:srgbClr val="6FC2B4"/>
    <a:srgbClr val="86BC25"/>
    <a:srgbClr val="E3E48D"/>
    <a:srgbClr val="FFD500"/>
    <a:srgbClr val="00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C279BF-06F8-4CD7-9CD1-9257805B6094}" v="52" dt="2023-11-27T20:37:29.458"/>
    <p1510:client id="{4F1284CE-E8AD-46B3-A750-0C731915F4D2}" v="4" vWet="8" dt="2023-11-28T17:24:10.040"/>
    <p1510:client id="{FCDB06F9-9DF4-44A4-A21B-D56534C37E39}" v="5" dt="2023-11-28T17:24:20.2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37"/>
        <p:guide pos="461"/>
        <p:guide pos="3940"/>
        <p:guide pos="302"/>
        <p:guide orient="horz" pos="550"/>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microsoft.com/office/2015/10/relationships/revisionInfo" Target="revisionInfo.xml"/><Relationship Id="rId16" Type="http://schemas.openxmlformats.org/officeDocument/2006/relationships/slide" Target="slides/slide1.xml"/><Relationship Id="rId11" Type="http://schemas.openxmlformats.org/officeDocument/2006/relationships/slideMaster" Target="slideMasters/slideMaster8.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46.xml"/><Relationship Id="rId82" Type="http://schemas.openxmlformats.org/officeDocument/2006/relationships/theme" Target="theme/theme1.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7" Type="http://schemas.openxmlformats.org/officeDocument/2006/relationships/slideMaster" Target="slideMasters/slideMaster4.xml"/><Relationship Id="rId71" Type="http://schemas.openxmlformats.org/officeDocument/2006/relationships/slide" Target="slides/slide56.xml"/><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2807E84-22CC-C8ED-EA98-A377B3F07FFA}"/>
              </a:ext>
            </a:extLst>
          </p:cNvPr>
          <p:cNvSpPr>
            <a:spLocks noGrp="1"/>
          </p:cNvSpPr>
          <p:nvPr>
            <p:ph type="hdr" sz="quarter"/>
          </p:nvPr>
        </p:nvSpPr>
        <p:spPr>
          <a:xfrm>
            <a:off x="0" y="0"/>
            <a:ext cx="4033838" cy="352425"/>
          </a:xfrm>
          <a:prstGeom prst="rect">
            <a:avLst/>
          </a:prstGeom>
        </p:spPr>
        <p:txBody>
          <a:bodyPr vert="horz" lIns="93312" tIns="46656" rIns="93312" bIns="46656" rtlCol="0"/>
          <a:lstStyle>
            <a:lvl1pPr algn="l" eaLnBrk="1" fontAlgn="auto" hangingPunct="1">
              <a:spcBef>
                <a:spcPts val="0"/>
              </a:spcBef>
              <a:spcAft>
                <a:spcPts val="0"/>
              </a:spcAft>
              <a:defRPr sz="1200">
                <a:latin typeface="+mn-lt"/>
              </a:defRPr>
            </a:lvl1pPr>
          </a:lstStyle>
          <a:p>
            <a:pPr>
              <a:defRPr/>
            </a:pPr>
            <a:endParaRPr lang="es-MX"/>
          </a:p>
        </p:txBody>
      </p:sp>
      <p:sp>
        <p:nvSpPr>
          <p:cNvPr id="3" name="Date Placeholder 2">
            <a:extLst>
              <a:ext uri="{FF2B5EF4-FFF2-40B4-BE49-F238E27FC236}">
                <a16:creationId xmlns:a16="http://schemas.microsoft.com/office/drawing/2014/main" id="{F2B57E6C-1C72-52A6-F6AC-407632D3620D}"/>
              </a:ext>
            </a:extLst>
          </p:cNvPr>
          <p:cNvSpPr>
            <a:spLocks noGrp="1"/>
          </p:cNvSpPr>
          <p:nvPr>
            <p:ph type="dt" idx="1"/>
          </p:nvPr>
        </p:nvSpPr>
        <p:spPr>
          <a:xfrm>
            <a:off x="5273675" y="0"/>
            <a:ext cx="4033838" cy="352425"/>
          </a:xfrm>
          <a:prstGeom prst="rect">
            <a:avLst/>
          </a:prstGeom>
        </p:spPr>
        <p:txBody>
          <a:bodyPr vert="horz" lIns="93312" tIns="46656" rIns="93312" bIns="46656" rtlCol="0"/>
          <a:lstStyle>
            <a:lvl1pPr algn="r" eaLnBrk="1" fontAlgn="auto" hangingPunct="1">
              <a:spcBef>
                <a:spcPts val="0"/>
              </a:spcBef>
              <a:spcAft>
                <a:spcPts val="0"/>
              </a:spcAft>
              <a:defRPr sz="1200">
                <a:latin typeface="+mn-lt"/>
              </a:defRPr>
            </a:lvl1pPr>
          </a:lstStyle>
          <a:p>
            <a:pPr>
              <a:defRPr/>
            </a:pPr>
            <a:fld id="{98A899B1-948F-4A01-901E-7E96C1042B4D}" type="datetimeFigureOut">
              <a:rPr lang="es-MX"/>
              <a:pPr>
                <a:defRPr/>
              </a:pPr>
              <a:t>01/12/2023</a:t>
            </a:fld>
            <a:endParaRPr lang="es-MX"/>
          </a:p>
        </p:txBody>
      </p:sp>
      <p:sp>
        <p:nvSpPr>
          <p:cNvPr id="4" name="Slide Image Placeholder 3">
            <a:extLst>
              <a:ext uri="{FF2B5EF4-FFF2-40B4-BE49-F238E27FC236}">
                <a16:creationId xmlns:a16="http://schemas.microsoft.com/office/drawing/2014/main" id="{FB1B9CB2-977D-622B-C6C8-FE9320F1B812}"/>
              </a:ext>
            </a:extLst>
          </p:cNvPr>
          <p:cNvSpPr>
            <a:spLocks noGrp="1" noRot="1" noChangeAspect="1"/>
          </p:cNvSpPr>
          <p:nvPr>
            <p:ph type="sldImg" idx="2"/>
          </p:nvPr>
        </p:nvSpPr>
        <p:spPr>
          <a:xfrm>
            <a:off x="2547938" y="877888"/>
            <a:ext cx="4213225" cy="2370137"/>
          </a:xfrm>
          <a:prstGeom prst="rect">
            <a:avLst/>
          </a:prstGeom>
          <a:noFill/>
          <a:ln w="12700">
            <a:solidFill>
              <a:prstClr val="black"/>
            </a:solidFill>
          </a:ln>
        </p:spPr>
        <p:txBody>
          <a:bodyPr vert="horz" lIns="93312" tIns="46656" rIns="93312" bIns="46656" rtlCol="0" anchor="ctr"/>
          <a:lstStyle/>
          <a:p>
            <a:pPr lvl="0"/>
            <a:endParaRPr lang="es-MX" noProof="0"/>
          </a:p>
        </p:txBody>
      </p:sp>
      <p:sp>
        <p:nvSpPr>
          <p:cNvPr id="5" name="Notes Placeholder 4">
            <a:extLst>
              <a:ext uri="{FF2B5EF4-FFF2-40B4-BE49-F238E27FC236}">
                <a16:creationId xmlns:a16="http://schemas.microsoft.com/office/drawing/2014/main" id="{224AEAF2-8B96-EF47-5525-C709CBEDE507}"/>
              </a:ext>
            </a:extLst>
          </p:cNvPr>
          <p:cNvSpPr>
            <a:spLocks noGrp="1"/>
          </p:cNvSpPr>
          <p:nvPr>
            <p:ph type="body" sz="quarter" idx="3"/>
          </p:nvPr>
        </p:nvSpPr>
        <p:spPr>
          <a:xfrm>
            <a:off x="930275" y="3379788"/>
            <a:ext cx="7448550" cy="2765425"/>
          </a:xfrm>
          <a:prstGeom prst="rect">
            <a:avLst/>
          </a:prstGeom>
        </p:spPr>
        <p:txBody>
          <a:bodyPr vert="horz" lIns="93312" tIns="46656" rIns="93312" bIns="46656"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s-MX" noProof="0"/>
          </a:p>
        </p:txBody>
      </p:sp>
      <p:sp>
        <p:nvSpPr>
          <p:cNvPr id="6" name="Footer Placeholder 5">
            <a:extLst>
              <a:ext uri="{FF2B5EF4-FFF2-40B4-BE49-F238E27FC236}">
                <a16:creationId xmlns:a16="http://schemas.microsoft.com/office/drawing/2014/main" id="{8E31D711-C913-E111-94F1-E23425960DC6}"/>
              </a:ext>
            </a:extLst>
          </p:cNvPr>
          <p:cNvSpPr>
            <a:spLocks noGrp="1"/>
          </p:cNvSpPr>
          <p:nvPr>
            <p:ph type="ftr" sz="quarter" idx="4"/>
          </p:nvPr>
        </p:nvSpPr>
        <p:spPr>
          <a:xfrm>
            <a:off x="0" y="6670675"/>
            <a:ext cx="4033838" cy="352425"/>
          </a:xfrm>
          <a:prstGeom prst="rect">
            <a:avLst/>
          </a:prstGeom>
        </p:spPr>
        <p:txBody>
          <a:bodyPr vert="horz" lIns="93312" tIns="46656" rIns="93312" bIns="46656" rtlCol="0" anchor="b"/>
          <a:lstStyle>
            <a:lvl1pPr algn="l" eaLnBrk="1" fontAlgn="auto" hangingPunct="1">
              <a:spcBef>
                <a:spcPts val="0"/>
              </a:spcBef>
              <a:spcAft>
                <a:spcPts val="0"/>
              </a:spcAft>
              <a:defRPr sz="1200">
                <a:latin typeface="+mn-lt"/>
              </a:defRPr>
            </a:lvl1pPr>
          </a:lstStyle>
          <a:p>
            <a:pPr>
              <a:defRPr/>
            </a:pPr>
            <a:endParaRPr lang="es-MX"/>
          </a:p>
        </p:txBody>
      </p:sp>
      <p:sp>
        <p:nvSpPr>
          <p:cNvPr id="7" name="Slide Number Placeholder 6">
            <a:extLst>
              <a:ext uri="{FF2B5EF4-FFF2-40B4-BE49-F238E27FC236}">
                <a16:creationId xmlns:a16="http://schemas.microsoft.com/office/drawing/2014/main" id="{271F835A-47E5-1CB7-54A7-0DFEEBA736DA}"/>
              </a:ext>
            </a:extLst>
          </p:cNvPr>
          <p:cNvSpPr>
            <a:spLocks noGrp="1"/>
          </p:cNvSpPr>
          <p:nvPr>
            <p:ph type="sldNum" sz="quarter" idx="5"/>
          </p:nvPr>
        </p:nvSpPr>
        <p:spPr>
          <a:xfrm>
            <a:off x="5273675" y="6670675"/>
            <a:ext cx="4033838" cy="352425"/>
          </a:xfrm>
          <a:prstGeom prst="rect">
            <a:avLst/>
          </a:prstGeom>
        </p:spPr>
        <p:txBody>
          <a:bodyPr vert="horz" lIns="93312" tIns="46656" rIns="93312" bIns="46656" rtlCol="0" anchor="b"/>
          <a:lstStyle>
            <a:lvl1pPr algn="r" eaLnBrk="1" fontAlgn="auto" hangingPunct="1">
              <a:spcBef>
                <a:spcPts val="0"/>
              </a:spcBef>
              <a:spcAft>
                <a:spcPts val="0"/>
              </a:spcAft>
              <a:defRPr sz="1200">
                <a:latin typeface="+mn-lt"/>
              </a:defRPr>
            </a:lvl1pPr>
          </a:lstStyle>
          <a:p>
            <a:pPr>
              <a:defRPr/>
            </a:pPr>
            <a:fld id="{2F30E0FC-6021-43EB-89AC-26043AA154B8}" type="slidenum">
              <a:rPr lang="es-MX"/>
              <a:pPr>
                <a:defRPr/>
              </a:pPr>
              <a:t>‹#›</a:t>
            </a:fld>
            <a:endParaRPr lang="es-MX"/>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D992AAC5-9F7F-7785-C788-9BB721DB4AF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a:extLst>
              <a:ext uri="{FF2B5EF4-FFF2-40B4-BE49-F238E27FC236}">
                <a16:creationId xmlns:a16="http://schemas.microsoft.com/office/drawing/2014/main" id="{6600CD52-2B6E-14B1-14F6-0E4D39578E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4340" name="Slide Number Placeholder 3">
            <a:extLst>
              <a:ext uri="{FF2B5EF4-FFF2-40B4-BE49-F238E27FC236}">
                <a16:creationId xmlns:a16="http://schemas.microsoft.com/office/drawing/2014/main" id="{D9BF7916-8B89-03B2-10B3-9853CF14F41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DFAFF704-B0B8-4E2C-931F-86F93D909922}" type="slidenum">
              <a:rPr lang="es-MX" altLang="en-US" smtClean="0">
                <a:solidFill>
                  <a:srgbClr val="000000"/>
                </a:solidFill>
              </a:rPr>
              <a:pPr fontAlgn="base">
                <a:spcBef>
                  <a:spcPct val="0"/>
                </a:spcBef>
                <a:spcAft>
                  <a:spcPct val="0"/>
                </a:spcAft>
              </a:pPr>
              <a:t>4</a:t>
            </a:fld>
            <a:endParaRPr lang="es-MX" altLang="en-US">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4759"/>
              </a:lnSpc>
            </a:pPr>
            <a:r>
              <a:rPr lang="en-US" sz="1200">
                <a:solidFill>
                  <a:schemeClr val="bg1"/>
                </a:solidFill>
                <a:latin typeface="+mj-lt"/>
              </a:rPr>
              <a:t>GPT no </a:t>
            </a:r>
            <a:r>
              <a:rPr lang="en-US" sz="1200" err="1">
                <a:solidFill>
                  <a:schemeClr val="bg1"/>
                </a:solidFill>
                <a:latin typeface="+mj-lt"/>
              </a:rPr>
              <a:t>guarda</a:t>
            </a:r>
            <a:r>
              <a:rPr lang="en-US" sz="1200">
                <a:solidFill>
                  <a:schemeClr val="bg1"/>
                </a:solidFill>
                <a:latin typeface="+mj-lt"/>
              </a:rPr>
              <a:t> las </a:t>
            </a:r>
            <a:r>
              <a:rPr lang="en-US" sz="1200" err="1">
                <a:solidFill>
                  <a:schemeClr val="bg1"/>
                </a:solidFill>
                <a:latin typeface="+mj-lt"/>
              </a:rPr>
              <a:t>frases</a:t>
            </a:r>
            <a:r>
              <a:rPr lang="en-US" sz="1200">
                <a:solidFill>
                  <a:schemeClr val="bg1"/>
                </a:solidFill>
                <a:latin typeface="+mj-lt"/>
              </a:rPr>
              <a:t> </a:t>
            </a:r>
            <a:r>
              <a:rPr lang="en-US" sz="1200" err="1">
                <a:solidFill>
                  <a:schemeClr val="bg1"/>
                </a:solidFill>
                <a:latin typeface="+mj-lt"/>
              </a:rPr>
              <a:t>enteras</a:t>
            </a:r>
            <a:r>
              <a:rPr lang="en-US" sz="1200">
                <a:solidFill>
                  <a:schemeClr val="bg1"/>
                </a:solidFill>
                <a:latin typeface="+mj-lt"/>
              </a:rPr>
              <a:t>, </a:t>
            </a:r>
            <a:r>
              <a:rPr lang="en-US" sz="1200" err="1">
                <a:solidFill>
                  <a:schemeClr val="bg1"/>
                </a:solidFill>
                <a:latin typeface="+mj-lt"/>
              </a:rPr>
              <a:t>sino</a:t>
            </a:r>
            <a:r>
              <a:rPr lang="en-US" sz="1200">
                <a:solidFill>
                  <a:schemeClr val="bg1"/>
                </a:solidFill>
                <a:latin typeface="+mj-lt"/>
              </a:rPr>
              <a:t> que </a:t>
            </a:r>
            <a:r>
              <a:rPr lang="en-US" sz="1200" err="1">
                <a:solidFill>
                  <a:schemeClr val="bg1"/>
                </a:solidFill>
                <a:latin typeface="+mj-lt"/>
              </a:rPr>
              <a:t>guarda</a:t>
            </a:r>
            <a:r>
              <a:rPr lang="en-US" sz="1200">
                <a:solidFill>
                  <a:schemeClr val="bg1"/>
                </a:solidFill>
                <a:latin typeface="+mj-lt"/>
              </a:rPr>
              <a:t> </a:t>
            </a:r>
            <a:r>
              <a:rPr lang="en-US" sz="1200" err="1">
                <a:solidFill>
                  <a:schemeClr val="bg1"/>
                </a:solidFill>
                <a:latin typeface="+mj-lt"/>
              </a:rPr>
              <a:t>solamente</a:t>
            </a:r>
            <a:r>
              <a:rPr lang="en-US" sz="1200">
                <a:solidFill>
                  <a:schemeClr val="bg1"/>
                </a:solidFill>
                <a:latin typeface="+mj-lt"/>
              </a:rPr>
              <a:t> lo </a:t>
            </a:r>
            <a:r>
              <a:rPr lang="en-US" sz="1200" err="1">
                <a:solidFill>
                  <a:schemeClr val="bg1"/>
                </a:solidFill>
                <a:latin typeface="+mj-lt"/>
              </a:rPr>
              <a:t>importante</a:t>
            </a:r>
            <a:r>
              <a:rPr lang="en-US" sz="1200">
                <a:solidFill>
                  <a:schemeClr val="bg1"/>
                </a:solidFill>
                <a:latin typeface="+mj-lt"/>
              </a:rPr>
              <a:t>. </a:t>
            </a:r>
          </a:p>
          <a:p>
            <a:pPr>
              <a:lnSpc>
                <a:spcPts val="4759"/>
              </a:lnSpc>
            </a:pPr>
            <a:endParaRPr lang="en-US" sz="1200">
              <a:solidFill>
                <a:schemeClr val="bg1"/>
              </a:solidFill>
              <a:latin typeface="+mj-lt"/>
            </a:endParaRPr>
          </a:p>
          <a:p>
            <a:pPr>
              <a:lnSpc>
                <a:spcPts val="4759"/>
              </a:lnSpc>
            </a:pPr>
            <a:r>
              <a:rPr lang="en-US" sz="1200">
                <a:solidFill>
                  <a:schemeClr val="bg1"/>
                </a:solidFill>
                <a:latin typeface="+mj-lt"/>
              </a:rPr>
              <a:t>Para </a:t>
            </a:r>
            <a:r>
              <a:rPr lang="en-US" sz="1200" err="1">
                <a:solidFill>
                  <a:schemeClr val="bg1"/>
                </a:solidFill>
                <a:latin typeface="+mj-lt"/>
              </a:rPr>
              <a:t>quedarse</a:t>
            </a:r>
            <a:r>
              <a:rPr lang="en-US" sz="1200">
                <a:solidFill>
                  <a:schemeClr val="bg1"/>
                </a:solidFill>
                <a:latin typeface="+mj-lt"/>
              </a:rPr>
              <a:t> con lo “</a:t>
            </a:r>
            <a:r>
              <a:rPr lang="en-US" sz="1200" err="1">
                <a:solidFill>
                  <a:schemeClr val="bg1"/>
                </a:solidFill>
                <a:latin typeface="+mj-lt"/>
              </a:rPr>
              <a:t>importante</a:t>
            </a:r>
            <a:r>
              <a:rPr lang="en-US" sz="1200">
                <a:solidFill>
                  <a:schemeClr val="bg1"/>
                </a:solidFill>
                <a:latin typeface="+mj-lt"/>
              </a:rPr>
              <a:t>” </a:t>
            </a:r>
            <a:r>
              <a:rPr lang="en-US" sz="1200" err="1">
                <a:solidFill>
                  <a:schemeClr val="bg1"/>
                </a:solidFill>
                <a:latin typeface="+mj-lt"/>
              </a:rPr>
              <a:t>utiliza</a:t>
            </a:r>
            <a:r>
              <a:rPr lang="en-US" sz="1200">
                <a:solidFill>
                  <a:schemeClr val="bg1"/>
                </a:solidFill>
                <a:latin typeface="+mj-lt"/>
              </a:rPr>
              <a:t> </a:t>
            </a:r>
            <a:r>
              <a:rPr lang="en-US" sz="1200" err="1">
                <a:solidFill>
                  <a:schemeClr val="bg1"/>
                </a:solidFill>
                <a:latin typeface="+mj-lt"/>
              </a:rPr>
              <a:t>una</a:t>
            </a:r>
            <a:r>
              <a:rPr lang="en-US" sz="1200">
                <a:solidFill>
                  <a:schemeClr val="bg1"/>
                </a:solidFill>
                <a:latin typeface="+mj-lt"/>
              </a:rPr>
              <a:t> </a:t>
            </a:r>
            <a:r>
              <a:rPr lang="en-US" sz="1200" err="1">
                <a:solidFill>
                  <a:schemeClr val="bg1"/>
                </a:solidFill>
                <a:latin typeface="+mj-lt"/>
              </a:rPr>
              <a:t>técnica</a:t>
            </a:r>
            <a:r>
              <a:rPr lang="en-US" sz="1200">
                <a:solidFill>
                  <a:schemeClr val="bg1"/>
                </a:solidFill>
                <a:latin typeface="+mj-lt"/>
              </a:rPr>
              <a:t> </a:t>
            </a:r>
            <a:r>
              <a:rPr lang="en-US" sz="1200" err="1">
                <a:solidFill>
                  <a:schemeClr val="bg1"/>
                </a:solidFill>
                <a:latin typeface="+mj-lt"/>
              </a:rPr>
              <a:t>llamada</a:t>
            </a:r>
            <a:r>
              <a:rPr lang="en-US" sz="1200">
                <a:solidFill>
                  <a:schemeClr val="bg1"/>
                </a:solidFill>
                <a:latin typeface="+mj-lt"/>
              </a:rPr>
              <a:t> </a:t>
            </a:r>
            <a:r>
              <a:rPr lang="en-US" sz="1200" err="1">
                <a:solidFill>
                  <a:schemeClr val="bg1"/>
                </a:solidFill>
                <a:latin typeface="+mj-lt"/>
              </a:rPr>
              <a:t>lematización</a:t>
            </a:r>
            <a:r>
              <a:rPr lang="en-US" sz="1200">
                <a:solidFill>
                  <a:schemeClr val="bg1"/>
                </a:solidFill>
                <a:latin typeface="+mj-lt"/>
              </a:rPr>
              <a:t>, la </a:t>
            </a:r>
            <a:r>
              <a:rPr lang="en-US" sz="1200" err="1">
                <a:solidFill>
                  <a:schemeClr val="bg1"/>
                </a:solidFill>
                <a:latin typeface="+mj-lt"/>
              </a:rPr>
              <a:t>cual</a:t>
            </a:r>
            <a:r>
              <a:rPr lang="en-US" sz="1200">
                <a:solidFill>
                  <a:schemeClr val="bg1"/>
                </a:solidFill>
                <a:latin typeface="+mj-lt"/>
              </a:rPr>
              <a:t> </a:t>
            </a:r>
            <a:r>
              <a:rPr lang="en-US" sz="1200" err="1">
                <a:solidFill>
                  <a:schemeClr val="bg1"/>
                </a:solidFill>
                <a:latin typeface="+mj-lt"/>
              </a:rPr>
              <a:t>lleva</a:t>
            </a:r>
            <a:r>
              <a:rPr lang="en-US" sz="1200">
                <a:solidFill>
                  <a:schemeClr val="bg1"/>
                </a:solidFill>
                <a:latin typeface="+mj-lt"/>
              </a:rPr>
              <a:t> las palabras a sus </a:t>
            </a:r>
            <a:r>
              <a:rPr lang="en-US" sz="1200" err="1">
                <a:solidFill>
                  <a:schemeClr val="bg1"/>
                </a:solidFill>
                <a:latin typeface="+mj-lt"/>
              </a:rPr>
              <a:t>expresiones</a:t>
            </a:r>
            <a:r>
              <a:rPr lang="en-US" sz="1200">
                <a:solidFill>
                  <a:schemeClr val="bg1"/>
                </a:solidFill>
                <a:latin typeface="+mj-lt"/>
              </a:rPr>
              <a:t> </a:t>
            </a:r>
            <a:r>
              <a:rPr lang="en-US" sz="1200" err="1">
                <a:solidFill>
                  <a:schemeClr val="bg1"/>
                </a:solidFill>
                <a:latin typeface="+mj-lt"/>
              </a:rPr>
              <a:t>más</a:t>
            </a:r>
            <a:r>
              <a:rPr lang="en-US" sz="1200">
                <a:solidFill>
                  <a:schemeClr val="bg1"/>
                </a:solidFill>
                <a:latin typeface="+mj-lt"/>
              </a:rPr>
              <a:t> simples, junto con la </a:t>
            </a:r>
            <a:r>
              <a:rPr lang="en-US" sz="1200" err="1">
                <a:solidFill>
                  <a:schemeClr val="bg1"/>
                </a:solidFill>
                <a:latin typeface="+mj-lt"/>
              </a:rPr>
              <a:t>normalización</a:t>
            </a:r>
            <a:r>
              <a:rPr lang="en-US" sz="1200">
                <a:solidFill>
                  <a:schemeClr val="bg1"/>
                </a:solidFill>
                <a:latin typeface="+mj-lt"/>
              </a:rPr>
              <a:t> que </a:t>
            </a:r>
            <a:r>
              <a:rPr lang="en-US" sz="1200" err="1">
                <a:solidFill>
                  <a:schemeClr val="bg1"/>
                </a:solidFill>
                <a:latin typeface="+mj-lt"/>
              </a:rPr>
              <a:t>acorta</a:t>
            </a:r>
            <a:r>
              <a:rPr lang="en-US" sz="1200">
                <a:solidFill>
                  <a:schemeClr val="bg1"/>
                </a:solidFill>
                <a:latin typeface="+mj-lt"/>
              </a:rPr>
              <a:t> la </a:t>
            </a:r>
            <a:r>
              <a:rPr lang="en-US" sz="1200" err="1">
                <a:solidFill>
                  <a:schemeClr val="bg1"/>
                </a:solidFill>
                <a:latin typeface="+mj-lt"/>
              </a:rPr>
              <a:t>frase</a:t>
            </a:r>
            <a:r>
              <a:rPr lang="en-US" sz="1200">
                <a:solidFill>
                  <a:schemeClr val="bg1"/>
                </a:solidFill>
                <a:latin typeface="+mj-lt"/>
              </a:rPr>
              <a:t> </a:t>
            </a:r>
            <a:r>
              <a:rPr lang="en-US" sz="1200" err="1">
                <a:solidFill>
                  <a:schemeClr val="bg1"/>
                </a:solidFill>
                <a:latin typeface="+mj-lt"/>
              </a:rPr>
              <a:t>sólo</a:t>
            </a:r>
            <a:r>
              <a:rPr lang="en-US" sz="1200">
                <a:solidFill>
                  <a:schemeClr val="bg1"/>
                </a:solidFill>
                <a:latin typeface="+mj-lt"/>
              </a:rPr>
              <a:t> a palabras </a:t>
            </a:r>
            <a:r>
              <a:rPr lang="en-US" sz="1200" err="1">
                <a:solidFill>
                  <a:schemeClr val="bg1"/>
                </a:solidFill>
                <a:latin typeface="+mj-lt"/>
              </a:rPr>
              <a:t>importantes</a:t>
            </a:r>
            <a:r>
              <a:rPr lang="en-US" sz="1200">
                <a:solidFill>
                  <a:schemeClr val="bg1"/>
                </a:solidFill>
                <a:latin typeface="+mj-lt"/>
              </a:rPr>
              <a: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1344E-620A-4A3E-B797-7691CD1EFF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096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a:solidFill>
                  <a:srgbClr val="0097A9"/>
                </a:solidFill>
                <a:latin typeface="Calibri Light" panose="020F0302020204030204" pitchFamily="34" charset="0"/>
                <a:cs typeface="Calibri Light" panose="020F0302020204030204" pitchFamily="34" charset="0"/>
              </a:rPr>
              <a:t>Embedding</a:t>
            </a:r>
          </a:p>
          <a:p>
            <a:pPr defTabSz="609630" eaLnBrk="1" fontAlgn="auto" hangingPunct="1">
              <a:lnSpc>
                <a:spcPts val="2471"/>
              </a:lnSpc>
              <a:spcAft>
                <a:spcPts val="0"/>
              </a:spcAft>
            </a:pPr>
            <a:r>
              <a:rPr lang="en-US" i="1">
                <a:solidFill>
                  <a:srgbClr val="FFFFFF"/>
                </a:solidFill>
                <a:latin typeface="Calibri"/>
              </a:rPr>
              <a:t>Word embedding </a:t>
            </a:r>
            <a:r>
              <a:rPr lang="en-US">
                <a:solidFill>
                  <a:srgbClr val="FFFFFF"/>
                </a:solidFill>
                <a:latin typeface="Calibri"/>
              </a:rPr>
              <a:t>es </a:t>
            </a:r>
            <a:r>
              <a:rPr lang="en-US" err="1">
                <a:solidFill>
                  <a:srgbClr val="FFFFFF"/>
                </a:solidFill>
                <a:latin typeface="Calibri"/>
              </a:rPr>
              <a:t>el</a:t>
            </a:r>
            <a:r>
              <a:rPr lang="en-US">
                <a:solidFill>
                  <a:srgbClr val="FFFFFF"/>
                </a:solidFill>
                <a:latin typeface="Calibri"/>
              </a:rPr>
              <a:t> </a:t>
            </a:r>
            <a:r>
              <a:rPr lang="en-US" err="1">
                <a:solidFill>
                  <a:srgbClr val="FFFFFF"/>
                </a:solidFill>
                <a:latin typeface="Calibri"/>
              </a:rPr>
              <a:t>nombre</a:t>
            </a:r>
            <a:r>
              <a:rPr lang="en-US">
                <a:solidFill>
                  <a:srgbClr val="FFFFFF"/>
                </a:solidFill>
                <a:latin typeface="Calibri"/>
              </a:rPr>
              <a:t> de un conjunto de </a:t>
            </a:r>
            <a:r>
              <a:rPr lang="en-US" err="1">
                <a:solidFill>
                  <a:srgbClr val="FFFFFF"/>
                </a:solidFill>
                <a:latin typeface="Calibri"/>
              </a:rPr>
              <a:t>modelos</a:t>
            </a:r>
            <a:r>
              <a:rPr lang="en-US">
                <a:solidFill>
                  <a:srgbClr val="FFFFFF"/>
                </a:solidFill>
                <a:latin typeface="Calibri"/>
              </a:rPr>
              <a:t> de </a:t>
            </a:r>
            <a:r>
              <a:rPr lang="en-US" err="1">
                <a:solidFill>
                  <a:srgbClr val="FFFFFF"/>
                </a:solidFill>
                <a:latin typeface="Calibri"/>
              </a:rPr>
              <a:t>lenguaje</a:t>
            </a:r>
            <a:r>
              <a:rPr lang="en-US">
                <a:solidFill>
                  <a:srgbClr val="FFFFFF"/>
                </a:solidFill>
                <a:latin typeface="Calibri"/>
              </a:rPr>
              <a:t> y </a:t>
            </a:r>
            <a:r>
              <a:rPr lang="en-US" err="1">
                <a:solidFill>
                  <a:srgbClr val="FFFFFF"/>
                </a:solidFill>
                <a:latin typeface="Calibri"/>
              </a:rPr>
              <a:t>técnicas</a:t>
            </a:r>
            <a:r>
              <a:rPr lang="en-US">
                <a:solidFill>
                  <a:srgbClr val="FFFFFF"/>
                </a:solidFill>
                <a:latin typeface="Calibri"/>
              </a:rPr>
              <a:t> de </a:t>
            </a:r>
            <a:r>
              <a:rPr lang="en-US" err="1">
                <a:solidFill>
                  <a:srgbClr val="FFFFFF"/>
                </a:solidFill>
                <a:latin typeface="Calibri"/>
              </a:rPr>
              <a:t>aprendizaje</a:t>
            </a:r>
            <a:r>
              <a:rPr lang="en-US">
                <a:solidFill>
                  <a:srgbClr val="FFFFFF"/>
                </a:solidFill>
                <a:latin typeface="Calibri"/>
              </a:rPr>
              <a:t> </a:t>
            </a:r>
            <a:r>
              <a:rPr lang="en-US" err="1">
                <a:solidFill>
                  <a:srgbClr val="FFFFFF"/>
                </a:solidFill>
                <a:latin typeface="Calibri"/>
              </a:rPr>
              <a:t>en</a:t>
            </a:r>
            <a:r>
              <a:rPr lang="en-US">
                <a:solidFill>
                  <a:srgbClr val="FFFFFF"/>
                </a:solidFill>
                <a:latin typeface="Calibri"/>
              </a:rPr>
              <a:t> </a:t>
            </a:r>
            <a:r>
              <a:rPr lang="en-US" err="1">
                <a:solidFill>
                  <a:srgbClr val="FFFFFF"/>
                </a:solidFill>
                <a:latin typeface="Calibri"/>
              </a:rPr>
              <a:t>procesamiento</a:t>
            </a:r>
            <a:r>
              <a:rPr lang="en-US">
                <a:solidFill>
                  <a:srgbClr val="FFFFFF"/>
                </a:solidFill>
                <a:latin typeface="Calibri"/>
              </a:rPr>
              <a:t> del </a:t>
            </a:r>
            <a:r>
              <a:rPr lang="en-US" err="1">
                <a:solidFill>
                  <a:srgbClr val="FFFFFF"/>
                </a:solidFill>
                <a:latin typeface="Calibri"/>
              </a:rPr>
              <a:t>lenguaje</a:t>
            </a:r>
            <a:r>
              <a:rPr lang="en-US">
                <a:solidFill>
                  <a:srgbClr val="FFFFFF"/>
                </a:solidFill>
                <a:latin typeface="Calibri"/>
              </a:rPr>
              <a:t> natural (PLN) </a:t>
            </a:r>
            <a:r>
              <a:rPr lang="en-US" err="1">
                <a:solidFill>
                  <a:srgbClr val="FFFFFF"/>
                </a:solidFill>
                <a:latin typeface="Calibri"/>
              </a:rPr>
              <a:t>en</a:t>
            </a:r>
            <a:r>
              <a:rPr lang="en-US">
                <a:solidFill>
                  <a:srgbClr val="FFFFFF"/>
                </a:solidFill>
                <a:latin typeface="Calibri"/>
              </a:rPr>
              <a:t> </a:t>
            </a:r>
            <a:r>
              <a:rPr lang="en-US" err="1">
                <a:solidFill>
                  <a:srgbClr val="FFFFFF"/>
                </a:solidFill>
                <a:latin typeface="Calibri"/>
              </a:rPr>
              <a:t>el</a:t>
            </a:r>
            <a:r>
              <a:rPr lang="en-US">
                <a:solidFill>
                  <a:srgbClr val="FFFFFF"/>
                </a:solidFill>
                <a:latin typeface="Calibri"/>
              </a:rPr>
              <a:t> </a:t>
            </a:r>
            <a:r>
              <a:rPr lang="en-US" err="1">
                <a:solidFill>
                  <a:srgbClr val="FFFFFF"/>
                </a:solidFill>
                <a:latin typeface="Calibri"/>
              </a:rPr>
              <a:t>cual</a:t>
            </a:r>
            <a:r>
              <a:rPr lang="en-US">
                <a:solidFill>
                  <a:srgbClr val="FFFFFF"/>
                </a:solidFill>
                <a:latin typeface="Calibri"/>
              </a:rPr>
              <a:t> las palabras o </a:t>
            </a:r>
            <a:r>
              <a:rPr lang="en-US" err="1">
                <a:solidFill>
                  <a:srgbClr val="FFFFFF"/>
                </a:solidFill>
                <a:latin typeface="Calibri"/>
              </a:rPr>
              <a:t>frases</a:t>
            </a:r>
            <a:r>
              <a:rPr lang="en-US">
                <a:solidFill>
                  <a:srgbClr val="FFFFFF"/>
                </a:solidFill>
                <a:latin typeface="Calibri"/>
              </a:rPr>
              <a:t> del </a:t>
            </a:r>
            <a:r>
              <a:rPr lang="en-US" err="1">
                <a:solidFill>
                  <a:srgbClr val="FFFFFF"/>
                </a:solidFill>
                <a:latin typeface="Calibri"/>
              </a:rPr>
              <a:t>lenguaje</a:t>
            </a:r>
            <a:r>
              <a:rPr lang="en-US">
                <a:solidFill>
                  <a:srgbClr val="FFFFFF"/>
                </a:solidFill>
                <a:latin typeface="Calibri"/>
              </a:rPr>
              <a:t> natural son </a:t>
            </a:r>
            <a:r>
              <a:rPr lang="en-US" err="1">
                <a:solidFill>
                  <a:srgbClr val="FFFFFF"/>
                </a:solidFill>
                <a:latin typeface="Calibri"/>
              </a:rPr>
              <a:t>representadas</a:t>
            </a:r>
            <a:r>
              <a:rPr lang="en-US">
                <a:solidFill>
                  <a:srgbClr val="FFFFFF"/>
                </a:solidFill>
                <a:latin typeface="Calibri"/>
              </a:rPr>
              <a:t> </a:t>
            </a:r>
            <a:r>
              <a:rPr lang="en-US" err="1">
                <a:solidFill>
                  <a:srgbClr val="FFFFFF"/>
                </a:solidFill>
                <a:latin typeface="Calibri"/>
              </a:rPr>
              <a:t>como</a:t>
            </a:r>
            <a:r>
              <a:rPr lang="en-US">
                <a:solidFill>
                  <a:srgbClr val="FFFFFF"/>
                </a:solidFill>
                <a:latin typeface="Calibri"/>
              </a:rPr>
              <a:t> </a:t>
            </a:r>
            <a:r>
              <a:rPr lang="en-US" err="1">
                <a:solidFill>
                  <a:srgbClr val="FFFFFF"/>
                </a:solidFill>
                <a:latin typeface="Calibri"/>
              </a:rPr>
              <a:t>vectores</a:t>
            </a:r>
            <a:r>
              <a:rPr lang="en-US">
                <a:solidFill>
                  <a:srgbClr val="FFFFFF"/>
                </a:solidFill>
                <a:latin typeface="Calibri"/>
              </a:rPr>
              <a:t> de </a:t>
            </a:r>
            <a:r>
              <a:rPr lang="en-US" err="1">
                <a:solidFill>
                  <a:srgbClr val="FFFFFF"/>
                </a:solidFill>
                <a:latin typeface="Calibri"/>
              </a:rPr>
              <a:t>números</a:t>
            </a:r>
            <a:r>
              <a:rPr lang="en-US">
                <a:solidFill>
                  <a:srgbClr val="FFFFFF"/>
                </a:solidFill>
                <a:latin typeface="Calibri"/>
              </a:rPr>
              <a:t> </a:t>
            </a:r>
            <a:r>
              <a:rPr lang="en-US" err="1">
                <a:solidFill>
                  <a:srgbClr val="FFFFFF"/>
                </a:solidFill>
                <a:latin typeface="Calibri"/>
              </a:rPr>
              <a:t>reales</a:t>
            </a:r>
            <a:r>
              <a:rPr lang="en-US">
                <a:solidFill>
                  <a:srgbClr val="FFFFFF"/>
                </a:solidFill>
                <a:latin typeface="Calibri"/>
              </a:rPr>
              <a:t>. </a:t>
            </a:r>
          </a:p>
          <a:p>
            <a:pPr defTabSz="609630" eaLnBrk="1" fontAlgn="auto" hangingPunct="1">
              <a:lnSpc>
                <a:spcPts val="2471"/>
              </a:lnSpc>
              <a:spcAft>
                <a:spcPts val="0"/>
              </a:spcAft>
            </a:pPr>
            <a:endParaRPr lang="en-US">
              <a:solidFill>
                <a:srgbClr val="FFFFFF"/>
              </a:solidFill>
              <a:latin typeface="Calibri"/>
            </a:endParaRPr>
          </a:p>
          <a:p>
            <a:pPr defTabSz="609630" eaLnBrk="1" fontAlgn="auto" hangingPunct="1">
              <a:lnSpc>
                <a:spcPts val="2471"/>
              </a:lnSpc>
              <a:spcAft>
                <a:spcPts val="0"/>
              </a:spcAft>
            </a:pPr>
            <a:r>
              <a:rPr lang="en-US" err="1">
                <a:solidFill>
                  <a:srgbClr val="FFFFFF"/>
                </a:solidFill>
                <a:latin typeface="Calibri"/>
              </a:rPr>
              <a:t>Conceptualmente</a:t>
            </a:r>
            <a:r>
              <a:rPr lang="en-US">
                <a:solidFill>
                  <a:srgbClr val="FFFFFF"/>
                </a:solidFill>
                <a:latin typeface="Calibri"/>
              </a:rPr>
              <a:t>, </a:t>
            </a:r>
            <a:r>
              <a:rPr lang="en-US" err="1">
                <a:solidFill>
                  <a:srgbClr val="FFFFFF"/>
                </a:solidFill>
                <a:latin typeface="Calibri"/>
              </a:rPr>
              <a:t>implica</a:t>
            </a:r>
            <a:r>
              <a:rPr lang="en-US">
                <a:solidFill>
                  <a:srgbClr val="FFFFFF"/>
                </a:solidFill>
                <a:latin typeface="Calibri"/>
              </a:rPr>
              <a:t> </a:t>
            </a:r>
            <a:r>
              <a:rPr lang="en-US" err="1">
                <a:solidFill>
                  <a:srgbClr val="FFFFFF"/>
                </a:solidFill>
                <a:latin typeface="Calibri"/>
              </a:rPr>
              <a:t>el</a:t>
            </a:r>
            <a:r>
              <a:rPr lang="en-US">
                <a:solidFill>
                  <a:srgbClr val="FFFFFF"/>
                </a:solidFill>
                <a:latin typeface="Calibri"/>
              </a:rPr>
              <a:t> </a:t>
            </a:r>
            <a:r>
              <a:rPr lang="en-US" err="1">
                <a:solidFill>
                  <a:srgbClr val="FFFFFF"/>
                </a:solidFill>
                <a:latin typeface="Calibri"/>
              </a:rPr>
              <a:t>encaje</a:t>
            </a:r>
            <a:r>
              <a:rPr lang="en-US">
                <a:solidFill>
                  <a:srgbClr val="FFFFFF"/>
                </a:solidFill>
                <a:latin typeface="Calibri"/>
              </a:rPr>
              <a:t> </a:t>
            </a:r>
            <a:r>
              <a:rPr lang="en-US" err="1">
                <a:solidFill>
                  <a:srgbClr val="FFFFFF"/>
                </a:solidFill>
                <a:latin typeface="Calibri"/>
              </a:rPr>
              <a:t>matemático</a:t>
            </a:r>
            <a:r>
              <a:rPr lang="en-US">
                <a:solidFill>
                  <a:srgbClr val="FFFFFF"/>
                </a:solidFill>
                <a:latin typeface="Calibri"/>
              </a:rPr>
              <a:t> de un </a:t>
            </a:r>
            <a:r>
              <a:rPr lang="en-US" err="1">
                <a:solidFill>
                  <a:srgbClr val="FFFFFF"/>
                </a:solidFill>
                <a:latin typeface="Calibri"/>
              </a:rPr>
              <a:t>espacio</a:t>
            </a:r>
            <a:r>
              <a:rPr lang="en-US">
                <a:solidFill>
                  <a:srgbClr val="FFFFFF"/>
                </a:solidFill>
                <a:latin typeface="Calibri"/>
              </a:rPr>
              <a:t> con </a:t>
            </a:r>
            <a:r>
              <a:rPr lang="en-US" err="1">
                <a:solidFill>
                  <a:srgbClr val="FFFFFF"/>
                </a:solidFill>
                <a:latin typeface="Calibri"/>
              </a:rPr>
              <a:t>una</a:t>
            </a:r>
            <a:r>
              <a:rPr lang="en-US">
                <a:solidFill>
                  <a:srgbClr val="FFFFFF"/>
                </a:solidFill>
                <a:latin typeface="Calibri"/>
              </a:rPr>
              <a:t> </a:t>
            </a:r>
            <a:r>
              <a:rPr lang="en-US" err="1">
                <a:solidFill>
                  <a:srgbClr val="FFFFFF"/>
                </a:solidFill>
                <a:latin typeface="Calibri"/>
              </a:rPr>
              <a:t>dimensión</a:t>
            </a:r>
            <a:r>
              <a:rPr lang="en-US">
                <a:solidFill>
                  <a:srgbClr val="FFFFFF"/>
                </a:solidFill>
                <a:latin typeface="Calibri"/>
              </a:rPr>
              <a:t> </a:t>
            </a:r>
            <a:r>
              <a:rPr lang="en-US" err="1">
                <a:solidFill>
                  <a:srgbClr val="FFFFFF"/>
                </a:solidFill>
                <a:latin typeface="Calibri"/>
              </a:rPr>
              <a:t>por</a:t>
            </a:r>
            <a:r>
              <a:rPr lang="en-US">
                <a:solidFill>
                  <a:srgbClr val="FFFFFF"/>
                </a:solidFill>
                <a:latin typeface="Calibri"/>
              </a:rPr>
              <a:t> palabra a un </a:t>
            </a:r>
            <a:r>
              <a:rPr lang="en-US" err="1">
                <a:solidFill>
                  <a:srgbClr val="FFFFFF"/>
                </a:solidFill>
                <a:latin typeface="Calibri"/>
              </a:rPr>
              <a:t>espacio</a:t>
            </a:r>
            <a:r>
              <a:rPr lang="en-US">
                <a:solidFill>
                  <a:srgbClr val="FFFFFF"/>
                </a:solidFill>
                <a:latin typeface="Calibri"/>
              </a:rPr>
              <a:t> vectorial continuo con </a:t>
            </a:r>
            <a:r>
              <a:rPr lang="en-US" err="1">
                <a:solidFill>
                  <a:srgbClr val="FFFFFF"/>
                </a:solidFill>
                <a:latin typeface="Calibri"/>
              </a:rPr>
              <a:t>menos</a:t>
            </a:r>
            <a:r>
              <a:rPr lang="en-US">
                <a:solidFill>
                  <a:srgbClr val="FFFFFF"/>
                </a:solidFill>
                <a:latin typeface="Calibri"/>
              </a:rPr>
              <a:t> </a:t>
            </a:r>
            <a:r>
              <a:rPr lang="en-US" err="1">
                <a:solidFill>
                  <a:srgbClr val="FFFFFF"/>
                </a:solidFill>
                <a:latin typeface="Calibri"/>
              </a:rPr>
              <a:t>dimensiones</a:t>
            </a:r>
            <a:endParaRPr lang="en-US">
              <a:solidFill>
                <a:srgbClr val="FFFFFF"/>
              </a:solidFill>
              <a:latin typeface="Calibri"/>
            </a:endParaRPr>
          </a:p>
          <a:p>
            <a:r>
              <a:rPr lang="en-US">
                <a:solidFill>
                  <a:srgbClr val="FFFFFF"/>
                </a:solidFill>
                <a:latin typeface="Calibri"/>
              </a:rPr>
              <a:t>Este </a:t>
            </a:r>
            <a:r>
              <a:rPr lang="en-US" err="1">
                <a:solidFill>
                  <a:srgbClr val="FFFFFF"/>
                </a:solidFill>
                <a:latin typeface="Calibri"/>
              </a:rPr>
              <a:t>implica</a:t>
            </a:r>
            <a:r>
              <a:rPr lang="en-US">
                <a:solidFill>
                  <a:srgbClr val="FFFFFF"/>
                </a:solidFill>
                <a:latin typeface="Calibri"/>
              </a:rPr>
              <a:t> la </a:t>
            </a:r>
            <a:r>
              <a:rPr lang="en-US" err="1">
                <a:solidFill>
                  <a:srgbClr val="FFFFFF"/>
                </a:solidFill>
                <a:latin typeface="Calibri"/>
              </a:rPr>
              <a:t>relación</a:t>
            </a:r>
            <a:r>
              <a:rPr lang="en-US">
                <a:solidFill>
                  <a:srgbClr val="FFFFFF"/>
                </a:solidFill>
                <a:latin typeface="Calibri"/>
              </a:rPr>
              <a:t> </a:t>
            </a:r>
            <a:r>
              <a:rPr lang="en-US" err="1">
                <a:solidFill>
                  <a:srgbClr val="FFFFFF"/>
                </a:solidFill>
                <a:latin typeface="Calibri"/>
              </a:rPr>
              <a:t>matemática</a:t>
            </a:r>
            <a:r>
              <a:rPr lang="en-US">
                <a:solidFill>
                  <a:srgbClr val="FFFFFF"/>
                </a:solidFill>
                <a:latin typeface="Calibri"/>
              </a:rPr>
              <a:t> de un </a:t>
            </a:r>
            <a:r>
              <a:rPr lang="en-US" err="1">
                <a:solidFill>
                  <a:srgbClr val="FFFFFF"/>
                </a:solidFill>
                <a:latin typeface="Calibri"/>
              </a:rPr>
              <a:t>espacio</a:t>
            </a:r>
            <a:r>
              <a:rPr lang="en-US">
                <a:solidFill>
                  <a:srgbClr val="FFFFFF"/>
                </a:solidFill>
                <a:latin typeface="Calibri"/>
              </a:rPr>
              <a:t> y dimension a un </a:t>
            </a:r>
            <a:r>
              <a:rPr lang="en-US" err="1">
                <a:solidFill>
                  <a:srgbClr val="FFFFFF"/>
                </a:solidFill>
                <a:latin typeface="Calibri"/>
              </a:rPr>
              <a:t>plano</a:t>
            </a:r>
            <a:r>
              <a:rPr lang="en-US">
                <a:solidFill>
                  <a:srgbClr val="FFFFFF"/>
                </a:solidFill>
                <a:latin typeface="Calibri"/>
              </a:rPr>
              <a:t> vectorial continuo con </a:t>
            </a:r>
            <a:r>
              <a:rPr lang="en-US" err="1">
                <a:solidFill>
                  <a:srgbClr val="FFFFFF"/>
                </a:solidFill>
                <a:latin typeface="Calibri"/>
              </a:rPr>
              <a:t>menos</a:t>
            </a:r>
            <a:r>
              <a:rPr lang="en-US">
                <a:solidFill>
                  <a:srgbClr val="FFFFFF"/>
                </a:solidFill>
                <a:latin typeface="Calibri"/>
              </a:rPr>
              <a:t> </a:t>
            </a:r>
            <a:r>
              <a:rPr lang="en-US" err="1">
                <a:solidFill>
                  <a:srgbClr val="FFFFFF"/>
                </a:solidFill>
                <a:latin typeface="Calibri"/>
              </a:rPr>
              <a:t>dimensiones</a:t>
            </a:r>
            <a:r>
              <a:rPr lang="en-US">
                <a:solidFill>
                  <a:srgbClr val="FFFFFF"/>
                </a:solidFill>
                <a:latin typeface="Calibri"/>
              </a:rPr>
              <a:t> , </a:t>
            </a:r>
            <a:r>
              <a:rPr lang="en-US" err="1">
                <a:solidFill>
                  <a:srgbClr val="FFFFFF"/>
                </a:solidFill>
                <a:latin typeface="Calibri"/>
              </a:rPr>
              <a:t>por</a:t>
            </a:r>
            <a:r>
              <a:rPr lang="en-US">
                <a:solidFill>
                  <a:srgbClr val="FFFFFF"/>
                </a:solidFill>
                <a:latin typeface="Calibri"/>
              </a:rPr>
              <a:t> palabra.</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FD39C7-DD9C-42F2-ABF7-9D0735C34CAB}"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90250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MX">
                <a:solidFill>
                  <a:schemeClr val="bg1"/>
                </a:solidFill>
              </a:rPr>
              <a:t>Esta claro que no hemos visto nada similar a esto desde hace mucho tiempo, algo que cambio definitivamente la forma de pensar de todos nosotros. Algo que rompa los paradigmas. Esta claro que cambiara la forma de hacer las cosas en todos los ámbitos de la humanidad, si no es que ya lo hizo. Es algo totalmente distinto que cumplirá con el objetivo de facilitar la comunicación humano-maquina, y volver a la IA nuestro compañero ide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FD39C7-DD9C-42F2-ABF7-9D0735C34CAB}"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3895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1344E-620A-4A3E-B797-7691CD1EFF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8160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9EB87C00-E35A-DFF4-0D9A-76CC975C88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a:extLst>
              <a:ext uri="{FF2B5EF4-FFF2-40B4-BE49-F238E27FC236}">
                <a16:creationId xmlns:a16="http://schemas.microsoft.com/office/drawing/2014/main" id="{CFC274D4-A6D6-D56B-8324-38540BB513D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6388" name="Slide Number Placeholder 3">
            <a:extLst>
              <a:ext uri="{FF2B5EF4-FFF2-40B4-BE49-F238E27FC236}">
                <a16:creationId xmlns:a16="http://schemas.microsoft.com/office/drawing/2014/main" id="{E056F79D-953A-3068-B5D4-F17B390D9F8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CEE050C-2B83-496C-ADDB-2453E4619552}" type="slidenum">
              <a:rPr lang="es-MX" altLang="en-US" smtClean="0">
                <a:solidFill>
                  <a:srgbClr val="000000"/>
                </a:solidFill>
              </a:rPr>
              <a:pPr fontAlgn="base">
                <a:spcBef>
                  <a:spcPct val="0"/>
                </a:spcBef>
                <a:spcAft>
                  <a:spcPct val="0"/>
                </a:spcAft>
              </a:pPr>
              <a:t>5</a:t>
            </a:fld>
            <a:endParaRPr lang="es-MX" altLang="en-US">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1344E-620A-4A3E-B797-7691CD1EFF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840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t>Machine Learning</a:t>
            </a:r>
            <a:r>
              <a:rPr lang="en-US" sz="1200"/>
              <a:t>: El </a:t>
            </a:r>
            <a:r>
              <a:rPr lang="en-US" sz="1200" i="1"/>
              <a:t>Machine Learning </a:t>
            </a:r>
            <a:r>
              <a:rPr lang="en-US" sz="1200"/>
              <a:t>es </a:t>
            </a:r>
            <a:r>
              <a:rPr lang="en-US" sz="1200" err="1"/>
              <a:t>una</a:t>
            </a:r>
            <a:r>
              <a:rPr lang="en-US" sz="1200"/>
              <a:t> </a:t>
            </a:r>
            <a:r>
              <a:rPr lang="en-US" sz="1200" err="1"/>
              <a:t>disciplina</a:t>
            </a:r>
            <a:r>
              <a:rPr lang="en-US" sz="1200"/>
              <a:t> del campo de la </a:t>
            </a:r>
            <a:r>
              <a:rPr lang="en-US" sz="1200" b="1" u="sng" err="1"/>
              <a:t>Inteligencia</a:t>
            </a:r>
            <a:r>
              <a:rPr lang="en-US" sz="1200" b="1" u="sng"/>
              <a:t> Artificial</a:t>
            </a:r>
            <a:r>
              <a:rPr lang="en-US" sz="1200" b="1"/>
              <a:t> </a:t>
            </a:r>
            <a:r>
              <a:rPr lang="en-US" sz="1200"/>
              <a:t>que, a </a:t>
            </a:r>
            <a:r>
              <a:rPr lang="en-US" sz="1200" err="1"/>
              <a:t>través</a:t>
            </a:r>
            <a:r>
              <a:rPr lang="en-US" sz="1200"/>
              <a:t> de </a:t>
            </a:r>
            <a:r>
              <a:rPr lang="en-US" sz="1200" err="1"/>
              <a:t>algoritmos</a:t>
            </a:r>
            <a:r>
              <a:rPr lang="en-US" sz="1200"/>
              <a:t>, </a:t>
            </a:r>
            <a:r>
              <a:rPr lang="en-US" sz="1200" err="1"/>
              <a:t>dota</a:t>
            </a:r>
            <a:r>
              <a:rPr lang="en-US" sz="1200"/>
              <a:t> a </a:t>
            </a:r>
            <a:r>
              <a:rPr lang="en-US" sz="1200" err="1"/>
              <a:t>los</a:t>
            </a:r>
            <a:r>
              <a:rPr lang="en-US" sz="1200"/>
              <a:t> </a:t>
            </a:r>
            <a:r>
              <a:rPr lang="en-US" sz="1200" err="1"/>
              <a:t>ordenadores</a:t>
            </a:r>
            <a:r>
              <a:rPr lang="en-US" sz="1200"/>
              <a:t> de la </a:t>
            </a:r>
            <a:r>
              <a:rPr lang="en-US" sz="1200" err="1"/>
              <a:t>capacidad</a:t>
            </a:r>
            <a:r>
              <a:rPr lang="en-US" sz="1200"/>
              <a:t> de </a:t>
            </a:r>
            <a:r>
              <a:rPr lang="en-US" sz="1200" err="1"/>
              <a:t>id﻿entificar</a:t>
            </a:r>
            <a:r>
              <a:rPr lang="en-US" sz="1200"/>
              <a:t> </a:t>
            </a:r>
            <a:r>
              <a:rPr lang="en-US" sz="1200" err="1"/>
              <a:t>patrones</a:t>
            </a:r>
            <a:r>
              <a:rPr lang="en-US" sz="1200"/>
              <a:t> </a:t>
            </a:r>
            <a:r>
              <a:rPr lang="en-US" sz="1200" err="1"/>
              <a:t>en</a:t>
            </a:r>
            <a:r>
              <a:rPr lang="en-US" sz="1200"/>
              <a:t> </a:t>
            </a:r>
            <a:r>
              <a:rPr lang="en-US" sz="1200" err="1"/>
              <a:t>datos</a:t>
            </a:r>
            <a:r>
              <a:rPr lang="en-US" sz="1200"/>
              <a:t> </a:t>
            </a:r>
            <a:r>
              <a:rPr lang="en-US" sz="1200" err="1"/>
              <a:t>masivos</a:t>
            </a:r>
            <a:r>
              <a:rPr lang="en-US" sz="1200"/>
              <a:t> y </a:t>
            </a:r>
            <a:r>
              <a:rPr lang="en-US" sz="1200" err="1"/>
              <a:t>elaborar</a:t>
            </a:r>
            <a:r>
              <a:rPr lang="en-US" sz="1200"/>
              <a:t> </a:t>
            </a:r>
            <a:r>
              <a:rPr lang="en-US" sz="1200" err="1"/>
              <a:t>predicciones</a:t>
            </a:r>
            <a:r>
              <a:rPr lang="en-US" sz="1200">
                <a:latin typeface="+mj-lt"/>
              </a:rPr>
              <a: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1344E-620A-4A3E-B797-7691CD1EFF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4307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4620"/>
              </a:lnSpc>
            </a:pPr>
            <a:r>
              <a:rPr lang="en-US" sz="1200" err="1">
                <a:solidFill>
                  <a:srgbClr val="FFFFFF"/>
                </a:solidFill>
              </a:rPr>
              <a:t>Nosotros</a:t>
            </a:r>
            <a:r>
              <a:rPr lang="en-US" sz="1200">
                <a:solidFill>
                  <a:srgbClr val="FFFFFF"/>
                </a:solidFill>
              </a:rPr>
              <a:t> </a:t>
            </a:r>
            <a:r>
              <a:rPr lang="en-US" sz="1200" err="1">
                <a:solidFill>
                  <a:srgbClr val="FFFFFF"/>
                </a:solidFill>
              </a:rPr>
              <a:t>aprendemos</a:t>
            </a:r>
            <a:r>
              <a:rPr lang="en-US" sz="1200">
                <a:solidFill>
                  <a:srgbClr val="FFFFFF"/>
                </a:solidFill>
              </a:rPr>
              <a:t> </a:t>
            </a:r>
            <a:r>
              <a:rPr lang="en-US" sz="1200" err="1">
                <a:solidFill>
                  <a:srgbClr val="FFFFFF"/>
                </a:solidFill>
              </a:rPr>
              <a:t>mediante</a:t>
            </a:r>
            <a:r>
              <a:rPr lang="en-US" sz="1200">
                <a:solidFill>
                  <a:srgbClr val="FFFFFF"/>
                </a:solidFill>
              </a:rPr>
              <a:t> </a:t>
            </a:r>
            <a:r>
              <a:rPr lang="en-US" sz="1200" err="1">
                <a:solidFill>
                  <a:srgbClr val="FFFFFF"/>
                </a:solidFill>
              </a:rPr>
              <a:t>experiencias</a:t>
            </a:r>
            <a:r>
              <a:rPr lang="en-US" sz="1200">
                <a:solidFill>
                  <a:srgbClr val="FFFFFF"/>
                </a:solidFill>
              </a:rPr>
              <a:t>, la </a:t>
            </a:r>
            <a:r>
              <a:rPr lang="en-US" sz="1200" err="1">
                <a:solidFill>
                  <a:srgbClr val="FFFFFF"/>
                </a:solidFill>
              </a:rPr>
              <a:t>memorización</a:t>
            </a:r>
            <a:r>
              <a:rPr lang="en-US" sz="1200">
                <a:solidFill>
                  <a:srgbClr val="FFFFFF"/>
                </a:solidFill>
              </a:rPr>
              <a:t> de </a:t>
            </a:r>
            <a:r>
              <a:rPr lang="en-US" sz="1200" err="1">
                <a:solidFill>
                  <a:srgbClr val="FFFFFF"/>
                </a:solidFill>
              </a:rPr>
              <a:t>datos</a:t>
            </a:r>
            <a:r>
              <a:rPr lang="en-US" sz="1200">
                <a:solidFill>
                  <a:srgbClr val="FFFFFF"/>
                </a:solidFill>
              </a:rPr>
              <a:t> y </a:t>
            </a:r>
            <a:r>
              <a:rPr lang="en-US" sz="1200" err="1">
                <a:solidFill>
                  <a:srgbClr val="FFFFFF"/>
                </a:solidFill>
              </a:rPr>
              <a:t>consultas</a:t>
            </a:r>
            <a:r>
              <a:rPr lang="en-US" sz="1200">
                <a:solidFill>
                  <a:srgbClr val="FFFFFF"/>
                </a:solidFill>
              </a:rPr>
              <a:t> a </a:t>
            </a:r>
            <a:r>
              <a:rPr lang="en-US" sz="1200" err="1">
                <a:solidFill>
                  <a:srgbClr val="FFFFFF"/>
                </a:solidFill>
              </a:rPr>
              <a:t>esa</a:t>
            </a:r>
            <a:r>
              <a:rPr lang="en-US" sz="1200">
                <a:solidFill>
                  <a:srgbClr val="FFFFFF"/>
                </a:solidFill>
              </a:rPr>
              <a:t> </a:t>
            </a:r>
            <a:r>
              <a:rPr lang="en-US" sz="1200" err="1">
                <a:solidFill>
                  <a:srgbClr val="FFFFFF"/>
                </a:solidFill>
              </a:rPr>
              <a:t>memoria</a:t>
            </a:r>
            <a:r>
              <a:rPr lang="en-US" sz="1200">
                <a:solidFill>
                  <a:srgbClr val="FFFFFF"/>
                </a:solidFill>
              </a:rPr>
              <a:t> </a:t>
            </a:r>
            <a:r>
              <a:rPr lang="en-US" sz="1200" err="1">
                <a:solidFill>
                  <a:srgbClr val="FFFFFF"/>
                </a:solidFill>
              </a:rPr>
              <a:t>como</a:t>
            </a:r>
            <a:r>
              <a:rPr lang="en-US" sz="1200">
                <a:solidFill>
                  <a:srgbClr val="FFFFFF"/>
                </a:solidFill>
              </a:rPr>
              <a:t> </a:t>
            </a:r>
            <a:r>
              <a:rPr lang="en-US" sz="1200" err="1">
                <a:solidFill>
                  <a:srgbClr val="FFFFFF"/>
                </a:solidFill>
              </a:rPr>
              <a:t>si</a:t>
            </a:r>
            <a:r>
              <a:rPr lang="en-US" sz="1200">
                <a:solidFill>
                  <a:srgbClr val="FFFFFF"/>
                </a:solidFill>
              </a:rPr>
              <a:t> </a:t>
            </a:r>
            <a:r>
              <a:rPr lang="en-US" sz="1200" err="1">
                <a:solidFill>
                  <a:srgbClr val="FFFFFF"/>
                </a:solidFill>
              </a:rPr>
              <a:t>fuese</a:t>
            </a:r>
            <a:r>
              <a:rPr lang="en-US" sz="1200">
                <a:solidFill>
                  <a:srgbClr val="FFFFFF"/>
                </a:solidFill>
              </a:rPr>
              <a:t> </a:t>
            </a:r>
            <a:r>
              <a:rPr lang="en-US" sz="1200" err="1">
                <a:solidFill>
                  <a:srgbClr val="FFFFFF"/>
                </a:solidFill>
              </a:rPr>
              <a:t>una</a:t>
            </a:r>
            <a:r>
              <a:rPr lang="en-US" sz="1200">
                <a:solidFill>
                  <a:srgbClr val="FFFFFF"/>
                </a:solidFill>
              </a:rPr>
              <a:t> Base de </a:t>
            </a:r>
            <a:r>
              <a:rPr lang="en-US" sz="1200" err="1">
                <a:solidFill>
                  <a:srgbClr val="FFFFFF"/>
                </a:solidFill>
              </a:rPr>
              <a:t>Datos</a:t>
            </a:r>
            <a:r>
              <a:rPr lang="en-US" sz="1200">
                <a:solidFill>
                  <a:srgbClr val="FFFFFF"/>
                </a:solidFill>
              </a:rPr>
              <a:t>. </a:t>
            </a:r>
          </a:p>
          <a:p>
            <a:pPr>
              <a:lnSpc>
                <a:spcPts val="4620"/>
              </a:lnSpc>
            </a:pPr>
            <a:endParaRPr lang="en-US" sz="1200">
              <a:solidFill>
                <a:srgbClr val="FFFFFF"/>
              </a:solidFill>
            </a:endParaRPr>
          </a:p>
          <a:p>
            <a:pPr>
              <a:lnSpc>
                <a:spcPts val="4620"/>
              </a:lnSpc>
            </a:pPr>
            <a:r>
              <a:rPr lang="en-US" sz="1200" i="1" err="1">
                <a:solidFill>
                  <a:srgbClr val="FFFFFF"/>
                </a:solidFill>
              </a:rPr>
              <a:t>Piensa</a:t>
            </a:r>
            <a:r>
              <a:rPr lang="en-US" sz="1200" i="1">
                <a:solidFill>
                  <a:srgbClr val="FFFFFF"/>
                </a:solidFill>
              </a:rPr>
              <a:t> </a:t>
            </a:r>
            <a:r>
              <a:rPr lang="en-US" sz="1200" i="1" err="1">
                <a:solidFill>
                  <a:srgbClr val="FFFFFF"/>
                </a:solidFill>
              </a:rPr>
              <a:t>cuando</a:t>
            </a:r>
            <a:r>
              <a:rPr lang="en-US" sz="1200" i="1">
                <a:solidFill>
                  <a:srgbClr val="FFFFFF"/>
                </a:solidFill>
              </a:rPr>
              <a:t> eras un </a:t>
            </a:r>
            <a:r>
              <a:rPr lang="en-US" sz="1200" i="1" err="1">
                <a:solidFill>
                  <a:srgbClr val="FFFFFF"/>
                </a:solidFill>
              </a:rPr>
              <a:t>niño</a:t>
            </a:r>
            <a:r>
              <a:rPr lang="en-US" sz="1200" i="1">
                <a:solidFill>
                  <a:srgbClr val="FFFFFF"/>
                </a:solidFill>
              </a:rPr>
              <a:t> y </a:t>
            </a:r>
            <a:r>
              <a:rPr lang="en-US" sz="1200" i="1" err="1">
                <a:solidFill>
                  <a:srgbClr val="FFFFFF"/>
                </a:solidFill>
              </a:rPr>
              <a:t>querías</a:t>
            </a:r>
            <a:r>
              <a:rPr lang="en-US" sz="1200" i="1">
                <a:solidFill>
                  <a:srgbClr val="FFFFFF"/>
                </a:solidFill>
              </a:rPr>
              <a:t> </a:t>
            </a:r>
            <a:r>
              <a:rPr lang="en-US" sz="1200" i="1" err="1">
                <a:solidFill>
                  <a:srgbClr val="FFFFFF"/>
                </a:solidFill>
              </a:rPr>
              <a:t>aprender</a:t>
            </a:r>
            <a:r>
              <a:rPr lang="en-US" sz="1200" i="1">
                <a:solidFill>
                  <a:srgbClr val="FFFFFF"/>
                </a:solidFill>
              </a:rPr>
              <a:t> </a:t>
            </a:r>
            <a:r>
              <a:rPr lang="en-US" sz="1200" i="1" err="1">
                <a:solidFill>
                  <a:srgbClr val="FFFFFF"/>
                </a:solidFill>
              </a:rPr>
              <a:t>cuál</a:t>
            </a:r>
            <a:r>
              <a:rPr lang="en-US" sz="1200" i="1">
                <a:solidFill>
                  <a:srgbClr val="FFFFFF"/>
                </a:solidFill>
              </a:rPr>
              <a:t> animal era un </a:t>
            </a:r>
            <a:r>
              <a:rPr lang="en-US" sz="1200" i="1" err="1">
                <a:solidFill>
                  <a:srgbClr val="FFFFFF"/>
                </a:solidFill>
              </a:rPr>
              <a:t>perro</a:t>
            </a:r>
            <a:r>
              <a:rPr lang="en-US" sz="1200" i="1">
                <a:solidFill>
                  <a:srgbClr val="FFFFFF"/>
                </a:solidFill>
              </a:rPr>
              <a:t>. </a:t>
            </a:r>
            <a:r>
              <a:rPr lang="en-US" sz="1200" i="1" err="1">
                <a:solidFill>
                  <a:srgbClr val="FFFFFF"/>
                </a:solidFill>
              </a:rPr>
              <a:t>Seguramente</a:t>
            </a:r>
            <a:r>
              <a:rPr lang="en-US" sz="1200" i="1">
                <a:solidFill>
                  <a:srgbClr val="FFFFFF"/>
                </a:solidFill>
              </a:rPr>
              <a:t>,  </a:t>
            </a:r>
            <a:r>
              <a:rPr lang="en-US" sz="1200" i="1" err="1">
                <a:solidFill>
                  <a:srgbClr val="FFFFFF"/>
                </a:solidFill>
              </a:rPr>
              <a:t>cada</a:t>
            </a:r>
            <a:r>
              <a:rPr lang="en-US" sz="1200" i="1">
                <a:solidFill>
                  <a:srgbClr val="FFFFFF"/>
                </a:solidFill>
              </a:rPr>
              <a:t> </a:t>
            </a:r>
            <a:r>
              <a:rPr lang="en-US" sz="1200" i="1" err="1">
                <a:solidFill>
                  <a:srgbClr val="FFFFFF"/>
                </a:solidFill>
              </a:rPr>
              <a:t>vez</a:t>
            </a:r>
            <a:r>
              <a:rPr lang="en-US" sz="1200" i="1">
                <a:solidFill>
                  <a:srgbClr val="FFFFFF"/>
                </a:solidFill>
              </a:rPr>
              <a:t> que </a:t>
            </a:r>
            <a:r>
              <a:rPr lang="en-US" sz="1200" i="1" err="1">
                <a:solidFill>
                  <a:srgbClr val="FFFFFF"/>
                </a:solidFill>
              </a:rPr>
              <a:t>veías</a:t>
            </a:r>
            <a:r>
              <a:rPr lang="en-US" sz="1200" i="1">
                <a:solidFill>
                  <a:srgbClr val="FFFFFF"/>
                </a:solidFill>
              </a:rPr>
              <a:t> un animal le </a:t>
            </a:r>
            <a:r>
              <a:rPr lang="en-US" sz="1200" i="1" err="1">
                <a:solidFill>
                  <a:srgbClr val="FFFFFF"/>
                </a:solidFill>
              </a:rPr>
              <a:t>preguntabas</a:t>
            </a:r>
            <a:r>
              <a:rPr lang="en-US" sz="1200" i="1">
                <a:solidFill>
                  <a:srgbClr val="FFFFFF"/>
                </a:solidFill>
              </a:rPr>
              <a:t> a </a:t>
            </a:r>
            <a:r>
              <a:rPr lang="en-US" sz="1200" i="1" err="1">
                <a:solidFill>
                  <a:srgbClr val="FFFFFF"/>
                </a:solidFill>
              </a:rPr>
              <a:t>tus</a:t>
            </a:r>
            <a:r>
              <a:rPr lang="en-US" sz="1200" i="1">
                <a:solidFill>
                  <a:srgbClr val="FFFFFF"/>
                </a:solidFill>
              </a:rPr>
              <a:t> padres </a:t>
            </a:r>
            <a:r>
              <a:rPr lang="en-US" sz="1200" i="1" err="1">
                <a:solidFill>
                  <a:srgbClr val="FFFFFF"/>
                </a:solidFill>
              </a:rPr>
              <a:t>si</a:t>
            </a:r>
            <a:r>
              <a:rPr lang="en-US" sz="1200" i="1">
                <a:solidFill>
                  <a:srgbClr val="FFFFFF"/>
                </a:solidFill>
              </a:rPr>
              <a:t> ese al que </a:t>
            </a:r>
            <a:r>
              <a:rPr lang="en-US" sz="1200" i="1" err="1">
                <a:solidFill>
                  <a:srgbClr val="FFFFFF"/>
                </a:solidFill>
              </a:rPr>
              <a:t>señalabas</a:t>
            </a:r>
            <a:r>
              <a:rPr lang="en-US" sz="1200" i="1">
                <a:solidFill>
                  <a:srgbClr val="FFFFFF"/>
                </a:solidFill>
              </a:rPr>
              <a:t> era </a:t>
            </a:r>
            <a:r>
              <a:rPr lang="en-US" sz="1200" i="1" err="1">
                <a:solidFill>
                  <a:srgbClr val="FFFFFF"/>
                </a:solidFill>
              </a:rPr>
              <a:t>efectivamente</a:t>
            </a:r>
            <a:r>
              <a:rPr lang="en-US" sz="1200" i="1">
                <a:solidFill>
                  <a:srgbClr val="FFFFFF"/>
                </a:solidFill>
              </a:rPr>
              <a:t> un </a:t>
            </a:r>
            <a:r>
              <a:rPr lang="en-US" sz="1200" i="1" err="1">
                <a:solidFill>
                  <a:srgbClr val="FFFFFF"/>
                </a:solidFill>
              </a:rPr>
              <a:t>perro</a:t>
            </a:r>
            <a:r>
              <a:rPr lang="en-US" sz="1200" i="1">
                <a:solidFill>
                  <a:srgbClr val="FFFFFF"/>
                </a:solidFill>
              </a:rPr>
              <a:t>, al </a:t>
            </a:r>
            <a:r>
              <a:rPr lang="en-US" sz="1200" i="1" err="1">
                <a:solidFill>
                  <a:srgbClr val="FFFFFF"/>
                </a:solidFill>
              </a:rPr>
              <a:t>confirmarlo</a:t>
            </a:r>
            <a:r>
              <a:rPr lang="en-US" sz="1200" i="1">
                <a:solidFill>
                  <a:srgbClr val="FFFFFF"/>
                </a:solidFill>
              </a:rPr>
              <a:t>, la </a:t>
            </a:r>
            <a:r>
              <a:rPr lang="en-US" sz="1200" i="1" err="1">
                <a:solidFill>
                  <a:srgbClr val="FFFFFF"/>
                </a:solidFill>
              </a:rPr>
              <a:t>próxima</a:t>
            </a:r>
            <a:r>
              <a:rPr lang="en-US" sz="1200" i="1">
                <a:solidFill>
                  <a:srgbClr val="FFFFFF"/>
                </a:solidFill>
              </a:rPr>
              <a:t> </a:t>
            </a:r>
            <a:r>
              <a:rPr lang="en-US" sz="1200" i="1" err="1">
                <a:solidFill>
                  <a:srgbClr val="FFFFFF"/>
                </a:solidFill>
              </a:rPr>
              <a:t>vez</a:t>
            </a:r>
            <a:r>
              <a:rPr lang="en-US" sz="1200" i="1">
                <a:solidFill>
                  <a:srgbClr val="FFFFFF"/>
                </a:solidFill>
              </a:rPr>
              <a:t> </a:t>
            </a:r>
            <a:r>
              <a:rPr lang="en-US" sz="1200" i="1" err="1">
                <a:solidFill>
                  <a:srgbClr val="FFFFFF"/>
                </a:solidFill>
              </a:rPr>
              <a:t>ya</a:t>
            </a:r>
            <a:r>
              <a:rPr lang="en-US" sz="1200" i="1">
                <a:solidFill>
                  <a:srgbClr val="FFFFFF"/>
                </a:solidFill>
              </a:rPr>
              <a:t> </a:t>
            </a:r>
            <a:r>
              <a:rPr lang="en-US" sz="1200" i="1" err="1">
                <a:solidFill>
                  <a:srgbClr val="FFFFFF"/>
                </a:solidFill>
              </a:rPr>
              <a:t>podrías</a:t>
            </a:r>
            <a:r>
              <a:rPr lang="en-US" sz="1200" i="1">
                <a:solidFill>
                  <a:srgbClr val="FFFFFF"/>
                </a:solidFill>
              </a:rPr>
              <a:t> </a:t>
            </a:r>
            <a:r>
              <a:rPr lang="en-US" sz="1200" i="1" err="1">
                <a:solidFill>
                  <a:srgbClr val="FFFFFF"/>
                </a:solidFill>
              </a:rPr>
              <a:t>saberlo</a:t>
            </a:r>
            <a:r>
              <a:rPr lang="en-US" sz="1200" i="1">
                <a:solidFill>
                  <a:srgbClr val="FFFFFF"/>
                </a:solidFill>
              </a:rPr>
              <a: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1344E-620A-4A3E-B797-7691CD1EFF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9308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1344E-620A-4A3E-B797-7691CD1EFF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5531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1344E-620A-4A3E-B797-7691CD1EFF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903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3777"/>
              </a:lnSpc>
            </a:pPr>
            <a:r>
              <a:rPr lang="en-US" sz="1200">
                <a:solidFill>
                  <a:srgbClr val="FFFFFF"/>
                </a:solidFill>
                <a:latin typeface="+mj-lt"/>
              </a:rPr>
              <a:t>Es un </a:t>
            </a:r>
            <a:r>
              <a:rPr lang="en-US" sz="1200" err="1">
                <a:solidFill>
                  <a:srgbClr val="FFFFFF"/>
                </a:solidFill>
                <a:latin typeface="+mj-lt"/>
              </a:rPr>
              <a:t>tipo</a:t>
            </a:r>
            <a:r>
              <a:rPr lang="en-US" sz="1200">
                <a:solidFill>
                  <a:srgbClr val="FFFFFF"/>
                </a:solidFill>
                <a:latin typeface="+mj-lt"/>
              </a:rPr>
              <a:t> de </a:t>
            </a:r>
            <a:r>
              <a:rPr lang="en-US" sz="1200" i="1">
                <a:solidFill>
                  <a:srgbClr val="FFFFFF"/>
                </a:solidFill>
                <a:latin typeface="+mj-lt"/>
              </a:rPr>
              <a:t>machine</a:t>
            </a:r>
            <a:r>
              <a:rPr lang="en-US" sz="1200">
                <a:solidFill>
                  <a:srgbClr val="FFFFFF"/>
                </a:solidFill>
                <a:latin typeface="+mj-lt"/>
              </a:rPr>
              <a:t> </a:t>
            </a:r>
            <a:r>
              <a:rPr lang="en-US" sz="1200" i="1">
                <a:solidFill>
                  <a:srgbClr val="FFFFFF"/>
                </a:solidFill>
                <a:latin typeface="+mj-lt"/>
              </a:rPr>
              <a:t>learning</a:t>
            </a:r>
            <a:r>
              <a:rPr lang="en-US" sz="1200">
                <a:solidFill>
                  <a:srgbClr val="FFFFFF"/>
                </a:solidFill>
                <a:latin typeface="+mj-lt"/>
              </a:rPr>
              <a:t>, </a:t>
            </a:r>
            <a:r>
              <a:rPr lang="en-US" sz="1200" err="1">
                <a:solidFill>
                  <a:srgbClr val="FFFFFF"/>
                </a:solidFill>
                <a:latin typeface="+mj-lt"/>
              </a:rPr>
              <a:t>en</a:t>
            </a:r>
            <a:r>
              <a:rPr lang="en-US" sz="1200">
                <a:solidFill>
                  <a:srgbClr val="FFFFFF"/>
                </a:solidFill>
                <a:latin typeface="+mj-lt"/>
              </a:rPr>
              <a:t> la </a:t>
            </a:r>
            <a:r>
              <a:rPr lang="en-US" sz="1200" err="1">
                <a:solidFill>
                  <a:srgbClr val="FFFFFF"/>
                </a:solidFill>
                <a:latin typeface="+mj-lt"/>
              </a:rPr>
              <a:t>cual</a:t>
            </a:r>
            <a:r>
              <a:rPr lang="en-US" sz="1200">
                <a:solidFill>
                  <a:srgbClr val="FFFFFF"/>
                </a:solidFill>
                <a:latin typeface="+mj-lt"/>
              </a:rPr>
              <a:t> </a:t>
            </a:r>
            <a:r>
              <a:rPr lang="en-US" sz="1200" err="1">
                <a:solidFill>
                  <a:srgbClr val="FFFFFF"/>
                </a:solidFill>
                <a:latin typeface="+mj-lt"/>
              </a:rPr>
              <a:t>vamos</a:t>
            </a:r>
            <a:r>
              <a:rPr lang="en-US" sz="1200">
                <a:solidFill>
                  <a:srgbClr val="FFFFFF"/>
                </a:solidFill>
                <a:latin typeface="+mj-lt"/>
              </a:rPr>
              <a:t> a </a:t>
            </a:r>
            <a:r>
              <a:rPr lang="en-US" sz="1200" err="1">
                <a:solidFill>
                  <a:srgbClr val="FFFFFF"/>
                </a:solidFill>
                <a:latin typeface="+mj-lt"/>
              </a:rPr>
              <a:t>entrenar</a:t>
            </a:r>
            <a:r>
              <a:rPr lang="en-US" sz="1200">
                <a:solidFill>
                  <a:srgbClr val="FFFFFF"/>
                </a:solidFill>
                <a:latin typeface="+mj-lt"/>
              </a:rPr>
              <a:t> a la IA con </a:t>
            </a:r>
            <a:r>
              <a:rPr lang="en-US" sz="1200" err="1">
                <a:solidFill>
                  <a:srgbClr val="FFFFFF"/>
                </a:solidFill>
                <a:latin typeface="+mj-lt"/>
              </a:rPr>
              <a:t>información</a:t>
            </a:r>
            <a:r>
              <a:rPr lang="en-US" sz="1200">
                <a:solidFill>
                  <a:srgbClr val="FFFFFF"/>
                </a:solidFill>
                <a:latin typeface="+mj-lt"/>
              </a:rPr>
              <a:t> </a:t>
            </a:r>
            <a:r>
              <a:rPr lang="en-US" sz="1200" err="1">
                <a:solidFill>
                  <a:srgbClr val="FFFFFF"/>
                </a:solidFill>
                <a:latin typeface="+mj-lt"/>
              </a:rPr>
              <a:t>ya</a:t>
            </a:r>
            <a:r>
              <a:rPr lang="en-US" sz="1200">
                <a:solidFill>
                  <a:srgbClr val="FFFFFF"/>
                </a:solidFill>
                <a:latin typeface="+mj-lt"/>
              </a:rPr>
              <a:t> </a:t>
            </a:r>
            <a:r>
              <a:rPr lang="en-US" sz="1200" err="1">
                <a:solidFill>
                  <a:srgbClr val="FFFFFF"/>
                </a:solidFill>
                <a:latin typeface="+mj-lt"/>
              </a:rPr>
              <a:t>clasificada</a:t>
            </a:r>
            <a:r>
              <a:rPr lang="en-US" sz="1200">
                <a:solidFill>
                  <a:srgbClr val="FFFFFF"/>
                </a:solidFill>
                <a:latin typeface="+mj-lt"/>
              </a:rPr>
              <a:t>. Se le </a:t>
            </a:r>
            <a:r>
              <a:rPr lang="en-US" sz="1200" err="1">
                <a:solidFill>
                  <a:srgbClr val="FFFFFF"/>
                </a:solidFill>
                <a:latin typeface="+mj-lt"/>
              </a:rPr>
              <a:t>entregan</a:t>
            </a:r>
            <a:r>
              <a:rPr lang="en-US" sz="1200">
                <a:solidFill>
                  <a:srgbClr val="FFFFFF"/>
                </a:solidFill>
                <a:latin typeface="+mj-lt"/>
              </a:rPr>
              <a:t> </a:t>
            </a:r>
            <a:r>
              <a:rPr lang="en-US" sz="1200" err="1">
                <a:solidFill>
                  <a:srgbClr val="FFFFFF"/>
                </a:solidFill>
                <a:latin typeface="+mj-lt"/>
              </a:rPr>
              <a:t>una</a:t>
            </a:r>
            <a:r>
              <a:rPr lang="en-US" sz="1200">
                <a:solidFill>
                  <a:srgbClr val="FFFFFF"/>
                </a:solidFill>
                <a:latin typeface="+mj-lt"/>
              </a:rPr>
              <a:t> </a:t>
            </a:r>
            <a:r>
              <a:rPr lang="en-US" sz="1200" err="1">
                <a:solidFill>
                  <a:srgbClr val="FFFFFF"/>
                </a:solidFill>
                <a:latin typeface="+mj-lt"/>
              </a:rPr>
              <a:t>serie</a:t>
            </a:r>
            <a:r>
              <a:rPr lang="en-US" sz="1200">
                <a:solidFill>
                  <a:srgbClr val="FFFFFF"/>
                </a:solidFill>
                <a:latin typeface="+mj-lt"/>
              </a:rPr>
              <a:t> de </a:t>
            </a:r>
            <a:r>
              <a:rPr lang="en-US" sz="1200" i="1">
                <a:solidFill>
                  <a:srgbClr val="FFFFFF"/>
                </a:solidFill>
                <a:latin typeface="+mj-lt"/>
              </a:rPr>
              <a:t>"labelled datasets"</a:t>
            </a:r>
            <a:r>
              <a:rPr lang="en-US" sz="1200">
                <a:solidFill>
                  <a:srgbClr val="FFFFFF"/>
                </a:solidFill>
                <a:latin typeface="+mj-lt"/>
              </a:rPr>
              <a:t> o conjuntos de </a:t>
            </a:r>
            <a:r>
              <a:rPr lang="en-US" sz="1200" err="1">
                <a:solidFill>
                  <a:srgbClr val="FFFFFF"/>
                </a:solidFill>
                <a:latin typeface="+mj-lt"/>
              </a:rPr>
              <a:t>datos</a:t>
            </a:r>
            <a:r>
              <a:rPr lang="en-US" sz="1200">
                <a:solidFill>
                  <a:srgbClr val="FFFFFF"/>
                </a:solidFill>
                <a:latin typeface="+mj-lt"/>
              </a:rPr>
              <a:t> </a:t>
            </a:r>
            <a:r>
              <a:rPr lang="en-US" sz="1200" err="1">
                <a:solidFill>
                  <a:srgbClr val="FFFFFF"/>
                </a:solidFill>
                <a:latin typeface="+mj-lt"/>
              </a:rPr>
              <a:t>etiquetados</a:t>
            </a:r>
            <a:r>
              <a:rPr lang="en-US" sz="1200">
                <a:solidFill>
                  <a:srgbClr val="FFFFFF"/>
                </a:solidFill>
                <a:latin typeface="+mj-lt"/>
              </a:rPr>
              <a:t>, que </a:t>
            </a:r>
            <a:r>
              <a:rPr lang="en-US" sz="1200" err="1">
                <a:solidFill>
                  <a:srgbClr val="FFFFFF"/>
                </a:solidFill>
                <a:latin typeface="+mj-lt"/>
              </a:rPr>
              <a:t>están</a:t>
            </a:r>
            <a:r>
              <a:rPr lang="en-US" sz="1200">
                <a:solidFill>
                  <a:srgbClr val="FFFFFF"/>
                </a:solidFill>
                <a:latin typeface="+mj-lt"/>
              </a:rPr>
              <a:t> </a:t>
            </a:r>
            <a:r>
              <a:rPr lang="en-US" sz="1200" err="1">
                <a:solidFill>
                  <a:srgbClr val="FFFFFF"/>
                </a:solidFill>
                <a:latin typeface="+mj-lt"/>
              </a:rPr>
              <a:t>compuestos</a:t>
            </a:r>
            <a:r>
              <a:rPr lang="en-US" sz="1200">
                <a:solidFill>
                  <a:srgbClr val="FFFFFF"/>
                </a:solidFill>
                <a:latin typeface="+mj-lt"/>
              </a:rPr>
              <a:t> </a:t>
            </a:r>
            <a:r>
              <a:rPr lang="en-US" sz="1200" err="1">
                <a:solidFill>
                  <a:srgbClr val="FFFFFF"/>
                </a:solidFill>
                <a:latin typeface="+mj-lt"/>
              </a:rPr>
              <a:t>por</a:t>
            </a:r>
            <a:r>
              <a:rPr lang="en-US" sz="1200">
                <a:solidFill>
                  <a:srgbClr val="FFFFFF"/>
                </a:solidFill>
                <a:latin typeface="+mj-lt"/>
              </a:rPr>
              <a:t> un </a:t>
            </a:r>
            <a:r>
              <a:rPr lang="en-US" sz="1200" i="1">
                <a:solidFill>
                  <a:srgbClr val="FFFFFF"/>
                </a:solidFill>
                <a:latin typeface="+mj-lt"/>
              </a:rPr>
              <a:t>input</a:t>
            </a:r>
            <a:r>
              <a:rPr lang="en-US" sz="1200">
                <a:solidFill>
                  <a:srgbClr val="FFFFFF"/>
                </a:solidFill>
                <a:latin typeface="+mj-lt"/>
              </a:rPr>
              <a:t> y un </a:t>
            </a:r>
            <a:r>
              <a:rPr lang="en-US" sz="1200" i="1">
                <a:solidFill>
                  <a:srgbClr val="FFFFFF"/>
                </a:solidFill>
                <a:latin typeface="+mj-lt"/>
              </a:rPr>
              <a:t>output</a:t>
            </a:r>
            <a:r>
              <a:rPr lang="en-US" sz="1200">
                <a:solidFill>
                  <a:srgbClr val="FFFFFF"/>
                </a:solidFill>
                <a:latin typeface="+mj-lt"/>
              </a:rPr>
              <a:t> </a:t>
            </a:r>
            <a:r>
              <a:rPr lang="en-US" sz="1200" err="1">
                <a:solidFill>
                  <a:srgbClr val="FFFFFF"/>
                </a:solidFill>
                <a:latin typeface="+mj-lt"/>
              </a:rPr>
              <a:t>determinados</a:t>
            </a:r>
            <a:r>
              <a:rPr lang="en-US" sz="1200">
                <a:solidFill>
                  <a:srgbClr val="FFFFFF"/>
                </a:solidFill>
                <a:latin typeface="+mj-lt"/>
              </a:rPr>
              <a:t>.</a:t>
            </a:r>
          </a:p>
          <a:p>
            <a:pPr>
              <a:lnSpc>
                <a:spcPts val="3777"/>
              </a:lnSpc>
            </a:pPr>
            <a:endParaRPr lang="en-US" sz="1200">
              <a:solidFill>
                <a:srgbClr val="FFFFFF"/>
              </a:solidFill>
              <a:latin typeface="+mj-lt"/>
            </a:endParaRPr>
          </a:p>
          <a:p>
            <a:pPr>
              <a:lnSpc>
                <a:spcPts val="3777"/>
              </a:lnSpc>
            </a:pPr>
            <a:r>
              <a:rPr lang="en-US" sz="1200">
                <a:solidFill>
                  <a:srgbClr val="FFFFFF"/>
                </a:solidFill>
                <a:latin typeface="+mj-lt"/>
              </a:rPr>
              <a:t>Una </a:t>
            </a:r>
            <a:r>
              <a:rPr lang="en-US" sz="1200" err="1">
                <a:solidFill>
                  <a:srgbClr val="FFFFFF"/>
                </a:solidFill>
                <a:latin typeface="+mj-lt"/>
              </a:rPr>
              <a:t>vez</a:t>
            </a:r>
            <a:r>
              <a:rPr lang="en-US" sz="1200">
                <a:solidFill>
                  <a:srgbClr val="FFFFFF"/>
                </a:solidFill>
                <a:latin typeface="+mj-lt"/>
              </a:rPr>
              <a:t> que la IA </a:t>
            </a:r>
            <a:r>
              <a:rPr lang="en-US" sz="1200" err="1">
                <a:solidFill>
                  <a:srgbClr val="FFFFFF"/>
                </a:solidFill>
                <a:latin typeface="+mj-lt"/>
              </a:rPr>
              <a:t>ya</a:t>
            </a:r>
            <a:r>
              <a:rPr lang="en-US" sz="1200">
                <a:solidFill>
                  <a:srgbClr val="FFFFFF"/>
                </a:solidFill>
                <a:latin typeface="+mj-lt"/>
              </a:rPr>
              <a:t> </a:t>
            </a:r>
            <a:r>
              <a:rPr lang="en-US" sz="1200" err="1">
                <a:solidFill>
                  <a:srgbClr val="FFFFFF"/>
                </a:solidFill>
                <a:latin typeface="+mj-lt"/>
              </a:rPr>
              <a:t>esté</a:t>
            </a:r>
            <a:r>
              <a:rPr lang="en-US" sz="1200">
                <a:solidFill>
                  <a:srgbClr val="FFFFFF"/>
                </a:solidFill>
                <a:latin typeface="+mj-lt"/>
              </a:rPr>
              <a:t> </a:t>
            </a:r>
            <a:r>
              <a:rPr lang="en-US" sz="1200" err="1">
                <a:solidFill>
                  <a:srgbClr val="FFFFFF"/>
                </a:solidFill>
                <a:latin typeface="+mj-lt"/>
              </a:rPr>
              <a:t>entrenada</a:t>
            </a:r>
            <a:r>
              <a:rPr lang="en-US" sz="1200">
                <a:solidFill>
                  <a:srgbClr val="FFFFFF"/>
                </a:solidFill>
                <a:latin typeface="+mj-lt"/>
              </a:rPr>
              <a:t> con </a:t>
            </a:r>
            <a:r>
              <a:rPr lang="en-US" sz="1200" err="1">
                <a:solidFill>
                  <a:srgbClr val="FFFFFF"/>
                </a:solidFill>
                <a:latin typeface="+mj-lt"/>
              </a:rPr>
              <a:t>toda</a:t>
            </a:r>
            <a:r>
              <a:rPr lang="en-US" sz="1200">
                <a:solidFill>
                  <a:srgbClr val="FFFFFF"/>
                </a:solidFill>
                <a:latin typeface="+mj-lt"/>
              </a:rPr>
              <a:t> la </a:t>
            </a:r>
            <a:r>
              <a:rPr lang="en-US" sz="1200" err="1">
                <a:solidFill>
                  <a:srgbClr val="FFFFFF"/>
                </a:solidFill>
                <a:latin typeface="+mj-lt"/>
              </a:rPr>
              <a:t>información</a:t>
            </a:r>
            <a:r>
              <a:rPr lang="en-US" sz="1200">
                <a:solidFill>
                  <a:srgbClr val="FFFFFF"/>
                </a:solidFill>
                <a:latin typeface="+mj-lt"/>
              </a:rPr>
              <a:t>, </a:t>
            </a:r>
            <a:r>
              <a:rPr lang="en-US" sz="1200" err="1">
                <a:solidFill>
                  <a:srgbClr val="FFFFFF"/>
                </a:solidFill>
                <a:latin typeface="+mj-lt"/>
              </a:rPr>
              <a:t>va</a:t>
            </a:r>
            <a:r>
              <a:rPr lang="en-US" sz="1200">
                <a:solidFill>
                  <a:srgbClr val="FFFFFF"/>
                </a:solidFill>
                <a:latin typeface="+mj-lt"/>
              </a:rPr>
              <a:t> a </a:t>
            </a:r>
            <a:r>
              <a:rPr lang="en-US" sz="1200" err="1">
                <a:solidFill>
                  <a:srgbClr val="FFFFFF"/>
                </a:solidFill>
                <a:latin typeface="+mj-lt"/>
              </a:rPr>
              <a:t>poder</a:t>
            </a:r>
            <a:r>
              <a:rPr lang="en-US" sz="1200">
                <a:solidFill>
                  <a:srgbClr val="FFFFFF"/>
                </a:solidFill>
                <a:latin typeface="+mj-lt"/>
              </a:rPr>
              <a:t> ser </a:t>
            </a:r>
            <a:r>
              <a:rPr lang="en-US" sz="1200" err="1">
                <a:solidFill>
                  <a:srgbClr val="FFFFFF"/>
                </a:solidFill>
                <a:latin typeface="+mj-lt"/>
              </a:rPr>
              <a:t>capaz</a:t>
            </a:r>
            <a:r>
              <a:rPr lang="en-US" sz="1200">
                <a:solidFill>
                  <a:srgbClr val="FFFFFF"/>
                </a:solidFill>
                <a:latin typeface="+mj-lt"/>
              </a:rPr>
              <a:t> de </a:t>
            </a:r>
            <a:r>
              <a:rPr lang="en-US" sz="1200" err="1">
                <a:solidFill>
                  <a:srgbClr val="FFFFFF"/>
                </a:solidFill>
                <a:latin typeface="+mj-lt"/>
              </a:rPr>
              <a:t>reconocer</a:t>
            </a:r>
            <a:r>
              <a:rPr lang="en-US" sz="1200">
                <a:solidFill>
                  <a:srgbClr val="FFFFFF"/>
                </a:solidFill>
                <a:latin typeface="+mj-lt"/>
              </a:rPr>
              <a:t> </a:t>
            </a:r>
            <a:r>
              <a:rPr lang="en-US" sz="1200" err="1">
                <a:solidFill>
                  <a:srgbClr val="FFFFFF"/>
                </a:solidFill>
                <a:latin typeface="+mj-lt"/>
              </a:rPr>
              <a:t>patrones</a:t>
            </a:r>
            <a:r>
              <a:rPr lang="en-US" sz="1200">
                <a:solidFill>
                  <a:srgbClr val="FFFFFF"/>
                </a:solidFill>
                <a:latin typeface="+mj-lt"/>
              </a:rPr>
              <a:t> </a:t>
            </a:r>
            <a:r>
              <a:rPr lang="en-US" sz="1200" err="1">
                <a:solidFill>
                  <a:srgbClr val="FFFFFF"/>
                </a:solidFill>
                <a:latin typeface="+mj-lt"/>
              </a:rPr>
              <a:t>en</a:t>
            </a:r>
            <a:r>
              <a:rPr lang="en-US" sz="1200">
                <a:solidFill>
                  <a:srgbClr val="FFFFFF"/>
                </a:solidFill>
                <a:latin typeface="+mj-lt"/>
              </a:rPr>
              <a:t> las </a:t>
            </a:r>
            <a:r>
              <a:rPr lang="en-US" sz="1200" err="1">
                <a:solidFill>
                  <a:srgbClr val="FFFFFF"/>
                </a:solidFill>
                <a:latin typeface="+mj-lt"/>
              </a:rPr>
              <a:t>imágenes</a:t>
            </a:r>
            <a:r>
              <a:rPr lang="en-US" sz="1200">
                <a:solidFill>
                  <a:srgbClr val="FFFFFF"/>
                </a:solidFill>
                <a:latin typeface="+mj-lt"/>
              </a:rPr>
              <a:t> para </a:t>
            </a:r>
            <a:r>
              <a:rPr lang="en-US" sz="1200" err="1">
                <a:solidFill>
                  <a:srgbClr val="FFFFFF"/>
                </a:solidFill>
                <a:latin typeface="+mj-lt"/>
              </a:rPr>
              <a:t>poder</a:t>
            </a:r>
            <a:r>
              <a:rPr lang="en-US" sz="1200">
                <a:solidFill>
                  <a:srgbClr val="FFFFFF"/>
                </a:solidFill>
                <a:latin typeface="+mj-lt"/>
              </a:rPr>
              <a:t> </a:t>
            </a:r>
            <a:r>
              <a:rPr lang="en-US" sz="1200" err="1">
                <a:solidFill>
                  <a:srgbClr val="FFFFFF"/>
                </a:solidFill>
                <a:latin typeface="+mj-lt"/>
              </a:rPr>
              <a:t>adivinar</a:t>
            </a:r>
            <a:r>
              <a:rPr lang="en-US" sz="1200">
                <a:solidFill>
                  <a:srgbClr val="FFFFFF"/>
                </a:solidFill>
                <a:latin typeface="+mj-lt"/>
              </a:rPr>
              <a:t> </a:t>
            </a:r>
            <a:r>
              <a:rPr lang="en-US" sz="1200" err="1">
                <a:solidFill>
                  <a:srgbClr val="FFFFFF"/>
                </a:solidFill>
                <a:latin typeface="+mj-lt"/>
              </a:rPr>
              <a:t>el</a:t>
            </a:r>
            <a:r>
              <a:rPr lang="en-US" sz="1200">
                <a:solidFill>
                  <a:srgbClr val="FFFFFF"/>
                </a:solidFill>
                <a:latin typeface="+mj-lt"/>
              </a:rPr>
              <a:t> </a:t>
            </a:r>
            <a:r>
              <a:rPr lang="en-US" sz="1200" i="1">
                <a:solidFill>
                  <a:srgbClr val="FFFFFF"/>
                </a:solidFill>
                <a:latin typeface="+mj-lt"/>
              </a:rPr>
              <a:t>output</a:t>
            </a:r>
            <a:r>
              <a:rPr lang="en-US" sz="1200">
                <a:solidFill>
                  <a:srgbClr val="FFFFFF"/>
                </a:solidFill>
                <a:latin typeface="+mj-lt"/>
              </a:rPr>
              <a:t> de </a:t>
            </a:r>
            <a:r>
              <a:rPr lang="en-US" sz="1200" err="1">
                <a:solidFill>
                  <a:srgbClr val="FFFFFF"/>
                </a:solidFill>
                <a:latin typeface="+mj-lt"/>
              </a:rPr>
              <a:t>una</a:t>
            </a:r>
            <a:r>
              <a:rPr lang="en-US" sz="1200">
                <a:solidFill>
                  <a:srgbClr val="FFFFFF"/>
                </a:solidFill>
                <a:latin typeface="+mj-lt"/>
              </a:rPr>
              <a:t> imagen </a:t>
            </a:r>
            <a:r>
              <a:rPr lang="en-US" sz="1200" err="1">
                <a:solidFill>
                  <a:srgbClr val="FFFFFF"/>
                </a:solidFill>
                <a:latin typeface="+mj-lt"/>
              </a:rPr>
              <a:t>totalmente</a:t>
            </a:r>
            <a:r>
              <a:rPr lang="en-US" sz="1200">
                <a:solidFill>
                  <a:srgbClr val="FFFFFF"/>
                </a:solidFill>
                <a:latin typeface="+mj-lt"/>
              </a:rPr>
              <a:t> </a:t>
            </a:r>
            <a:r>
              <a:rPr lang="en-US" sz="1200" err="1">
                <a:solidFill>
                  <a:srgbClr val="FFFFFF"/>
                </a:solidFill>
                <a:latin typeface="+mj-lt"/>
              </a:rPr>
              <a:t>nueva</a:t>
            </a:r>
            <a:r>
              <a:rPr lang="en-US" sz="1200">
                <a:solidFill>
                  <a:srgbClr val="FFFFFF"/>
                </a:solidFill>
                <a:latin typeface="+mj-lt"/>
              </a:rPr>
              <a: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1344E-620A-4A3E-B797-7691CD1EFF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4812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FFFFFF"/>
                </a:solidFill>
                <a:latin typeface="+mj-lt"/>
              </a:rPr>
              <a:t>El </a:t>
            </a:r>
            <a:r>
              <a:rPr lang="en-US" sz="1200" err="1">
                <a:solidFill>
                  <a:srgbClr val="FFFFFF"/>
                </a:solidFill>
                <a:latin typeface="+mj-lt"/>
              </a:rPr>
              <a:t>aprendizaje</a:t>
            </a:r>
            <a:r>
              <a:rPr lang="en-US" sz="1200">
                <a:solidFill>
                  <a:srgbClr val="FFFFFF"/>
                </a:solidFill>
                <a:latin typeface="+mj-lt"/>
              </a:rPr>
              <a:t> sin </a:t>
            </a:r>
            <a:r>
              <a:rPr lang="en-US" sz="1200" err="1">
                <a:solidFill>
                  <a:srgbClr val="FFFFFF"/>
                </a:solidFill>
                <a:latin typeface="+mj-lt"/>
              </a:rPr>
              <a:t>supervisión</a:t>
            </a:r>
            <a:r>
              <a:rPr lang="en-US" sz="1200">
                <a:solidFill>
                  <a:srgbClr val="FFFFFF"/>
                </a:solidFill>
                <a:latin typeface="+mj-lt"/>
              </a:rPr>
              <a:t> </a:t>
            </a:r>
            <a:r>
              <a:rPr lang="en-US" sz="1200" err="1">
                <a:solidFill>
                  <a:srgbClr val="FFFFFF"/>
                </a:solidFill>
                <a:latin typeface="+mj-lt"/>
              </a:rPr>
              <a:t>utiliza</a:t>
            </a:r>
            <a:r>
              <a:rPr lang="en-US" sz="1200">
                <a:solidFill>
                  <a:srgbClr val="FFFFFF"/>
                </a:solidFill>
                <a:latin typeface="+mj-lt"/>
              </a:rPr>
              <a:t> </a:t>
            </a:r>
            <a:r>
              <a:rPr lang="en-US" sz="1200" err="1">
                <a:solidFill>
                  <a:srgbClr val="FFFFFF"/>
                </a:solidFill>
                <a:latin typeface="+mj-lt"/>
              </a:rPr>
              <a:t>algoritmos</a:t>
            </a:r>
            <a:r>
              <a:rPr lang="en-US" sz="1200">
                <a:solidFill>
                  <a:srgbClr val="FFFFFF"/>
                </a:solidFill>
                <a:latin typeface="+mj-lt"/>
              </a:rPr>
              <a:t> de </a:t>
            </a:r>
            <a:r>
              <a:rPr lang="en-US" sz="1200" i="1">
                <a:solidFill>
                  <a:srgbClr val="FFFFFF"/>
                </a:solidFill>
                <a:latin typeface="+mj-lt"/>
              </a:rPr>
              <a:t>machine learning</a:t>
            </a:r>
            <a:r>
              <a:rPr lang="en-US" sz="1200">
                <a:solidFill>
                  <a:srgbClr val="FFFFFF"/>
                </a:solidFill>
                <a:latin typeface="+mj-lt"/>
              </a:rPr>
              <a:t> para </a:t>
            </a:r>
            <a:r>
              <a:rPr lang="en-US" sz="1200" err="1">
                <a:solidFill>
                  <a:srgbClr val="FFFFFF"/>
                </a:solidFill>
                <a:latin typeface="+mj-lt"/>
              </a:rPr>
              <a:t>analizar</a:t>
            </a:r>
            <a:r>
              <a:rPr lang="en-US" sz="1200">
                <a:solidFill>
                  <a:srgbClr val="FFFFFF"/>
                </a:solidFill>
                <a:latin typeface="+mj-lt"/>
              </a:rPr>
              <a:t> y </a:t>
            </a:r>
            <a:r>
              <a:rPr lang="en-US" sz="1200" err="1">
                <a:solidFill>
                  <a:srgbClr val="FFFFFF"/>
                </a:solidFill>
                <a:latin typeface="+mj-lt"/>
              </a:rPr>
              <a:t>agrupar</a:t>
            </a:r>
            <a:r>
              <a:rPr lang="en-US" sz="1200">
                <a:solidFill>
                  <a:srgbClr val="FFFFFF"/>
                </a:solidFill>
                <a:latin typeface="+mj-lt"/>
              </a:rPr>
              <a:t> </a:t>
            </a:r>
            <a:r>
              <a:rPr lang="en-US" sz="1200" i="1">
                <a:solidFill>
                  <a:srgbClr val="FFFFFF"/>
                </a:solidFill>
                <a:latin typeface="+mj-lt"/>
              </a:rPr>
              <a:t>datasets</a:t>
            </a:r>
            <a:r>
              <a:rPr lang="en-US" sz="1200">
                <a:solidFill>
                  <a:srgbClr val="FFFFFF"/>
                </a:solidFill>
                <a:latin typeface="+mj-lt"/>
              </a:rPr>
              <a:t> sin </a:t>
            </a:r>
            <a:r>
              <a:rPr lang="en-US" sz="1200" err="1">
                <a:solidFill>
                  <a:srgbClr val="FFFFFF"/>
                </a:solidFill>
                <a:latin typeface="+mj-lt"/>
              </a:rPr>
              <a:t>etiquetar</a:t>
            </a:r>
            <a:r>
              <a:rPr lang="en-US" sz="1200">
                <a:solidFill>
                  <a:srgbClr val="FFFFFF"/>
                </a:solidFill>
                <a:latin typeface="+mj-lt"/>
              </a:rPr>
              <a:t>. </a:t>
            </a:r>
            <a:r>
              <a:rPr lang="en-US" sz="1200" err="1">
                <a:solidFill>
                  <a:srgbClr val="FFFFFF"/>
                </a:solidFill>
                <a:latin typeface="+mj-lt"/>
              </a:rPr>
              <a:t>Estos</a:t>
            </a:r>
            <a:r>
              <a:rPr lang="en-US" sz="1200">
                <a:solidFill>
                  <a:srgbClr val="FFFFFF"/>
                </a:solidFill>
                <a:latin typeface="+mj-lt"/>
              </a:rPr>
              <a:t> </a:t>
            </a:r>
            <a:r>
              <a:rPr lang="en-US" sz="1200" err="1">
                <a:solidFill>
                  <a:srgbClr val="FFFFFF"/>
                </a:solidFill>
                <a:latin typeface="+mj-lt"/>
              </a:rPr>
              <a:t>algoritmos</a:t>
            </a:r>
            <a:r>
              <a:rPr lang="en-US" sz="1200">
                <a:solidFill>
                  <a:srgbClr val="FFFFFF"/>
                </a:solidFill>
                <a:latin typeface="+mj-lt"/>
              </a:rPr>
              <a:t> se </a:t>
            </a:r>
            <a:r>
              <a:rPr lang="en-US" sz="1200" err="1">
                <a:solidFill>
                  <a:srgbClr val="FFFFFF"/>
                </a:solidFill>
                <a:latin typeface="+mj-lt"/>
              </a:rPr>
              <a:t>encargan</a:t>
            </a:r>
            <a:r>
              <a:rPr lang="en-US" sz="1200">
                <a:solidFill>
                  <a:srgbClr val="FFFFFF"/>
                </a:solidFill>
                <a:latin typeface="+mj-lt"/>
              </a:rPr>
              <a:t> de </a:t>
            </a:r>
            <a:r>
              <a:rPr lang="en-US" sz="1200" err="1">
                <a:solidFill>
                  <a:srgbClr val="FFFFFF"/>
                </a:solidFill>
                <a:latin typeface="+mj-lt"/>
              </a:rPr>
              <a:t>encontrar</a:t>
            </a:r>
            <a:r>
              <a:rPr lang="en-US" sz="1200">
                <a:solidFill>
                  <a:srgbClr val="FFFFFF"/>
                </a:solidFill>
                <a:latin typeface="+mj-lt"/>
              </a:rPr>
              <a:t> </a:t>
            </a:r>
            <a:r>
              <a:rPr lang="en-US" sz="1200" err="1">
                <a:solidFill>
                  <a:srgbClr val="FFFFFF"/>
                </a:solidFill>
                <a:latin typeface="+mj-lt"/>
              </a:rPr>
              <a:t>patrones</a:t>
            </a:r>
            <a:r>
              <a:rPr lang="en-US" sz="1200">
                <a:solidFill>
                  <a:srgbClr val="FFFFFF"/>
                </a:solidFill>
                <a:latin typeface="+mj-lt"/>
              </a:rPr>
              <a:t> </a:t>
            </a:r>
            <a:r>
              <a:rPr lang="en-US" sz="1200" err="1">
                <a:solidFill>
                  <a:srgbClr val="FFFFFF"/>
                </a:solidFill>
                <a:latin typeface="+mj-lt"/>
              </a:rPr>
              <a:t>en</a:t>
            </a:r>
            <a:r>
              <a:rPr lang="en-US" sz="1200">
                <a:solidFill>
                  <a:srgbClr val="FFFFFF"/>
                </a:solidFill>
                <a:latin typeface="+mj-lt"/>
              </a:rPr>
              <a:t> </a:t>
            </a:r>
            <a:r>
              <a:rPr lang="en-US" sz="1200" err="1">
                <a:solidFill>
                  <a:srgbClr val="FFFFFF"/>
                </a:solidFill>
                <a:latin typeface="+mj-lt"/>
              </a:rPr>
              <a:t>los</a:t>
            </a:r>
            <a:r>
              <a:rPr lang="en-US" sz="1200">
                <a:solidFill>
                  <a:srgbClr val="FFFFFF"/>
                </a:solidFill>
                <a:latin typeface="+mj-lt"/>
              </a:rPr>
              <a:t> </a:t>
            </a:r>
            <a:r>
              <a:rPr lang="en-US" sz="1200" err="1">
                <a:solidFill>
                  <a:srgbClr val="FFFFFF"/>
                </a:solidFill>
                <a:latin typeface="+mj-lt"/>
              </a:rPr>
              <a:t>datos</a:t>
            </a:r>
            <a:r>
              <a:rPr lang="en-US" sz="1200">
                <a:solidFill>
                  <a:srgbClr val="FFFFFF"/>
                </a:solidFill>
                <a:latin typeface="+mj-lt"/>
              </a:rPr>
              <a:t> y </a:t>
            </a:r>
            <a:r>
              <a:rPr lang="en-US" sz="1200" err="1">
                <a:solidFill>
                  <a:srgbClr val="FFFFFF"/>
                </a:solidFill>
                <a:latin typeface="+mj-lt"/>
              </a:rPr>
              <a:t>así</a:t>
            </a:r>
            <a:r>
              <a:rPr lang="en-US" sz="1200">
                <a:solidFill>
                  <a:srgbClr val="FFFFFF"/>
                </a:solidFill>
                <a:latin typeface="+mj-lt"/>
              </a:rPr>
              <a:t> </a:t>
            </a:r>
            <a:r>
              <a:rPr lang="en-US" sz="1200" err="1">
                <a:solidFill>
                  <a:srgbClr val="FFFFFF"/>
                </a:solidFill>
                <a:latin typeface="+mj-lt"/>
              </a:rPr>
              <a:t>poder</a:t>
            </a:r>
            <a:r>
              <a:rPr lang="en-US" sz="1200">
                <a:solidFill>
                  <a:srgbClr val="FFFFFF"/>
                </a:solidFill>
                <a:latin typeface="+mj-lt"/>
              </a:rPr>
              <a:t> </a:t>
            </a:r>
            <a:r>
              <a:rPr lang="en-US" sz="1200" err="1">
                <a:solidFill>
                  <a:srgbClr val="FFFFFF"/>
                </a:solidFill>
                <a:latin typeface="+mj-lt"/>
              </a:rPr>
              <a:t>clasificar</a:t>
            </a:r>
            <a:r>
              <a:rPr lang="en-US" sz="1200">
                <a:solidFill>
                  <a:srgbClr val="FFFFFF"/>
                </a:solidFill>
                <a:latin typeface="+mj-lt"/>
              </a:rPr>
              <a:t> </a:t>
            </a:r>
            <a:r>
              <a:rPr lang="en-US" sz="1200" err="1">
                <a:solidFill>
                  <a:srgbClr val="FFFFFF"/>
                </a:solidFill>
                <a:latin typeface="+mj-lt"/>
              </a:rPr>
              <a:t>los</a:t>
            </a:r>
            <a:r>
              <a:rPr lang="en-US" sz="1200">
                <a:solidFill>
                  <a:srgbClr val="FFFFFF"/>
                </a:solidFill>
                <a:latin typeface="+mj-lt"/>
              </a:rPr>
              <a:t> </a:t>
            </a:r>
            <a:r>
              <a:rPr lang="en-US" sz="1200" err="1">
                <a:solidFill>
                  <a:srgbClr val="FFFFFF"/>
                </a:solidFill>
                <a:latin typeface="+mj-lt"/>
              </a:rPr>
              <a:t>datos</a:t>
            </a:r>
            <a:r>
              <a:rPr lang="en-US" sz="1200">
                <a:solidFill>
                  <a:srgbClr val="FFFFFF"/>
                </a:solidFill>
                <a:latin typeface="+mj-lt"/>
              </a:rPr>
              <a:t> sin la </a:t>
            </a:r>
            <a:r>
              <a:rPr lang="en-US" sz="1200" err="1">
                <a:solidFill>
                  <a:srgbClr val="FFFFFF"/>
                </a:solidFill>
                <a:latin typeface="+mj-lt"/>
              </a:rPr>
              <a:t>intervención</a:t>
            </a:r>
            <a:r>
              <a:rPr lang="en-US" sz="1200">
                <a:solidFill>
                  <a:srgbClr val="FFFFFF"/>
                </a:solidFill>
                <a:latin typeface="+mj-lt"/>
              </a:rPr>
              <a:t> del </a:t>
            </a:r>
            <a:r>
              <a:rPr lang="en-US" sz="1200" err="1">
                <a:solidFill>
                  <a:srgbClr val="FFFFFF"/>
                </a:solidFill>
                <a:latin typeface="+mj-lt"/>
              </a:rPr>
              <a:t>humano</a:t>
            </a:r>
            <a:r>
              <a:rPr lang="en-US" sz="1600">
                <a:solidFill>
                  <a:srgbClr val="FFFFFF"/>
                </a:solidFill>
                <a:latin typeface="Canva Sans"/>
              </a:rPr>
              <a: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1344E-620A-4A3E-B797-7691CD1EFF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2072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863BC125-7D63-C697-F5C2-F0B4196306A3}"/>
              </a:ext>
            </a:extLst>
          </p:cNvPr>
          <p:cNvSpPr>
            <a:spLocks noGrp="1"/>
          </p:cNvSpPr>
          <p:nvPr>
            <p:ph type="dt" sz="half" idx="10"/>
          </p:nvPr>
        </p:nvSpPr>
        <p:spPr/>
        <p:txBody>
          <a:bodyPr/>
          <a:lstStyle>
            <a:lvl1pPr>
              <a:defRPr/>
            </a:lvl1pPr>
          </a:lstStyle>
          <a:p>
            <a:pPr>
              <a:defRPr/>
            </a:pPr>
            <a:fld id="{0C84C44D-B7C8-4485-9BBD-F954DB3B569D}" type="datetimeFigureOut">
              <a:rPr lang="es-MX"/>
              <a:pPr>
                <a:defRPr/>
              </a:pPr>
              <a:t>01/12/2023</a:t>
            </a:fld>
            <a:endParaRPr lang="es-MX"/>
          </a:p>
        </p:txBody>
      </p:sp>
      <p:sp>
        <p:nvSpPr>
          <p:cNvPr id="5" name="Footer Placeholder 4">
            <a:extLst>
              <a:ext uri="{FF2B5EF4-FFF2-40B4-BE49-F238E27FC236}">
                <a16:creationId xmlns:a16="http://schemas.microsoft.com/office/drawing/2014/main" id="{FA6AD6E9-2F38-29D1-7526-14283972F745}"/>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A53204BD-393C-7719-5A9D-0761A88F41AE}"/>
              </a:ext>
            </a:extLst>
          </p:cNvPr>
          <p:cNvSpPr>
            <a:spLocks noGrp="1"/>
          </p:cNvSpPr>
          <p:nvPr>
            <p:ph type="sldNum" sz="quarter" idx="12"/>
          </p:nvPr>
        </p:nvSpPr>
        <p:spPr/>
        <p:txBody>
          <a:bodyPr/>
          <a:lstStyle>
            <a:lvl1pPr>
              <a:defRPr/>
            </a:lvl1pPr>
          </a:lstStyle>
          <a:p>
            <a:pPr>
              <a:defRPr/>
            </a:pPr>
            <a:fld id="{13676134-E025-4ADF-8E09-52DE4F25F2D4}" type="slidenum">
              <a:rPr lang="es-MX"/>
              <a:pPr>
                <a:defRPr/>
              </a:pPr>
              <a:t>‹#›</a:t>
            </a:fld>
            <a:endParaRPr lang="es-MX"/>
          </a:p>
        </p:txBody>
      </p:sp>
    </p:spTree>
    <p:extLst>
      <p:ext uri="{BB962C8B-B14F-4D97-AF65-F5344CB8AC3E}">
        <p14:creationId xmlns:p14="http://schemas.microsoft.com/office/powerpoint/2010/main" val="9222901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44CBFF53-C018-C476-7557-120B7672C764}"/>
              </a:ext>
            </a:extLst>
          </p:cNvPr>
          <p:cNvSpPr>
            <a:spLocks noGrp="1"/>
          </p:cNvSpPr>
          <p:nvPr>
            <p:ph type="dt" sz="half" idx="10"/>
          </p:nvPr>
        </p:nvSpPr>
        <p:spPr/>
        <p:txBody>
          <a:bodyPr/>
          <a:lstStyle>
            <a:lvl1pPr>
              <a:defRPr/>
            </a:lvl1pPr>
          </a:lstStyle>
          <a:p>
            <a:pPr>
              <a:defRPr/>
            </a:pPr>
            <a:fld id="{26CEA38F-6292-4374-B93B-5CF0DABB9FEE}" type="datetimeFigureOut">
              <a:rPr lang="es-MX"/>
              <a:pPr>
                <a:defRPr/>
              </a:pPr>
              <a:t>01/12/2023</a:t>
            </a:fld>
            <a:endParaRPr lang="es-MX"/>
          </a:p>
        </p:txBody>
      </p:sp>
      <p:sp>
        <p:nvSpPr>
          <p:cNvPr id="5" name="Footer Placeholder 4">
            <a:extLst>
              <a:ext uri="{FF2B5EF4-FFF2-40B4-BE49-F238E27FC236}">
                <a16:creationId xmlns:a16="http://schemas.microsoft.com/office/drawing/2014/main" id="{1436AC1D-12AF-CC5D-2E7E-AB856E219048}"/>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D94E4688-C387-F37F-8055-C6A0720E549C}"/>
              </a:ext>
            </a:extLst>
          </p:cNvPr>
          <p:cNvSpPr>
            <a:spLocks noGrp="1"/>
          </p:cNvSpPr>
          <p:nvPr>
            <p:ph type="sldNum" sz="quarter" idx="12"/>
          </p:nvPr>
        </p:nvSpPr>
        <p:spPr/>
        <p:txBody>
          <a:bodyPr/>
          <a:lstStyle>
            <a:lvl1pPr>
              <a:defRPr/>
            </a:lvl1pPr>
          </a:lstStyle>
          <a:p>
            <a:pPr>
              <a:defRPr/>
            </a:pPr>
            <a:fld id="{85CEB76D-2CFD-4EF3-85A2-7375FA41ED89}" type="slidenum">
              <a:rPr lang="es-MX"/>
              <a:pPr>
                <a:defRPr/>
              </a:pPr>
              <a:t>‹#›</a:t>
            </a:fld>
            <a:endParaRPr lang="es-MX"/>
          </a:p>
        </p:txBody>
      </p:sp>
    </p:spTree>
    <p:extLst>
      <p:ext uri="{BB962C8B-B14F-4D97-AF65-F5344CB8AC3E}">
        <p14:creationId xmlns:p14="http://schemas.microsoft.com/office/powerpoint/2010/main" val="285683403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FC8A2C-C2A1-28FC-8CBB-8B023105BF96}"/>
              </a:ext>
            </a:extLst>
          </p:cNvPr>
          <p:cNvSpPr>
            <a:spLocks noGrp="1"/>
          </p:cNvSpPr>
          <p:nvPr>
            <p:ph type="dt" sz="half" idx="10"/>
          </p:nvPr>
        </p:nvSpPr>
        <p:spPr/>
        <p:txBody>
          <a:bodyPr/>
          <a:lstStyle>
            <a:lvl1pPr>
              <a:defRPr/>
            </a:lvl1pPr>
          </a:lstStyle>
          <a:p>
            <a:pPr>
              <a:defRPr/>
            </a:pPr>
            <a:fld id="{9DF30000-5FE3-4C8D-932E-7245CD735B32}" type="datetimeFigureOut">
              <a:rPr lang="en-US"/>
              <a:pPr>
                <a:defRPr/>
              </a:pPr>
              <a:t>12/1/2023</a:t>
            </a:fld>
            <a:endParaRPr lang="en-US"/>
          </a:p>
        </p:txBody>
      </p:sp>
      <p:sp>
        <p:nvSpPr>
          <p:cNvPr id="5" name="Footer Placeholder 4">
            <a:extLst>
              <a:ext uri="{FF2B5EF4-FFF2-40B4-BE49-F238E27FC236}">
                <a16:creationId xmlns:a16="http://schemas.microsoft.com/office/drawing/2014/main" id="{96C43309-DDDC-E21A-A0FE-12B49788026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5B420C3-FF65-D46D-8D05-661BBA43675F}"/>
              </a:ext>
            </a:extLst>
          </p:cNvPr>
          <p:cNvSpPr>
            <a:spLocks noGrp="1"/>
          </p:cNvSpPr>
          <p:nvPr>
            <p:ph type="sldNum" sz="quarter" idx="12"/>
          </p:nvPr>
        </p:nvSpPr>
        <p:spPr/>
        <p:txBody>
          <a:bodyPr/>
          <a:lstStyle>
            <a:lvl1pPr>
              <a:defRPr/>
            </a:lvl1pPr>
          </a:lstStyle>
          <a:p>
            <a:pPr>
              <a:defRPr/>
            </a:pPr>
            <a:fld id="{3A2AB5BF-3C84-40C3-93F4-CEFF399F55A5}" type="slidenum">
              <a:rPr lang="en-US"/>
              <a:pPr>
                <a:defRPr/>
              </a:pPr>
              <a:t>‹#›</a:t>
            </a:fld>
            <a:endParaRPr lang="en-US"/>
          </a:p>
        </p:txBody>
      </p:sp>
    </p:spTree>
    <p:extLst>
      <p:ext uri="{BB962C8B-B14F-4D97-AF65-F5344CB8AC3E}">
        <p14:creationId xmlns:p14="http://schemas.microsoft.com/office/powerpoint/2010/main" val="25983803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71937594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3093231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672527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8800203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2638111"/>
      </p:ext>
    </p:extLst>
  </p:cSld>
  <p:clrMapOvr>
    <a:masterClrMapping/>
  </p:clrMapOvr>
  <p:transition>
    <p:fade/>
  </p:transition>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4226254"/>
      </p:ext>
    </p:extLst>
  </p:cSld>
  <p:clrMapOvr>
    <a:masterClrMapping/>
  </p:clrMapOvr>
  <p:transition>
    <p:fade/>
  </p:transition>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43784461"/>
      </p:ext>
    </p:extLst>
  </p:cSld>
  <p:clrMapOvr>
    <a:masterClrMapping/>
  </p:clrMapOvr>
  <p:transition>
    <p:fade/>
  </p:transition>
  <p:hf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85559639"/>
      </p:ext>
    </p:extLst>
  </p:cSld>
  <p:clrMapOvr>
    <a:masterClrMapping/>
  </p:clrMapOvr>
  <p:transition>
    <p:fade/>
  </p:transition>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
        <p:nvSpPr>
          <p:cNvPr id="8" name="Text Placeholder 18"/>
          <p:cNvSpPr>
            <a:spLocks noGrp="1"/>
          </p:cNvSpPr>
          <p:nvPr>
            <p:ph idx="1" hasCustomPrompt="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MX"/>
              <a:t>A</a:t>
            </a:r>
            <a:r>
              <a:rPr lang="en-US" err="1"/>
              <a:t>gradezco</a:t>
            </a:r>
            <a:r>
              <a:rPr lang="en-US"/>
              <a:t>…</a:t>
            </a:r>
          </a:p>
          <a:p>
            <a:pPr lvl="0"/>
            <a:endParaRPr lang="en-US"/>
          </a:p>
        </p:txBody>
      </p:sp>
      <p:sp>
        <p:nvSpPr>
          <p:cNvPr id="7" name="TextBox 6">
            <a:extLst>
              <a:ext uri="{FF2B5EF4-FFF2-40B4-BE49-F238E27FC236}">
                <a16:creationId xmlns:a16="http://schemas.microsoft.com/office/drawing/2014/main" id="{05BE989B-C09B-4026-9E62-E689E5CE089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5C3E6AE8-CD1A-0C13-EFCF-9413FB56E3F7}"/>
              </a:ext>
            </a:extLst>
          </p:cNvPr>
          <p:cNvSpPr txBox="1"/>
          <p:nvPr userDrawn="1"/>
        </p:nvSpPr>
        <p:spPr>
          <a:xfrm>
            <a:off x="6335184" y="6477001"/>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Espacio TI | Propuesta </a:t>
            </a:r>
            <a:r>
              <a:rPr lang="en-US" sz="900" noProof="0" err="1">
                <a:solidFill>
                  <a:schemeClr val="bg1"/>
                </a:solidFill>
                <a:latin typeface="Calibri" panose="020F0502020204030204" pitchFamily="34" charset="0"/>
                <a:cs typeface="Calibri" panose="020F0502020204030204" pitchFamily="34" charset="0"/>
              </a:rPr>
              <a:t>dinámica</a:t>
            </a:r>
            <a:r>
              <a:rPr lang="en-US" sz="900" noProof="0">
                <a:solidFill>
                  <a:schemeClr val="bg1"/>
                </a:solidFill>
                <a:latin typeface="Calibri" panose="020F0502020204030204" pitchFamily="34" charset="0"/>
                <a:cs typeface="Calibri" panose="020F0502020204030204" pitchFamily="34" charset="0"/>
              </a:rPr>
              <a:t> de </a:t>
            </a:r>
            <a:r>
              <a:rPr lang="en-US" sz="900" noProof="0" err="1">
                <a:solidFill>
                  <a:schemeClr val="bg1"/>
                </a:solidFill>
                <a:latin typeface="Calibri" panose="020F0502020204030204" pitchFamily="34" charset="0"/>
                <a:cs typeface="Calibri" panose="020F0502020204030204" pitchFamily="34" charset="0"/>
              </a:rPr>
              <a:t>cierre</a:t>
            </a:r>
            <a:r>
              <a:rPr lang="en-US" sz="900" noProof="0">
                <a:solidFill>
                  <a:schemeClr val="bg1"/>
                </a:solidFill>
                <a:latin typeface="Calibri" panose="020F0502020204030204" pitchFamily="34" charset="0"/>
                <a:cs typeface="Calibri" panose="020F0502020204030204" pitchFamily="34" charset="0"/>
              </a:rPr>
              <a:t> </a:t>
            </a:r>
          </a:p>
        </p:txBody>
      </p:sp>
      <p:sp>
        <p:nvSpPr>
          <p:cNvPr id="3" name="TextBox 2">
            <a:extLst>
              <a:ext uri="{FF2B5EF4-FFF2-40B4-BE49-F238E27FC236}">
                <a16:creationId xmlns:a16="http://schemas.microsoft.com/office/drawing/2014/main" id="{C28382A1-0E84-6ABF-C738-D4C689FAF916}"/>
              </a:ext>
            </a:extLst>
          </p:cNvPr>
          <p:cNvSpPr txBox="1"/>
          <p:nvPr userDrawn="1"/>
        </p:nvSpPr>
        <p:spPr>
          <a:xfrm>
            <a:off x="376237" y="6477001"/>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2023 Deloitte Spanish Latin America</a:t>
            </a:r>
          </a:p>
        </p:txBody>
      </p:sp>
    </p:spTree>
    <p:extLst>
      <p:ext uri="{BB962C8B-B14F-4D97-AF65-F5344CB8AC3E}">
        <p14:creationId xmlns:p14="http://schemas.microsoft.com/office/powerpoint/2010/main" val="267498144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s-MX"/>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818B834B-A1EB-CE57-DE02-CFB936527DDC}"/>
              </a:ext>
            </a:extLst>
          </p:cNvPr>
          <p:cNvSpPr>
            <a:spLocks noGrp="1"/>
          </p:cNvSpPr>
          <p:nvPr>
            <p:ph type="dt" sz="half" idx="10"/>
          </p:nvPr>
        </p:nvSpPr>
        <p:spPr/>
        <p:txBody>
          <a:bodyPr/>
          <a:lstStyle>
            <a:lvl1pPr>
              <a:defRPr/>
            </a:lvl1pPr>
          </a:lstStyle>
          <a:p>
            <a:pPr>
              <a:defRPr/>
            </a:pPr>
            <a:fld id="{181EF9C4-7578-4715-AD5E-083A334B683B}" type="datetimeFigureOut">
              <a:rPr lang="es-MX"/>
              <a:pPr>
                <a:defRPr/>
              </a:pPr>
              <a:t>01/12/2023</a:t>
            </a:fld>
            <a:endParaRPr lang="es-MX"/>
          </a:p>
        </p:txBody>
      </p:sp>
      <p:sp>
        <p:nvSpPr>
          <p:cNvPr id="5" name="Footer Placeholder 4">
            <a:extLst>
              <a:ext uri="{FF2B5EF4-FFF2-40B4-BE49-F238E27FC236}">
                <a16:creationId xmlns:a16="http://schemas.microsoft.com/office/drawing/2014/main" id="{F1F0D6F9-133A-3D3F-B933-9F72076BFEAD}"/>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97B15187-2BC5-5A67-D947-BA25FEBE0BA2}"/>
              </a:ext>
            </a:extLst>
          </p:cNvPr>
          <p:cNvSpPr>
            <a:spLocks noGrp="1"/>
          </p:cNvSpPr>
          <p:nvPr>
            <p:ph type="sldNum" sz="quarter" idx="12"/>
          </p:nvPr>
        </p:nvSpPr>
        <p:spPr/>
        <p:txBody>
          <a:bodyPr/>
          <a:lstStyle>
            <a:lvl1pPr>
              <a:defRPr/>
            </a:lvl1pPr>
          </a:lstStyle>
          <a:p>
            <a:pPr>
              <a:defRPr/>
            </a:pPr>
            <a:fld id="{A169CD2D-0611-484F-9A92-4C9F25EAD9AF}" type="slidenum">
              <a:rPr lang="es-MX"/>
              <a:pPr>
                <a:defRPr/>
              </a:pPr>
              <a:t>‹#›</a:t>
            </a:fld>
            <a:endParaRPr lang="es-MX"/>
          </a:p>
        </p:txBody>
      </p:sp>
    </p:spTree>
    <p:extLst>
      <p:ext uri="{BB962C8B-B14F-4D97-AF65-F5344CB8AC3E}">
        <p14:creationId xmlns:p14="http://schemas.microsoft.com/office/powerpoint/2010/main" val="8410364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064892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1866938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80294926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41866289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195557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149333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125862945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314848834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207196777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90734973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2496A7C-EA16-17A9-CC52-FCDE5CA22EBD}"/>
              </a:ext>
            </a:extLst>
          </p:cNvPr>
          <p:cNvSpPr>
            <a:spLocks noGrp="1"/>
          </p:cNvSpPr>
          <p:nvPr>
            <p:ph type="dt" sz="half" idx="10"/>
          </p:nvPr>
        </p:nvSpPr>
        <p:spPr/>
        <p:txBody>
          <a:bodyPr/>
          <a:lstStyle>
            <a:lvl1pPr>
              <a:defRPr/>
            </a:lvl1pPr>
          </a:lstStyle>
          <a:p>
            <a:pPr>
              <a:defRPr/>
            </a:pPr>
            <a:fld id="{B2693DD1-284C-4A1D-AC6E-584B20B6BF3A}" type="datetimeFigureOut">
              <a:rPr lang="en-US"/>
              <a:pPr>
                <a:defRPr/>
              </a:pPr>
              <a:t>12/1/2023</a:t>
            </a:fld>
            <a:endParaRPr lang="en-US"/>
          </a:p>
        </p:txBody>
      </p:sp>
      <p:sp>
        <p:nvSpPr>
          <p:cNvPr id="5" name="Footer Placeholder 4">
            <a:extLst>
              <a:ext uri="{FF2B5EF4-FFF2-40B4-BE49-F238E27FC236}">
                <a16:creationId xmlns:a16="http://schemas.microsoft.com/office/drawing/2014/main" id="{ED58EB0F-612B-7960-B65B-1F4668B71F3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1708D95-CACB-6147-BBFB-2D1EF6435BC2}"/>
              </a:ext>
            </a:extLst>
          </p:cNvPr>
          <p:cNvSpPr>
            <a:spLocks noGrp="1"/>
          </p:cNvSpPr>
          <p:nvPr>
            <p:ph type="sldNum" sz="quarter" idx="12"/>
          </p:nvPr>
        </p:nvSpPr>
        <p:spPr/>
        <p:txBody>
          <a:bodyPr/>
          <a:lstStyle>
            <a:lvl1pPr>
              <a:defRPr/>
            </a:lvl1pPr>
          </a:lstStyle>
          <a:p>
            <a:pPr>
              <a:defRPr/>
            </a:pPr>
            <a:fld id="{55693224-E00B-4659-AFD2-DA2898D0D276}" type="slidenum">
              <a:rPr lang="en-US"/>
              <a:pPr>
                <a:defRPr/>
              </a:pPr>
              <a:t>‹#›</a:t>
            </a:fld>
            <a:endParaRPr lang="en-US"/>
          </a:p>
        </p:txBody>
      </p:sp>
    </p:spTree>
    <p:extLst>
      <p:ext uri="{BB962C8B-B14F-4D97-AF65-F5344CB8AC3E}">
        <p14:creationId xmlns:p14="http://schemas.microsoft.com/office/powerpoint/2010/main" val="248121057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63307005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268609731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25438584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21449974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96600639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396681740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00305802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11507085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8465953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463965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6F9DA5-CD4E-6902-93BB-4837647E35F5}"/>
              </a:ext>
            </a:extLst>
          </p:cNvPr>
          <p:cNvSpPr>
            <a:spLocks noGrp="1"/>
          </p:cNvSpPr>
          <p:nvPr>
            <p:ph type="dt" sz="half" idx="10"/>
          </p:nvPr>
        </p:nvSpPr>
        <p:spPr/>
        <p:txBody>
          <a:bodyPr/>
          <a:lstStyle>
            <a:lvl1pPr>
              <a:defRPr/>
            </a:lvl1pPr>
          </a:lstStyle>
          <a:p>
            <a:pPr>
              <a:defRPr/>
            </a:pPr>
            <a:fld id="{648ABFE3-6A5B-41B9-BA1D-EBC0EB4DF6F3}" type="datetimeFigureOut">
              <a:rPr lang="en-US"/>
              <a:pPr>
                <a:defRPr/>
              </a:pPr>
              <a:t>12/1/2023</a:t>
            </a:fld>
            <a:endParaRPr lang="en-US"/>
          </a:p>
        </p:txBody>
      </p:sp>
      <p:sp>
        <p:nvSpPr>
          <p:cNvPr id="5" name="Footer Placeholder 4">
            <a:extLst>
              <a:ext uri="{FF2B5EF4-FFF2-40B4-BE49-F238E27FC236}">
                <a16:creationId xmlns:a16="http://schemas.microsoft.com/office/drawing/2014/main" id="{E5988494-9C32-AFA4-8A9A-29185359FEC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F329EF7-ECE0-E1C0-D1AF-D41AC143A2E4}"/>
              </a:ext>
            </a:extLst>
          </p:cNvPr>
          <p:cNvSpPr>
            <a:spLocks noGrp="1"/>
          </p:cNvSpPr>
          <p:nvPr>
            <p:ph type="sldNum" sz="quarter" idx="12"/>
          </p:nvPr>
        </p:nvSpPr>
        <p:spPr/>
        <p:txBody>
          <a:bodyPr/>
          <a:lstStyle>
            <a:lvl1pPr>
              <a:defRPr/>
            </a:lvl1pPr>
          </a:lstStyle>
          <a:p>
            <a:pPr>
              <a:defRPr/>
            </a:pPr>
            <a:fld id="{54D59A29-76FA-47FA-B239-2E69D31987BA}" type="slidenum">
              <a:rPr lang="en-US"/>
              <a:pPr>
                <a:defRPr/>
              </a:pPr>
              <a:t>‹#›</a:t>
            </a:fld>
            <a:endParaRPr lang="en-US"/>
          </a:p>
        </p:txBody>
      </p:sp>
    </p:spTree>
    <p:extLst>
      <p:ext uri="{BB962C8B-B14F-4D97-AF65-F5344CB8AC3E}">
        <p14:creationId xmlns:p14="http://schemas.microsoft.com/office/powerpoint/2010/main" val="97739703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22418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TextBox 9"/>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7410496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TextBox 9"/>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4178313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23305281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4231299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9445700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54644757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04451029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42677081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3283087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0441C84-D85B-7C08-5345-3BCD2C105265}"/>
              </a:ext>
            </a:extLst>
          </p:cNvPr>
          <p:cNvSpPr>
            <a:spLocks noGrp="1"/>
          </p:cNvSpPr>
          <p:nvPr>
            <p:ph type="dt" sz="half" idx="10"/>
          </p:nvPr>
        </p:nvSpPr>
        <p:spPr/>
        <p:txBody>
          <a:bodyPr/>
          <a:lstStyle>
            <a:lvl1pPr>
              <a:defRPr/>
            </a:lvl1pPr>
          </a:lstStyle>
          <a:p>
            <a:pPr>
              <a:defRPr/>
            </a:pPr>
            <a:fld id="{48CAECF1-9669-4961-80D7-7684DE4689EE}" type="datetimeFigureOut">
              <a:rPr lang="en-US"/>
              <a:pPr>
                <a:defRPr/>
              </a:pPr>
              <a:t>12/1/2023</a:t>
            </a:fld>
            <a:endParaRPr lang="en-US"/>
          </a:p>
        </p:txBody>
      </p:sp>
      <p:sp>
        <p:nvSpPr>
          <p:cNvPr id="5" name="Footer Placeholder 4">
            <a:extLst>
              <a:ext uri="{FF2B5EF4-FFF2-40B4-BE49-F238E27FC236}">
                <a16:creationId xmlns:a16="http://schemas.microsoft.com/office/drawing/2014/main" id="{CA3FA140-83AE-0916-F4AD-D0F136B87FF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FCC1FB6-6EB0-1A5A-4D96-7146889A83FE}"/>
              </a:ext>
            </a:extLst>
          </p:cNvPr>
          <p:cNvSpPr>
            <a:spLocks noGrp="1"/>
          </p:cNvSpPr>
          <p:nvPr>
            <p:ph type="sldNum" sz="quarter" idx="12"/>
          </p:nvPr>
        </p:nvSpPr>
        <p:spPr/>
        <p:txBody>
          <a:bodyPr/>
          <a:lstStyle>
            <a:lvl1pPr>
              <a:defRPr/>
            </a:lvl1pPr>
          </a:lstStyle>
          <a:p>
            <a:pPr>
              <a:defRPr/>
            </a:pPr>
            <a:fld id="{6358F7AA-57EE-444A-B76F-5BDABD56FCF9}" type="slidenum">
              <a:rPr lang="en-US"/>
              <a:pPr>
                <a:defRPr/>
              </a:pPr>
              <a:t>‹#›</a:t>
            </a:fld>
            <a:endParaRPr lang="en-US"/>
          </a:p>
        </p:txBody>
      </p:sp>
    </p:spTree>
    <p:extLst>
      <p:ext uri="{BB962C8B-B14F-4D97-AF65-F5344CB8AC3E}">
        <p14:creationId xmlns:p14="http://schemas.microsoft.com/office/powerpoint/2010/main" val="79855884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20318206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74016177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53739733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52193755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45860771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89926248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44261424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83007832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6806834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87082049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1E351610-CEC0-A51E-0597-B4E0C6D845F4}"/>
              </a:ext>
            </a:extLst>
          </p:cNvPr>
          <p:cNvSpPr>
            <a:spLocks noGrp="1"/>
          </p:cNvSpPr>
          <p:nvPr>
            <p:ph type="dt" sz="half" idx="10"/>
          </p:nvPr>
        </p:nvSpPr>
        <p:spPr/>
        <p:txBody>
          <a:bodyPr/>
          <a:lstStyle>
            <a:lvl1pPr>
              <a:defRPr/>
            </a:lvl1pPr>
          </a:lstStyle>
          <a:p>
            <a:pPr>
              <a:defRPr/>
            </a:pPr>
            <a:fld id="{23344D3E-0139-4971-950D-33937130332D}" type="datetimeFigureOut">
              <a:rPr lang="en-US"/>
              <a:pPr>
                <a:defRPr/>
              </a:pPr>
              <a:t>12/1/2023</a:t>
            </a:fld>
            <a:endParaRPr lang="en-US"/>
          </a:p>
        </p:txBody>
      </p:sp>
      <p:sp>
        <p:nvSpPr>
          <p:cNvPr id="6" name="Footer Placeholder 4">
            <a:extLst>
              <a:ext uri="{FF2B5EF4-FFF2-40B4-BE49-F238E27FC236}">
                <a16:creationId xmlns:a16="http://schemas.microsoft.com/office/drawing/2014/main" id="{2A5CE1FE-A7A4-2C9D-0E1E-64C6539AEDB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9DE08EC-7862-AF1D-695F-4D32F8A4C66B}"/>
              </a:ext>
            </a:extLst>
          </p:cNvPr>
          <p:cNvSpPr>
            <a:spLocks noGrp="1"/>
          </p:cNvSpPr>
          <p:nvPr>
            <p:ph type="sldNum" sz="quarter" idx="12"/>
          </p:nvPr>
        </p:nvSpPr>
        <p:spPr/>
        <p:txBody>
          <a:bodyPr/>
          <a:lstStyle>
            <a:lvl1pPr>
              <a:defRPr/>
            </a:lvl1pPr>
          </a:lstStyle>
          <a:p>
            <a:pPr>
              <a:defRPr/>
            </a:pPr>
            <a:fld id="{F4228932-40FD-4792-8539-D6339A71F8FA}" type="slidenum">
              <a:rPr lang="en-US"/>
              <a:pPr>
                <a:defRPr/>
              </a:pPr>
              <a:t>‹#›</a:t>
            </a:fld>
            <a:endParaRPr lang="en-US"/>
          </a:p>
        </p:txBody>
      </p:sp>
    </p:spTree>
    <p:extLst>
      <p:ext uri="{BB962C8B-B14F-4D97-AF65-F5344CB8AC3E}">
        <p14:creationId xmlns:p14="http://schemas.microsoft.com/office/powerpoint/2010/main" val="167306423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22798639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4770563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02281347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10569368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5641895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85392184"/>
      </p:ext>
    </p:extLst>
  </p:cSld>
  <p:clrMapOvr>
    <a:masterClrMapping/>
  </p:clrMapOvr>
  <p:hf hdr="0" dt="0"/>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416C091-2AB2-5910-2246-13203F833DFE}"/>
              </a:ext>
            </a:extLst>
          </p:cNvPr>
          <p:cNvSpPr>
            <a:spLocks noGrp="1"/>
          </p:cNvSpPr>
          <p:nvPr>
            <p:ph type="dt" sz="half" idx="10"/>
          </p:nvPr>
        </p:nvSpPr>
        <p:spPr/>
        <p:txBody>
          <a:bodyPr/>
          <a:lstStyle>
            <a:lvl1pPr>
              <a:defRPr/>
            </a:lvl1pPr>
          </a:lstStyle>
          <a:p>
            <a:pPr>
              <a:defRPr/>
            </a:pPr>
            <a:fld id="{8D88C204-9D1F-4B66-8163-C782B42517F6}" type="datetimeFigureOut">
              <a:rPr lang="en-US"/>
              <a:pPr>
                <a:defRPr/>
              </a:pPr>
              <a:t>12/1/2023</a:t>
            </a:fld>
            <a:endParaRPr lang="en-US"/>
          </a:p>
        </p:txBody>
      </p:sp>
      <p:sp>
        <p:nvSpPr>
          <p:cNvPr id="5" name="Footer Placeholder 4">
            <a:extLst>
              <a:ext uri="{FF2B5EF4-FFF2-40B4-BE49-F238E27FC236}">
                <a16:creationId xmlns:a16="http://schemas.microsoft.com/office/drawing/2014/main" id="{6EBEF269-0BE4-6C4C-3DB9-820E1B4F13E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BDD88A4-0437-5E16-C3C2-2881F9CD3E0B}"/>
              </a:ext>
            </a:extLst>
          </p:cNvPr>
          <p:cNvSpPr>
            <a:spLocks noGrp="1"/>
          </p:cNvSpPr>
          <p:nvPr>
            <p:ph type="sldNum" sz="quarter" idx="12"/>
          </p:nvPr>
        </p:nvSpPr>
        <p:spPr/>
        <p:txBody>
          <a:bodyPr/>
          <a:lstStyle>
            <a:lvl1pPr>
              <a:defRPr/>
            </a:lvl1pPr>
          </a:lstStyle>
          <a:p>
            <a:pPr>
              <a:defRPr/>
            </a:pPr>
            <a:fld id="{86752191-4937-41D6-874F-B110D9279BAB}" type="slidenum">
              <a:rPr lang="en-US"/>
              <a:pPr>
                <a:defRPr/>
              </a:pPr>
              <a:t>‹#›</a:t>
            </a:fld>
            <a:endParaRPr lang="en-US"/>
          </a:p>
        </p:txBody>
      </p:sp>
    </p:spTree>
    <p:extLst>
      <p:ext uri="{BB962C8B-B14F-4D97-AF65-F5344CB8AC3E}">
        <p14:creationId xmlns:p14="http://schemas.microsoft.com/office/powerpoint/2010/main" val="26716870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637AB9-5171-DDB2-D9EF-8D9C06EE898F}"/>
              </a:ext>
            </a:extLst>
          </p:cNvPr>
          <p:cNvSpPr>
            <a:spLocks noGrp="1"/>
          </p:cNvSpPr>
          <p:nvPr>
            <p:ph type="dt" sz="half" idx="10"/>
          </p:nvPr>
        </p:nvSpPr>
        <p:spPr/>
        <p:txBody>
          <a:bodyPr/>
          <a:lstStyle>
            <a:lvl1pPr>
              <a:defRPr/>
            </a:lvl1pPr>
          </a:lstStyle>
          <a:p>
            <a:pPr>
              <a:defRPr/>
            </a:pPr>
            <a:fld id="{EBC93501-C307-4744-8616-29F388B83892}" type="datetimeFigureOut">
              <a:rPr lang="en-US"/>
              <a:pPr>
                <a:defRPr/>
              </a:pPr>
              <a:t>12/1/2023</a:t>
            </a:fld>
            <a:endParaRPr lang="en-US"/>
          </a:p>
        </p:txBody>
      </p:sp>
      <p:sp>
        <p:nvSpPr>
          <p:cNvPr id="5" name="Footer Placeholder 4">
            <a:extLst>
              <a:ext uri="{FF2B5EF4-FFF2-40B4-BE49-F238E27FC236}">
                <a16:creationId xmlns:a16="http://schemas.microsoft.com/office/drawing/2014/main" id="{01B210EF-8EBC-BF4D-35F9-B0A98E153E9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485AEAE-BA22-E7C9-DAD3-51DAE8ED1DB3}"/>
              </a:ext>
            </a:extLst>
          </p:cNvPr>
          <p:cNvSpPr>
            <a:spLocks noGrp="1"/>
          </p:cNvSpPr>
          <p:nvPr>
            <p:ph type="sldNum" sz="quarter" idx="12"/>
          </p:nvPr>
        </p:nvSpPr>
        <p:spPr/>
        <p:txBody>
          <a:bodyPr/>
          <a:lstStyle>
            <a:lvl1pPr>
              <a:defRPr/>
            </a:lvl1pPr>
          </a:lstStyle>
          <a:p>
            <a:pPr>
              <a:defRPr/>
            </a:pPr>
            <a:fld id="{32DCBB96-DA78-4D16-AA9F-665D29E6D8DB}" type="slidenum">
              <a:rPr lang="en-US"/>
              <a:pPr>
                <a:defRPr/>
              </a:pPr>
              <a:t>‹#›</a:t>
            </a:fld>
            <a:endParaRPr lang="en-US"/>
          </a:p>
        </p:txBody>
      </p:sp>
    </p:spTree>
    <p:extLst>
      <p:ext uri="{BB962C8B-B14F-4D97-AF65-F5344CB8AC3E}">
        <p14:creationId xmlns:p14="http://schemas.microsoft.com/office/powerpoint/2010/main" val="85689857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0DD6ECD-7EC4-96C6-3F21-64817476F06B}"/>
              </a:ext>
            </a:extLst>
          </p:cNvPr>
          <p:cNvSpPr>
            <a:spLocks noGrp="1"/>
          </p:cNvSpPr>
          <p:nvPr>
            <p:ph type="dt" sz="half" idx="10"/>
          </p:nvPr>
        </p:nvSpPr>
        <p:spPr/>
        <p:txBody>
          <a:bodyPr/>
          <a:lstStyle>
            <a:lvl1pPr>
              <a:defRPr/>
            </a:lvl1pPr>
          </a:lstStyle>
          <a:p>
            <a:pPr>
              <a:defRPr/>
            </a:pPr>
            <a:fld id="{4C365744-F866-459A-A6B9-25FF4157F2B0}" type="datetimeFigureOut">
              <a:rPr lang="en-US"/>
              <a:pPr>
                <a:defRPr/>
              </a:pPr>
              <a:t>12/1/2023</a:t>
            </a:fld>
            <a:endParaRPr lang="en-US"/>
          </a:p>
        </p:txBody>
      </p:sp>
      <p:sp>
        <p:nvSpPr>
          <p:cNvPr id="5" name="Footer Placeholder 4">
            <a:extLst>
              <a:ext uri="{FF2B5EF4-FFF2-40B4-BE49-F238E27FC236}">
                <a16:creationId xmlns:a16="http://schemas.microsoft.com/office/drawing/2014/main" id="{CD6F4C74-F6DA-DDCC-7DB9-4974565895E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3333277-F4DA-26D0-160B-EE6B9D1A27B2}"/>
              </a:ext>
            </a:extLst>
          </p:cNvPr>
          <p:cNvSpPr>
            <a:spLocks noGrp="1"/>
          </p:cNvSpPr>
          <p:nvPr>
            <p:ph type="sldNum" sz="quarter" idx="12"/>
          </p:nvPr>
        </p:nvSpPr>
        <p:spPr/>
        <p:txBody>
          <a:bodyPr/>
          <a:lstStyle>
            <a:lvl1pPr>
              <a:defRPr/>
            </a:lvl1pPr>
          </a:lstStyle>
          <a:p>
            <a:pPr>
              <a:defRPr/>
            </a:pPr>
            <a:fld id="{682F43DE-7915-4FE7-850D-C95EDC5BCD26}" type="slidenum">
              <a:rPr lang="en-US"/>
              <a:pPr>
                <a:defRPr/>
              </a:pPr>
              <a:t>‹#›</a:t>
            </a:fld>
            <a:endParaRPr lang="en-US"/>
          </a:p>
        </p:txBody>
      </p:sp>
    </p:spTree>
    <p:extLst>
      <p:ext uri="{BB962C8B-B14F-4D97-AF65-F5344CB8AC3E}">
        <p14:creationId xmlns:p14="http://schemas.microsoft.com/office/powerpoint/2010/main" val="73097654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535CE78F-F6AB-3912-08B2-3AA0C6E65E01}"/>
              </a:ext>
            </a:extLst>
          </p:cNvPr>
          <p:cNvSpPr>
            <a:spLocks noGrp="1"/>
          </p:cNvSpPr>
          <p:nvPr>
            <p:ph type="dt" sz="half" idx="10"/>
          </p:nvPr>
        </p:nvSpPr>
        <p:spPr/>
        <p:txBody>
          <a:bodyPr/>
          <a:lstStyle>
            <a:lvl1pPr>
              <a:defRPr/>
            </a:lvl1pPr>
          </a:lstStyle>
          <a:p>
            <a:pPr>
              <a:defRPr/>
            </a:pPr>
            <a:fld id="{3ED2DECE-3F6F-4C15-B9FB-6B191C9F68DB}" type="datetimeFigureOut">
              <a:rPr lang="en-US"/>
              <a:pPr>
                <a:defRPr/>
              </a:pPr>
              <a:t>12/1/2023</a:t>
            </a:fld>
            <a:endParaRPr lang="en-US"/>
          </a:p>
        </p:txBody>
      </p:sp>
      <p:sp>
        <p:nvSpPr>
          <p:cNvPr id="6" name="Footer Placeholder 4">
            <a:extLst>
              <a:ext uri="{FF2B5EF4-FFF2-40B4-BE49-F238E27FC236}">
                <a16:creationId xmlns:a16="http://schemas.microsoft.com/office/drawing/2014/main" id="{DC30F0C5-80B4-92C6-5920-0B5D309E287C}"/>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C207986-9B58-4DF8-5559-61F8A9A60958}"/>
              </a:ext>
            </a:extLst>
          </p:cNvPr>
          <p:cNvSpPr>
            <a:spLocks noGrp="1"/>
          </p:cNvSpPr>
          <p:nvPr>
            <p:ph type="sldNum" sz="quarter" idx="12"/>
          </p:nvPr>
        </p:nvSpPr>
        <p:spPr/>
        <p:txBody>
          <a:bodyPr/>
          <a:lstStyle>
            <a:lvl1pPr>
              <a:defRPr/>
            </a:lvl1pPr>
          </a:lstStyle>
          <a:p>
            <a:pPr>
              <a:defRPr/>
            </a:pPr>
            <a:fld id="{B896DB4C-F202-44C0-950E-63108329B579}" type="slidenum">
              <a:rPr lang="en-US"/>
              <a:pPr>
                <a:defRPr/>
              </a:pPr>
              <a:t>‹#›</a:t>
            </a:fld>
            <a:endParaRPr lang="en-US"/>
          </a:p>
        </p:txBody>
      </p:sp>
    </p:spTree>
    <p:extLst>
      <p:ext uri="{BB962C8B-B14F-4D97-AF65-F5344CB8AC3E}">
        <p14:creationId xmlns:p14="http://schemas.microsoft.com/office/powerpoint/2010/main" val="17056737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DA377F70-6774-E054-448A-29008651E009}"/>
              </a:ext>
            </a:extLst>
          </p:cNvPr>
          <p:cNvSpPr>
            <a:spLocks noGrp="1"/>
          </p:cNvSpPr>
          <p:nvPr>
            <p:ph type="dt" sz="half" idx="10"/>
          </p:nvPr>
        </p:nvSpPr>
        <p:spPr/>
        <p:txBody>
          <a:bodyPr/>
          <a:lstStyle>
            <a:lvl1pPr>
              <a:defRPr/>
            </a:lvl1pPr>
          </a:lstStyle>
          <a:p>
            <a:pPr>
              <a:defRPr/>
            </a:pPr>
            <a:fld id="{12548640-7161-4227-8DEF-E8B0FE52C305}" type="datetimeFigureOut">
              <a:rPr lang="en-US"/>
              <a:pPr>
                <a:defRPr/>
              </a:pPr>
              <a:t>12/1/2023</a:t>
            </a:fld>
            <a:endParaRPr lang="en-US"/>
          </a:p>
        </p:txBody>
      </p:sp>
      <p:sp>
        <p:nvSpPr>
          <p:cNvPr id="8" name="Footer Placeholder 4">
            <a:extLst>
              <a:ext uri="{FF2B5EF4-FFF2-40B4-BE49-F238E27FC236}">
                <a16:creationId xmlns:a16="http://schemas.microsoft.com/office/drawing/2014/main" id="{A11AB0F9-3165-25A9-2DEE-3144CE246F8A}"/>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04BFB79B-622C-0417-7703-89F6021A6D02}"/>
              </a:ext>
            </a:extLst>
          </p:cNvPr>
          <p:cNvSpPr>
            <a:spLocks noGrp="1"/>
          </p:cNvSpPr>
          <p:nvPr>
            <p:ph type="sldNum" sz="quarter" idx="12"/>
          </p:nvPr>
        </p:nvSpPr>
        <p:spPr/>
        <p:txBody>
          <a:bodyPr/>
          <a:lstStyle>
            <a:lvl1pPr>
              <a:defRPr/>
            </a:lvl1pPr>
          </a:lstStyle>
          <a:p>
            <a:pPr>
              <a:defRPr/>
            </a:pPr>
            <a:fld id="{9245C388-4A67-4EBF-9768-5DFD1620A9B0}" type="slidenum">
              <a:rPr lang="en-US"/>
              <a:pPr>
                <a:defRPr/>
              </a:pPr>
              <a:t>‹#›</a:t>
            </a:fld>
            <a:endParaRPr lang="en-US"/>
          </a:p>
        </p:txBody>
      </p:sp>
    </p:spTree>
    <p:extLst>
      <p:ext uri="{BB962C8B-B14F-4D97-AF65-F5344CB8AC3E}">
        <p14:creationId xmlns:p14="http://schemas.microsoft.com/office/powerpoint/2010/main" val="1895411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8A7C89BE-1986-72A9-E856-B907028B80A2}"/>
              </a:ext>
            </a:extLst>
          </p:cNvPr>
          <p:cNvSpPr>
            <a:spLocks noGrp="1"/>
          </p:cNvSpPr>
          <p:nvPr>
            <p:ph type="dt" sz="half" idx="10"/>
          </p:nvPr>
        </p:nvSpPr>
        <p:spPr/>
        <p:txBody>
          <a:bodyPr/>
          <a:lstStyle>
            <a:lvl1pPr>
              <a:defRPr/>
            </a:lvl1pPr>
          </a:lstStyle>
          <a:p>
            <a:pPr>
              <a:defRPr/>
            </a:pPr>
            <a:fld id="{C7E8D524-65AB-4C38-BE98-1EF52B20C64A}" type="datetimeFigureOut">
              <a:rPr lang="en-US"/>
              <a:pPr>
                <a:defRPr/>
              </a:pPr>
              <a:t>12/1/2023</a:t>
            </a:fld>
            <a:endParaRPr lang="en-US"/>
          </a:p>
        </p:txBody>
      </p:sp>
      <p:sp>
        <p:nvSpPr>
          <p:cNvPr id="8" name="Footer Placeholder 4">
            <a:extLst>
              <a:ext uri="{FF2B5EF4-FFF2-40B4-BE49-F238E27FC236}">
                <a16:creationId xmlns:a16="http://schemas.microsoft.com/office/drawing/2014/main" id="{32115688-7CC3-2093-880E-C33356310C9D}"/>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A41962CC-37C1-5348-F10E-5D914770CEDC}"/>
              </a:ext>
            </a:extLst>
          </p:cNvPr>
          <p:cNvSpPr>
            <a:spLocks noGrp="1"/>
          </p:cNvSpPr>
          <p:nvPr>
            <p:ph type="sldNum" sz="quarter" idx="12"/>
          </p:nvPr>
        </p:nvSpPr>
        <p:spPr/>
        <p:txBody>
          <a:bodyPr/>
          <a:lstStyle>
            <a:lvl1pPr>
              <a:defRPr/>
            </a:lvl1pPr>
          </a:lstStyle>
          <a:p>
            <a:pPr>
              <a:defRPr/>
            </a:pPr>
            <a:fld id="{B91D6CDE-75F4-4B67-8EF3-050BBEBE1154}" type="slidenum">
              <a:rPr lang="en-US"/>
              <a:pPr>
                <a:defRPr/>
              </a:pPr>
              <a:t>‹#›</a:t>
            </a:fld>
            <a:endParaRPr lang="en-US"/>
          </a:p>
        </p:txBody>
      </p:sp>
    </p:spTree>
    <p:extLst>
      <p:ext uri="{BB962C8B-B14F-4D97-AF65-F5344CB8AC3E}">
        <p14:creationId xmlns:p14="http://schemas.microsoft.com/office/powerpoint/2010/main" val="160711611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992F5A6D-1659-EAFB-B77E-964BC57EC151}"/>
              </a:ext>
            </a:extLst>
          </p:cNvPr>
          <p:cNvSpPr>
            <a:spLocks noGrp="1"/>
          </p:cNvSpPr>
          <p:nvPr>
            <p:ph type="dt" sz="half" idx="10"/>
          </p:nvPr>
        </p:nvSpPr>
        <p:spPr/>
        <p:txBody>
          <a:bodyPr/>
          <a:lstStyle>
            <a:lvl1pPr>
              <a:defRPr/>
            </a:lvl1pPr>
          </a:lstStyle>
          <a:p>
            <a:pPr>
              <a:defRPr/>
            </a:pPr>
            <a:fld id="{F0D5DD72-4C1D-45C7-BA1B-7781F230DAA3}" type="datetimeFigureOut">
              <a:rPr lang="en-US"/>
              <a:pPr>
                <a:defRPr/>
              </a:pPr>
              <a:t>12/1/2023</a:t>
            </a:fld>
            <a:endParaRPr lang="en-US"/>
          </a:p>
        </p:txBody>
      </p:sp>
      <p:sp>
        <p:nvSpPr>
          <p:cNvPr id="4" name="Footer Placeholder 4">
            <a:extLst>
              <a:ext uri="{FF2B5EF4-FFF2-40B4-BE49-F238E27FC236}">
                <a16:creationId xmlns:a16="http://schemas.microsoft.com/office/drawing/2014/main" id="{5B026B28-F3BE-03CE-B25E-60D0A2E31C76}"/>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797A7E11-4B71-9338-9E80-F4627DCB3240}"/>
              </a:ext>
            </a:extLst>
          </p:cNvPr>
          <p:cNvSpPr>
            <a:spLocks noGrp="1"/>
          </p:cNvSpPr>
          <p:nvPr>
            <p:ph type="sldNum" sz="quarter" idx="12"/>
          </p:nvPr>
        </p:nvSpPr>
        <p:spPr/>
        <p:txBody>
          <a:bodyPr/>
          <a:lstStyle>
            <a:lvl1pPr>
              <a:defRPr/>
            </a:lvl1pPr>
          </a:lstStyle>
          <a:p>
            <a:pPr>
              <a:defRPr/>
            </a:pPr>
            <a:fld id="{B61935EE-FFCF-4DF2-B433-A553D54D79DC}" type="slidenum">
              <a:rPr lang="en-US"/>
              <a:pPr>
                <a:defRPr/>
              </a:pPr>
              <a:t>‹#›</a:t>
            </a:fld>
            <a:endParaRPr lang="en-US"/>
          </a:p>
        </p:txBody>
      </p:sp>
    </p:spTree>
    <p:extLst>
      <p:ext uri="{BB962C8B-B14F-4D97-AF65-F5344CB8AC3E}">
        <p14:creationId xmlns:p14="http://schemas.microsoft.com/office/powerpoint/2010/main" val="207442781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2D47528A-5E94-77BE-F943-37C3C56D9B8B}"/>
              </a:ext>
            </a:extLst>
          </p:cNvPr>
          <p:cNvSpPr>
            <a:spLocks noGrp="1"/>
          </p:cNvSpPr>
          <p:nvPr>
            <p:ph type="dt" sz="half" idx="10"/>
          </p:nvPr>
        </p:nvSpPr>
        <p:spPr/>
        <p:txBody>
          <a:bodyPr/>
          <a:lstStyle>
            <a:lvl1pPr>
              <a:defRPr/>
            </a:lvl1pPr>
          </a:lstStyle>
          <a:p>
            <a:pPr>
              <a:defRPr/>
            </a:pPr>
            <a:fld id="{A6E511DB-0ECA-4AE2-8493-036465D7C394}" type="datetimeFigureOut">
              <a:rPr lang="en-US"/>
              <a:pPr>
                <a:defRPr/>
              </a:pPr>
              <a:t>12/1/2023</a:t>
            </a:fld>
            <a:endParaRPr lang="en-US"/>
          </a:p>
        </p:txBody>
      </p:sp>
      <p:sp>
        <p:nvSpPr>
          <p:cNvPr id="3" name="Footer Placeholder 4">
            <a:extLst>
              <a:ext uri="{FF2B5EF4-FFF2-40B4-BE49-F238E27FC236}">
                <a16:creationId xmlns:a16="http://schemas.microsoft.com/office/drawing/2014/main" id="{008D0AAB-B666-B09D-16CB-F2FDD16B8C27}"/>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A86F59B3-F816-9E36-2AEC-70D15DF7A39F}"/>
              </a:ext>
            </a:extLst>
          </p:cNvPr>
          <p:cNvSpPr>
            <a:spLocks noGrp="1"/>
          </p:cNvSpPr>
          <p:nvPr>
            <p:ph type="sldNum" sz="quarter" idx="12"/>
          </p:nvPr>
        </p:nvSpPr>
        <p:spPr/>
        <p:txBody>
          <a:bodyPr/>
          <a:lstStyle>
            <a:lvl1pPr>
              <a:defRPr/>
            </a:lvl1pPr>
          </a:lstStyle>
          <a:p>
            <a:pPr>
              <a:defRPr/>
            </a:pPr>
            <a:fld id="{2318AA62-82E5-49E2-B866-BA17F01952D6}" type="slidenum">
              <a:rPr lang="en-US"/>
              <a:pPr>
                <a:defRPr/>
              </a:pPr>
              <a:t>‹#›</a:t>
            </a:fld>
            <a:endParaRPr lang="en-US"/>
          </a:p>
        </p:txBody>
      </p:sp>
    </p:spTree>
    <p:extLst>
      <p:ext uri="{BB962C8B-B14F-4D97-AF65-F5344CB8AC3E}">
        <p14:creationId xmlns:p14="http://schemas.microsoft.com/office/powerpoint/2010/main" val="58934291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3BE918FF-750C-8B92-3CEB-E87B94AE6DD4}"/>
              </a:ext>
            </a:extLst>
          </p:cNvPr>
          <p:cNvSpPr>
            <a:spLocks noGrp="1"/>
          </p:cNvSpPr>
          <p:nvPr>
            <p:ph type="dt" sz="half" idx="10"/>
          </p:nvPr>
        </p:nvSpPr>
        <p:spPr/>
        <p:txBody>
          <a:bodyPr/>
          <a:lstStyle>
            <a:lvl1pPr>
              <a:defRPr/>
            </a:lvl1pPr>
          </a:lstStyle>
          <a:p>
            <a:pPr>
              <a:defRPr/>
            </a:pPr>
            <a:fld id="{63DC31EF-9FA9-4CB4-8E6E-E9594874FC66}" type="datetimeFigureOut">
              <a:rPr lang="en-US"/>
              <a:pPr>
                <a:defRPr/>
              </a:pPr>
              <a:t>12/1/2023</a:t>
            </a:fld>
            <a:endParaRPr lang="en-US"/>
          </a:p>
        </p:txBody>
      </p:sp>
      <p:sp>
        <p:nvSpPr>
          <p:cNvPr id="6" name="Footer Placeholder 4">
            <a:extLst>
              <a:ext uri="{FF2B5EF4-FFF2-40B4-BE49-F238E27FC236}">
                <a16:creationId xmlns:a16="http://schemas.microsoft.com/office/drawing/2014/main" id="{2AC3AC32-CC10-7D75-404F-E73B23E330C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EF0851CA-2724-E225-4B12-3CD129C2C008}"/>
              </a:ext>
            </a:extLst>
          </p:cNvPr>
          <p:cNvSpPr>
            <a:spLocks noGrp="1"/>
          </p:cNvSpPr>
          <p:nvPr>
            <p:ph type="sldNum" sz="quarter" idx="12"/>
          </p:nvPr>
        </p:nvSpPr>
        <p:spPr/>
        <p:txBody>
          <a:bodyPr/>
          <a:lstStyle>
            <a:lvl1pPr>
              <a:defRPr/>
            </a:lvl1pPr>
          </a:lstStyle>
          <a:p>
            <a:pPr>
              <a:defRPr/>
            </a:pPr>
            <a:fld id="{41B87336-365C-4721-AEB3-BD71E174DDBC}" type="slidenum">
              <a:rPr lang="en-US"/>
              <a:pPr>
                <a:defRPr/>
              </a:pPr>
              <a:t>‹#›</a:t>
            </a:fld>
            <a:endParaRPr lang="en-US"/>
          </a:p>
        </p:txBody>
      </p:sp>
    </p:spTree>
    <p:extLst>
      <p:ext uri="{BB962C8B-B14F-4D97-AF65-F5344CB8AC3E}">
        <p14:creationId xmlns:p14="http://schemas.microsoft.com/office/powerpoint/2010/main" val="58820454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0485F210-A381-7744-B97F-2153BEB16546}"/>
              </a:ext>
            </a:extLst>
          </p:cNvPr>
          <p:cNvSpPr>
            <a:spLocks noGrp="1"/>
          </p:cNvSpPr>
          <p:nvPr>
            <p:ph type="dt" sz="half" idx="10"/>
          </p:nvPr>
        </p:nvSpPr>
        <p:spPr/>
        <p:txBody>
          <a:bodyPr/>
          <a:lstStyle>
            <a:lvl1pPr>
              <a:defRPr/>
            </a:lvl1pPr>
          </a:lstStyle>
          <a:p>
            <a:pPr>
              <a:defRPr/>
            </a:pPr>
            <a:fld id="{745D2CE4-B038-4566-AE5F-E2FC7CBD2DE5}" type="datetimeFigureOut">
              <a:rPr lang="en-US"/>
              <a:pPr>
                <a:defRPr/>
              </a:pPr>
              <a:t>12/1/2023</a:t>
            </a:fld>
            <a:endParaRPr lang="en-US"/>
          </a:p>
        </p:txBody>
      </p:sp>
      <p:sp>
        <p:nvSpPr>
          <p:cNvPr id="6" name="Footer Placeholder 4">
            <a:extLst>
              <a:ext uri="{FF2B5EF4-FFF2-40B4-BE49-F238E27FC236}">
                <a16:creationId xmlns:a16="http://schemas.microsoft.com/office/drawing/2014/main" id="{0A2D6FEE-955B-1597-716D-F7B8DE1AC91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89DB1219-0940-B1B3-034C-6FE8039F3C86}"/>
              </a:ext>
            </a:extLst>
          </p:cNvPr>
          <p:cNvSpPr>
            <a:spLocks noGrp="1"/>
          </p:cNvSpPr>
          <p:nvPr>
            <p:ph type="sldNum" sz="quarter" idx="12"/>
          </p:nvPr>
        </p:nvSpPr>
        <p:spPr/>
        <p:txBody>
          <a:bodyPr/>
          <a:lstStyle>
            <a:lvl1pPr>
              <a:defRPr/>
            </a:lvl1pPr>
          </a:lstStyle>
          <a:p>
            <a:pPr>
              <a:defRPr/>
            </a:pPr>
            <a:fld id="{2C6E1248-0643-4368-AB79-87220446C94B}" type="slidenum">
              <a:rPr lang="en-US"/>
              <a:pPr>
                <a:defRPr/>
              </a:pPr>
              <a:t>‹#›</a:t>
            </a:fld>
            <a:endParaRPr lang="en-US"/>
          </a:p>
        </p:txBody>
      </p:sp>
    </p:spTree>
    <p:extLst>
      <p:ext uri="{BB962C8B-B14F-4D97-AF65-F5344CB8AC3E}">
        <p14:creationId xmlns:p14="http://schemas.microsoft.com/office/powerpoint/2010/main" val="301331556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532E4B-098B-E132-140F-687C4A14B06B}"/>
              </a:ext>
            </a:extLst>
          </p:cNvPr>
          <p:cNvSpPr>
            <a:spLocks noGrp="1"/>
          </p:cNvSpPr>
          <p:nvPr>
            <p:ph type="dt" sz="half" idx="10"/>
          </p:nvPr>
        </p:nvSpPr>
        <p:spPr/>
        <p:txBody>
          <a:bodyPr/>
          <a:lstStyle>
            <a:lvl1pPr>
              <a:defRPr/>
            </a:lvl1pPr>
          </a:lstStyle>
          <a:p>
            <a:pPr>
              <a:defRPr/>
            </a:pPr>
            <a:fld id="{27B02245-929B-4D14-A6BA-4E6ECED0EE26}" type="datetimeFigureOut">
              <a:rPr lang="en-US"/>
              <a:pPr>
                <a:defRPr/>
              </a:pPr>
              <a:t>12/1/2023</a:t>
            </a:fld>
            <a:endParaRPr lang="en-US"/>
          </a:p>
        </p:txBody>
      </p:sp>
      <p:sp>
        <p:nvSpPr>
          <p:cNvPr id="5" name="Footer Placeholder 4">
            <a:extLst>
              <a:ext uri="{FF2B5EF4-FFF2-40B4-BE49-F238E27FC236}">
                <a16:creationId xmlns:a16="http://schemas.microsoft.com/office/drawing/2014/main" id="{FE9AFF26-D5DE-3AE7-C119-48BCF64A39D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84112AD-EC87-5F0E-390E-28EA86041FEF}"/>
              </a:ext>
            </a:extLst>
          </p:cNvPr>
          <p:cNvSpPr>
            <a:spLocks noGrp="1"/>
          </p:cNvSpPr>
          <p:nvPr>
            <p:ph type="sldNum" sz="quarter" idx="12"/>
          </p:nvPr>
        </p:nvSpPr>
        <p:spPr/>
        <p:txBody>
          <a:bodyPr/>
          <a:lstStyle>
            <a:lvl1pPr>
              <a:defRPr/>
            </a:lvl1pPr>
          </a:lstStyle>
          <a:p>
            <a:pPr>
              <a:defRPr/>
            </a:pPr>
            <a:fld id="{FDA56487-0A5C-4ADB-8922-5A9EF69CE9C8}" type="slidenum">
              <a:rPr lang="en-US"/>
              <a:pPr>
                <a:defRPr/>
              </a:pPr>
              <a:t>‹#›</a:t>
            </a:fld>
            <a:endParaRPr lang="en-US"/>
          </a:p>
        </p:txBody>
      </p:sp>
    </p:spTree>
    <p:extLst>
      <p:ext uri="{BB962C8B-B14F-4D97-AF65-F5344CB8AC3E}">
        <p14:creationId xmlns:p14="http://schemas.microsoft.com/office/powerpoint/2010/main" val="65114875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D7C75B-DD02-E13A-F0A8-13BE33F4DF59}"/>
              </a:ext>
            </a:extLst>
          </p:cNvPr>
          <p:cNvSpPr>
            <a:spLocks noGrp="1"/>
          </p:cNvSpPr>
          <p:nvPr>
            <p:ph type="dt" sz="half" idx="10"/>
          </p:nvPr>
        </p:nvSpPr>
        <p:spPr/>
        <p:txBody>
          <a:bodyPr/>
          <a:lstStyle>
            <a:lvl1pPr>
              <a:defRPr/>
            </a:lvl1pPr>
          </a:lstStyle>
          <a:p>
            <a:pPr>
              <a:defRPr/>
            </a:pPr>
            <a:fld id="{4C2CF874-8392-4A89-9FB0-B6E93A591A75}" type="datetimeFigureOut">
              <a:rPr lang="en-US"/>
              <a:pPr>
                <a:defRPr/>
              </a:pPr>
              <a:t>12/1/2023</a:t>
            </a:fld>
            <a:endParaRPr lang="en-US"/>
          </a:p>
        </p:txBody>
      </p:sp>
      <p:sp>
        <p:nvSpPr>
          <p:cNvPr id="5" name="Footer Placeholder 4">
            <a:extLst>
              <a:ext uri="{FF2B5EF4-FFF2-40B4-BE49-F238E27FC236}">
                <a16:creationId xmlns:a16="http://schemas.microsoft.com/office/drawing/2014/main" id="{E0D7E792-9A9F-FF95-B265-C19AFF57DED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F117D98-FF45-5D99-7261-6DD973D3D526}"/>
              </a:ext>
            </a:extLst>
          </p:cNvPr>
          <p:cNvSpPr>
            <a:spLocks noGrp="1"/>
          </p:cNvSpPr>
          <p:nvPr>
            <p:ph type="sldNum" sz="quarter" idx="12"/>
          </p:nvPr>
        </p:nvSpPr>
        <p:spPr/>
        <p:txBody>
          <a:bodyPr/>
          <a:lstStyle>
            <a:lvl1pPr>
              <a:defRPr/>
            </a:lvl1pPr>
          </a:lstStyle>
          <a:p>
            <a:pPr>
              <a:defRPr/>
            </a:pPr>
            <a:fld id="{9C20B389-DCFF-41BE-851C-8ED0D62B26F8}" type="slidenum">
              <a:rPr lang="en-US"/>
              <a:pPr>
                <a:defRPr/>
              </a:pPr>
              <a:t>‹#›</a:t>
            </a:fld>
            <a:endParaRPr lang="en-US"/>
          </a:p>
        </p:txBody>
      </p:sp>
    </p:spTree>
    <p:extLst>
      <p:ext uri="{BB962C8B-B14F-4D97-AF65-F5344CB8AC3E}">
        <p14:creationId xmlns:p14="http://schemas.microsoft.com/office/powerpoint/2010/main" val="389109372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FE3D4D00-7D13-D8FB-10ED-988A3741D659}"/>
              </a:ext>
            </a:extLst>
          </p:cNvPr>
          <p:cNvSpPr>
            <a:spLocks noGrp="1"/>
          </p:cNvSpPr>
          <p:nvPr>
            <p:ph type="dt" sz="half" idx="10"/>
          </p:nvPr>
        </p:nvSpPr>
        <p:spPr/>
        <p:txBody>
          <a:bodyPr/>
          <a:lstStyle>
            <a:lvl1pPr>
              <a:defRPr/>
            </a:lvl1pPr>
          </a:lstStyle>
          <a:p>
            <a:pPr>
              <a:defRPr/>
            </a:pPr>
            <a:fld id="{678D529C-CB59-4619-A293-1E7BFCB603B0}" type="datetimeFigureOut">
              <a:rPr lang="es-MX"/>
              <a:pPr>
                <a:defRPr/>
              </a:pPr>
              <a:t>01/12/2023</a:t>
            </a:fld>
            <a:endParaRPr lang="es-MX"/>
          </a:p>
        </p:txBody>
      </p:sp>
      <p:sp>
        <p:nvSpPr>
          <p:cNvPr id="5" name="Footer Placeholder 4">
            <a:extLst>
              <a:ext uri="{FF2B5EF4-FFF2-40B4-BE49-F238E27FC236}">
                <a16:creationId xmlns:a16="http://schemas.microsoft.com/office/drawing/2014/main" id="{71C03D23-0CD0-883F-A632-8C122EB31FA9}"/>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7D740C21-2CDD-9F01-378B-A14AEC00FB86}"/>
              </a:ext>
            </a:extLst>
          </p:cNvPr>
          <p:cNvSpPr>
            <a:spLocks noGrp="1"/>
          </p:cNvSpPr>
          <p:nvPr>
            <p:ph type="sldNum" sz="quarter" idx="12"/>
          </p:nvPr>
        </p:nvSpPr>
        <p:spPr/>
        <p:txBody>
          <a:bodyPr/>
          <a:lstStyle>
            <a:lvl1pPr>
              <a:defRPr/>
            </a:lvl1pPr>
          </a:lstStyle>
          <a:p>
            <a:pPr>
              <a:defRPr/>
            </a:pPr>
            <a:fld id="{99A6169C-58AA-4A8D-A619-F4F14635F7A5}" type="slidenum">
              <a:rPr lang="es-MX"/>
              <a:pPr>
                <a:defRPr/>
              </a:pPr>
              <a:t>‹#›</a:t>
            </a:fld>
            <a:endParaRPr lang="es-MX"/>
          </a:p>
        </p:txBody>
      </p:sp>
    </p:spTree>
    <p:extLst>
      <p:ext uri="{BB962C8B-B14F-4D97-AF65-F5344CB8AC3E}">
        <p14:creationId xmlns:p14="http://schemas.microsoft.com/office/powerpoint/2010/main" val="198443329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428F9B93-6688-4ADF-6AD8-66BF87C990B8}"/>
              </a:ext>
            </a:extLst>
          </p:cNvPr>
          <p:cNvSpPr>
            <a:spLocks noGrp="1"/>
          </p:cNvSpPr>
          <p:nvPr>
            <p:ph type="dt" sz="half" idx="10"/>
          </p:nvPr>
        </p:nvSpPr>
        <p:spPr/>
        <p:txBody>
          <a:bodyPr/>
          <a:lstStyle>
            <a:lvl1pPr>
              <a:defRPr/>
            </a:lvl1pPr>
          </a:lstStyle>
          <a:p>
            <a:pPr>
              <a:defRPr/>
            </a:pPr>
            <a:fld id="{01916B21-09E1-47B9-B81E-DF0FA7AC478F}" type="datetimeFigureOut">
              <a:rPr lang="es-MX"/>
              <a:pPr>
                <a:defRPr/>
              </a:pPr>
              <a:t>01/12/2023</a:t>
            </a:fld>
            <a:endParaRPr lang="es-MX"/>
          </a:p>
        </p:txBody>
      </p:sp>
      <p:sp>
        <p:nvSpPr>
          <p:cNvPr id="5" name="Footer Placeholder 4">
            <a:extLst>
              <a:ext uri="{FF2B5EF4-FFF2-40B4-BE49-F238E27FC236}">
                <a16:creationId xmlns:a16="http://schemas.microsoft.com/office/drawing/2014/main" id="{00062D3C-096C-E1DB-DE24-39AFE36B9505}"/>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99FE95FD-DB9B-87D7-CF62-89B7B10E734B}"/>
              </a:ext>
            </a:extLst>
          </p:cNvPr>
          <p:cNvSpPr>
            <a:spLocks noGrp="1"/>
          </p:cNvSpPr>
          <p:nvPr>
            <p:ph type="sldNum" sz="quarter" idx="12"/>
          </p:nvPr>
        </p:nvSpPr>
        <p:spPr/>
        <p:txBody>
          <a:bodyPr/>
          <a:lstStyle>
            <a:lvl1pPr>
              <a:defRPr/>
            </a:lvl1pPr>
          </a:lstStyle>
          <a:p>
            <a:pPr>
              <a:defRPr/>
            </a:pPr>
            <a:fld id="{C185A79A-B1A3-42EF-ACCB-BF07575ED8C4}" type="slidenum">
              <a:rPr lang="es-MX"/>
              <a:pPr>
                <a:defRPr/>
              </a:pPr>
              <a:t>‹#›</a:t>
            </a:fld>
            <a:endParaRPr lang="es-MX"/>
          </a:p>
        </p:txBody>
      </p:sp>
    </p:spTree>
    <p:extLst>
      <p:ext uri="{BB962C8B-B14F-4D97-AF65-F5344CB8AC3E}">
        <p14:creationId xmlns:p14="http://schemas.microsoft.com/office/powerpoint/2010/main" val="19428420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MX"/>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9E80BA-4EC7-E947-3611-82195646CB79}"/>
              </a:ext>
            </a:extLst>
          </p:cNvPr>
          <p:cNvSpPr>
            <a:spLocks noGrp="1"/>
          </p:cNvSpPr>
          <p:nvPr>
            <p:ph type="dt" sz="half" idx="10"/>
          </p:nvPr>
        </p:nvSpPr>
        <p:spPr/>
        <p:txBody>
          <a:bodyPr/>
          <a:lstStyle>
            <a:lvl1pPr>
              <a:defRPr/>
            </a:lvl1pPr>
          </a:lstStyle>
          <a:p>
            <a:pPr>
              <a:defRPr/>
            </a:pPr>
            <a:fld id="{AE37725F-D099-4A16-ABEE-8E62F5F247FA}" type="datetimeFigureOut">
              <a:rPr lang="es-MX"/>
              <a:pPr>
                <a:defRPr/>
              </a:pPr>
              <a:t>01/12/2023</a:t>
            </a:fld>
            <a:endParaRPr lang="es-MX"/>
          </a:p>
        </p:txBody>
      </p:sp>
      <p:sp>
        <p:nvSpPr>
          <p:cNvPr id="5" name="Footer Placeholder 4">
            <a:extLst>
              <a:ext uri="{FF2B5EF4-FFF2-40B4-BE49-F238E27FC236}">
                <a16:creationId xmlns:a16="http://schemas.microsoft.com/office/drawing/2014/main" id="{EADD7AA3-0002-208B-1640-591D9FC9B029}"/>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F5CCFF8F-D469-7277-A1B6-2E593F0AB98E}"/>
              </a:ext>
            </a:extLst>
          </p:cNvPr>
          <p:cNvSpPr>
            <a:spLocks noGrp="1"/>
          </p:cNvSpPr>
          <p:nvPr>
            <p:ph type="sldNum" sz="quarter" idx="12"/>
          </p:nvPr>
        </p:nvSpPr>
        <p:spPr/>
        <p:txBody>
          <a:bodyPr/>
          <a:lstStyle>
            <a:lvl1pPr>
              <a:defRPr/>
            </a:lvl1pPr>
          </a:lstStyle>
          <a:p>
            <a:pPr>
              <a:defRPr/>
            </a:pPr>
            <a:fld id="{BC2AEB91-F70E-42AA-9ACA-E1F0933C309C}" type="slidenum">
              <a:rPr lang="es-MX"/>
              <a:pPr>
                <a:defRPr/>
              </a:pPr>
              <a:t>‹#›</a:t>
            </a:fld>
            <a:endParaRPr lang="es-MX"/>
          </a:p>
        </p:txBody>
      </p:sp>
    </p:spTree>
    <p:extLst>
      <p:ext uri="{BB962C8B-B14F-4D97-AF65-F5344CB8AC3E}">
        <p14:creationId xmlns:p14="http://schemas.microsoft.com/office/powerpoint/2010/main" val="28400282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13EE995F-16AB-F10A-D14A-243A9D269ED4}"/>
              </a:ext>
            </a:extLst>
          </p:cNvPr>
          <p:cNvSpPr>
            <a:spLocks noGrp="1"/>
          </p:cNvSpPr>
          <p:nvPr>
            <p:ph type="dt" sz="half" idx="10"/>
          </p:nvPr>
        </p:nvSpPr>
        <p:spPr/>
        <p:txBody>
          <a:bodyPr/>
          <a:lstStyle>
            <a:lvl1pPr>
              <a:defRPr/>
            </a:lvl1pPr>
          </a:lstStyle>
          <a:p>
            <a:pPr>
              <a:defRPr/>
            </a:pPr>
            <a:fld id="{68A4A2EA-ADD3-4A29-AD97-06BB6EB067BB}" type="datetimeFigureOut">
              <a:rPr lang="en-US"/>
              <a:pPr>
                <a:defRPr/>
              </a:pPr>
              <a:t>12/1/2023</a:t>
            </a:fld>
            <a:endParaRPr lang="en-US"/>
          </a:p>
        </p:txBody>
      </p:sp>
      <p:sp>
        <p:nvSpPr>
          <p:cNvPr id="4" name="Footer Placeholder 4">
            <a:extLst>
              <a:ext uri="{FF2B5EF4-FFF2-40B4-BE49-F238E27FC236}">
                <a16:creationId xmlns:a16="http://schemas.microsoft.com/office/drawing/2014/main" id="{A7BF6459-6B53-99D6-AD52-456563CE9C1A}"/>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F1852B85-AD48-FB86-AA8E-27EC218D3719}"/>
              </a:ext>
            </a:extLst>
          </p:cNvPr>
          <p:cNvSpPr>
            <a:spLocks noGrp="1"/>
          </p:cNvSpPr>
          <p:nvPr>
            <p:ph type="sldNum" sz="quarter" idx="12"/>
          </p:nvPr>
        </p:nvSpPr>
        <p:spPr/>
        <p:txBody>
          <a:bodyPr/>
          <a:lstStyle>
            <a:lvl1pPr>
              <a:defRPr/>
            </a:lvl1pPr>
          </a:lstStyle>
          <a:p>
            <a:pPr>
              <a:defRPr/>
            </a:pPr>
            <a:fld id="{76DAA136-2A94-4383-A849-869ECFBF7CB4}" type="slidenum">
              <a:rPr lang="en-US"/>
              <a:pPr>
                <a:defRPr/>
              </a:pPr>
              <a:t>‹#›</a:t>
            </a:fld>
            <a:endParaRPr lang="en-US"/>
          </a:p>
        </p:txBody>
      </p:sp>
    </p:spTree>
    <p:extLst>
      <p:ext uri="{BB962C8B-B14F-4D97-AF65-F5344CB8AC3E}">
        <p14:creationId xmlns:p14="http://schemas.microsoft.com/office/powerpoint/2010/main" val="29876955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3">
            <a:extLst>
              <a:ext uri="{FF2B5EF4-FFF2-40B4-BE49-F238E27FC236}">
                <a16:creationId xmlns:a16="http://schemas.microsoft.com/office/drawing/2014/main" id="{2F116553-1CC4-1EFE-6BBB-FB9276F7702F}"/>
              </a:ext>
            </a:extLst>
          </p:cNvPr>
          <p:cNvSpPr>
            <a:spLocks noGrp="1"/>
          </p:cNvSpPr>
          <p:nvPr>
            <p:ph type="dt" sz="half" idx="10"/>
          </p:nvPr>
        </p:nvSpPr>
        <p:spPr/>
        <p:txBody>
          <a:bodyPr/>
          <a:lstStyle>
            <a:lvl1pPr>
              <a:defRPr/>
            </a:lvl1pPr>
          </a:lstStyle>
          <a:p>
            <a:pPr>
              <a:defRPr/>
            </a:pPr>
            <a:fld id="{C3CAE9E1-7042-432E-85CC-74287E94E1F5}" type="datetimeFigureOut">
              <a:rPr lang="es-MX"/>
              <a:pPr>
                <a:defRPr/>
              </a:pPr>
              <a:t>01/12/2023</a:t>
            </a:fld>
            <a:endParaRPr lang="es-MX"/>
          </a:p>
        </p:txBody>
      </p:sp>
      <p:sp>
        <p:nvSpPr>
          <p:cNvPr id="6" name="Footer Placeholder 4">
            <a:extLst>
              <a:ext uri="{FF2B5EF4-FFF2-40B4-BE49-F238E27FC236}">
                <a16:creationId xmlns:a16="http://schemas.microsoft.com/office/drawing/2014/main" id="{421B5718-BEEA-BE2F-CF24-308FC224F7D2}"/>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4F7031D7-E5BA-2994-0070-EB11A3B9BEE3}"/>
              </a:ext>
            </a:extLst>
          </p:cNvPr>
          <p:cNvSpPr>
            <a:spLocks noGrp="1"/>
          </p:cNvSpPr>
          <p:nvPr>
            <p:ph type="sldNum" sz="quarter" idx="12"/>
          </p:nvPr>
        </p:nvSpPr>
        <p:spPr/>
        <p:txBody>
          <a:bodyPr/>
          <a:lstStyle>
            <a:lvl1pPr>
              <a:defRPr/>
            </a:lvl1pPr>
          </a:lstStyle>
          <a:p>
            <a:pPr>
              <a:defRPr/>
            </a:pPr>
            <a:fld id="{2183EB1F-6BA9-464A-A7FA-D9BC9C49F5BA}" type="slidenum">
              <a:rPr lang="es-MX"/>
              <a:pPr>
                <a:defRPr/>
              </a:pPr>
              <a:t>‹#›</a:t>
            </a:fld>
            <a:endParaRPr lang="es-MX"/>
          </a:p>
        </p:txBody>
      </p:sp>
    </p:spTree>
    <p:extLst>
      <p:ext uri="{BB962C8B-B14F-4D97-AF65-F5344CB8AC3E}">
        <p14:creationId xmlns:p14="http://schemas.microsoft.com/office/powerpoint/2010/main" val="356722437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s-MX"/>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3">
            <a:extLst>
              <a:ext uri="{FF2B5EF4-FFF2-40B4-BE49-F238E27FC236}">
                <a16:creationId xmlns:a16="http://schemas.microsoft.com/office/drawing/2014/main" id="{B6717895-CA33-2065-7F04-14C06487DB41}"/>
              </a:ext>
            </a:extLst>
          </p:cNvPr>
          <p:cNvSpPr>
            <a:spLocks noGrp="1"/>
          </p:cNvSpPr>
          <p:nvPr>
            <p:ph type="dt" sz="half" idx="10"/>
          </p:nvPr>
        </p:nvSpPr>
        <p:spPr/>
        <p:txBody>
          <a:bodyPr/>
          <a:lstStyle>
            <a:lvl1pPr>
              <a:defRPr/>
            </a:lvl1pPr>
          </a:lstStyle>
          <a:p>
            <a:pPr>
              <a:defRPr/>
            </a:pPr>
            <a:fld id="{E8B6E7B9-D724-4451-99B2-2CE0BE2AD9E6}" type="datetimeFigureOut">
              <a:rPr lang="es-MX"/>
              <a:pPr>
                <a:defRPr/>
              </a:pPr>
              <a:t>01/12/2023</a:t>
            </a:fld>
            <a:endParaRPr lang="es-MX"/>
          </a:p>
        </p:txBody>
      </p:sp>
      <p:sp>
        <p:nvSpPr>
          <p:cNvPr id="8" name="Footer Placeholder 4">
            <a:extLst>
              <a:ext uri="{FF2B5EF4-FFF2-40B4-BE49-F238E27FC236}">
                <a16:creationId xmlns:a16="http://schemas.microsoft.com/office/drawing/2014/main" id="{17982E0B-35F7-A33E-64DF-5C27DFD12C2B}"/>
              </a:ext>
            </a:extLst>
          </p:cNvPr>
          <p:cNvSpPr>
            <a:spLocks noGrp="1"/>
          </p:cNvSpPr>
          <p:nvPr>
            <p:ph type="ftr" sz="quarter" idx="11"/>
          </p:nvPr>
        </p:nvSpPr>
        <p:spPr/>
        <p:txBody>
          <a:bodyPr/>
          <a:lstStyle>
            <a:lvl1pPr>
              <a:defRPr/>
            </a:lvl1pPr>
          </a:lstStyle>
          <a:p>
            <a:pPr>
              <a:defRPr/>
            </a:pPr>
            <a:endParaRPr lang="es-MX"/>
          </a:p>
        </p:txBody>
      </p:sp>
      <p:sp>
        <p:nvSpPr>
          <p:cNvPr id="9" name="Slide Number Placeholder 5">
            <a:extLst>
              <a:ext uri="{FF2B5EF4-FFF2-40B4-BE49-F238E27FC236}">
                <a16:creationId xmlns:a16="http://schemas.microsoft.com/office/drawing/2014/main" id="{D8F39DFB-F5A7-F2E2-5ED2-C719C8F448C4}"/>
              </a:ext>
            </a:extLst>
          </p:cNvPr>
          <p:cNvSpPr>
            <a:spLocks noGrp="1"/>
          </p:cNvSpPr>
          <p:nvPr>
            <p:ph type="sldNum" sz="quarter" idx="12"/>
          </p:nvPr>
        </p:nvSpPr>
        <p:spPr/>
        <p:txBody>
          <a:bodyPr/>
          <a:lstStyle>
            <a:lvl1pPr>
              <a:defRPr/>
            </a:lvl1pPr>
          </a:lstStyle>
          <a:p>
            <a:pPr>
              <a:defRPr/>
            </a:pPr>
            <a:fld id="{59C34E93-94D0-4286-8D67-545CB71E99B6}" type="slidenum">
              <a:rPr lang="es-MX"/>
              <a:pPr>
                <a:defRPr/>
              </a:pPr>
              <a:t>‹#›</a:t>
            </a:fld>
            <a:endParaRPr lang="es-MX"/>
          </a:p>
        </p:txBody>
      </p:sp>
    </p:spTree>
    <p:extLst>
      <p:ext uri="{BB962C8B-B14F-4D97-AF65-F5344CB8AC3E}">
        <p14:creationId xmlns:p14="http://schemas.microsoft.com/office/powerpoint/2010/main" val="119237578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Date Placeholder 3">
            <a:extLst>
              <a:ext uri="{FF2B5EF4-FFF2-40B4-BE49-F238E27FC236}">
                <a16:creationId xmlns:a16="http://schemas.microsoft.com/office/drawing/2014/main" id="{3D03E2FD-FB8B-7FF9-750C-7F59398FD919}"/>
              </a:ext>
            </a:extLst>
          </p:cNvPr>
          <p:cNvSpPr>
            <a:spLocks noGrp="1"/>
          </p:cNvSpPr>
          <p:nvPr>
            <p:ph type="dt" sz="half" idx="10"/>
          </p:nvPr>
        </p:nvSpPr>
        <p:spPr/>
        <p:txBody>
          <a:bodyPr/>
          <a:lstStyle>
            <a:lvl1pPr>
              <a:defRPr/>
            </a:lvl1pPr>
          </a:lstStyle>
          <a:p>
            <a:pPr>
              <a:defRPr/>
            </a:pPr>
            <a:fld id="{E21C39CB-0D53-4CE0-A136-5148413F6A32}" type="datetimeFigureOut">
              <a:rPr lang="es-MX"/>
              <a:pPr>
                <a:defRPr/>
              </a:pPr>
              <a:t>01/12/2023</a:t>
            </a:fld>
            <a:endParaRPr lang="es-MX"/>
          </a:p>
        </p:txBody>
      </p:sp>
      <p:sp>
        <p:nvSpPr>
          <p:cNvPr id="4" name="Footer Placeholder 4">
            <a:extLst>
              <a:ext uri="{FF2B5EF4-FFF2-40B4-BE49-F238E27FC236}">
                <a16:creationId xmlns:a16="http://schemas.microsoft.com/office/drawing/2014/main" id="{CB0E7729-491C-9926-556B-B6E79DE4620B}"/>
              </a:ext>
            </a:extLst>
          </p:cNvPr>
          <p:cNvSpPr>
            <a:spLocks noGrp="1"/>
          </p:cNvSpPr>
          <p:nvPr>
            <p:ph type="ftr" sz="quarter" idx="11"/>
          </p:nvPr>
        </p:nvSpPr>
        <p:spPr/>
        <p:txBody>
          <a:bodyPr/>
          <a:lstStyle>
            <a:lvl1pPr>
              <a:defRPr/>
            </a:lvl1pPr>
          </a:lstStyle>
          <a:p>
            <a:pPr>
              <a:defRPr/>
            </a:pPr>
            <a:endParaRPr lang="es-MX"/>
          </a:p>
        </p:txBody>
      </p:sp>
      <p:sp>
        <p:nvSpPr>
          <p:cNvPr id="5" name="Slide Number Placeholder 5">
            <a:extLst>
              <a:ext uri="{FF2B5EF4-FFF2-40B4-BE49-F238E27FC236}">
                <a16:creationId xmlns:a16="http://schemas.microsoft.com/office/drawing/2014/main" id="{985476A6-7606-9941-3F62-A57EC0F62C73}"/>
              </a:ext>
            </a:extLst>
          </p:cNvPr>
          <p:cNvSpPr>
            <a:spLocks noGrp="1"/>
          </p:cNvSpPr>
          <p:nvPr>
            <p:ph type="sldNum" sz="quarter" idx="12"/>
          </p:nvPr>
        </p:nvSpPr>
        <p:spPr/>
        <p:txBody>
          <a:bodyPr/>
          <a:lstStyle>
            <a:lvl1pPr>
              <a:defRPr/>
            </a:lvl1pPr>
          </a:lstStyle>
          <a:p>
            <a:pPr>
              <a:defRPr/>
            </a:pPr>
            <a:fld id="{CD6E0BE5-3889-488B-A901-1E96AD8363FC}" type="slidenum">
              <a:rPr lang="es-MX"/>
              <a:pPr>
                <a:defRPr/>
              </a:pPr>
              <a:t>‹#›</a:t>
            </a:fld>
            <a:endParaRPr lang="es-MX"/>
          </a:p>
        </p:txBody>
      </p:sp>
    </p:spTree>
    <p:extLst>
      <p:ext uri="{BB962C8B-B14F-4D97-AF65-F5344CB8AC3E}">
        <p14:creationId xmlns:p14="http://schemas.microsoft.com/office/powerpoint/2010/main" val="355160739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C6445B01-7B4E-9666-D3A2-6C65B6BCA508}"/>
              </a:ext>
            </a:extLst>
          </p:cNvPr>
          <p:cNvSpPr>
            <a:spLocks noGrp="1"/>
          </p:cNvSpPr>
          <p:nvPr>
            <p:ph type="dt" sz="half" idx="10"/>
          </p:nvPr>
        </p:nvSpPr>
        <p:spPr/>
        <p:txBody>
          <a:bodyPr/>
          <a:lstStyle>
            <a:lvl1pPr>
              <a:defRPr/>
            </a:lvl1pPr>
          </a:lstStyle>
          <a:p>
            <a:pPr>
              <a:defRPr/>
            </a:pPr>
            <a:fld id="{C9460202-1BD7-43C4-928E-625D465B3ABD}" type="datetimeFigureOut">
              <a:rPr lang="es-MX"/>
              <a:pPr>
                <a:defRPr/>
              </a:pPr>
              <a:t>01/12/2023</a:t>
            </a:fld>
            <a:endParaRPr lang="es-MX"/>
          </a:p>
        </p:txBody>
      </p:sp>
      <p:sp>
        <p:nvSpPr>
          <p:cNvPr id="3" name="Footer Placeholder 4">
            <a:extLst>
              <a:ext uri="{FF2B5EF4-FFF2-40B4-BE49-F238E27FC236}">
                <a16:creationId xmlns:a16="http://schemas.microsoft.com/office/drawing/2014/main" id="{B02ADD50-65C0-7A6A-E631-1B19B4FB4D75}"/>
              </a:ext>
            </a:extLst>
          </p:cNvPr>
          <p:cNvSpPr>
            <a:spLocks noGrp="1"/>
          </p:cNvSpPr>
          <p:nvPr>
            <p:ph type="ftr" sz="quarter" idx="11"/>
          </p:nvPr>
        </p:nvSpPr>
        <p:spPr/>
        <p:txBody>
          <a:bodyPr/>
          <a:lstStyle>
            <a:lvl1pPr>
              <a:defRPr/>
            </a:lvl1pPr>
          </a:lstStyle>
          <a:p>
            <a:pPr>
              <a:defRPr/>
            </a:pPr>
            <a:endParaRPr lang="es-MX"/>
          </a:p>
        </p:txBody>
      </p:sp>
      <p:sp>
        <p:nvSpPr>
          <p:cNvPr id="4" name="Slide Number Placeholder 5">
            <a:extLst>
              <a:ext uri="{FF2B5EF4-FFF2-40B4-BE49-F238E27FC236}">
                <a16:creationId xmlns:a16="http://schemas.microsoft.com/office/drawing/2014/main" id="{C0D02AB5-17A1-8B8F-EEF9-0D7FA7811529}"/>
              </a:ext>
            </a:extLst>
          </p:cNvPr>
          <p:cNvSpPr>
            <a:spLocks noGrp="1"/>
          </p:cNvSpPr>
          <p:nvPr>
            <p:ph type="sldNum" sz="quarter" idx="12"/>
          </p:nvPr>
        </p:nvSpPr>
        <p:spPr/>
        <p:txBody>
          <a:bodyPr/>
          <a:lstStyle>
            <a:lvl1pPr>
              <a:defRPr/>
            </a:lvl1pPr>
          </a:lstStyle>
          <a:p>
            <a:pPr>
              <a:defRPr/>
            </a:pPr>
            <a:fld id="{BF3DFEF8-EF9B-4568-A2F0-5529C51B9062}" type="slidenum">
              <a:rPr lang="es-MX"/>
              <a:pPr>
                <a:defRPr/>
              </a:pPr>
              <a:t>‹#›</a:t>
            </a:fld>
            <a:endParaRPr lang="es-MX"/>
          </a:p>
        </p:txBody>
      </p:sp>
    </p:spTree>
    <p:extLst>
      <p:ext uri="{BB962C8B-B14F-4D97-AF65-F5344CB8AC3E}">
        <p14:creationId xmlns:p14="http://schemas.microsoft.com/office/powerpoint/2010/main" val="319529048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DDEB3050-FB1C-14A5-1405-6A166EF5B5B0}"/>
              </a:ext>
            </a:extLst>
          </p:cNvPr>
          <p:cNvSpPr>
            <a:spLocks noGrp="1"/>
          </p:cNvSpPr>
          <p:nvPr>
            <p:ph type="dt" sz="half" idx="10"/>
          </p:nvPr>
        </p:nvSpPr>
        <p:spPr/>
        <p:txBody>
          <a:bodyPr/>
          <a:lstStyle>
            <a:lvl1pPr>
              <a:defRPr/>
            </a:lvl1pPr>
          </a:lstStyle>
          <a:p>
            <a:pPr>
              <a:defRPr/>
            </a:pPr>
            <a:fld id="{657DE65E-437E-4966-8C14-18D81F508ACD}" type="datetimeFigureOut">
              <a:rPr lang="es-MX"/>
              <a:pPr>
                <a:defRPr/>
              </a:pPr>
              <a:t>01/12/2023</a:t>
            </a:fld>
            <a:endParaRPr lang="es-MX"/>
          </a:p>
        </p:txBody>
      </p:sp>
      <p:sp>
        <p:nvSpPr>
          <p:cNvPr id="6" name="Footer Placeholder 4">
            <a:extLst>
              <a:ext uri="{FF2B5EF4-FFF2-40B4-BE49-F238E27FC236}">
                <a16:creationId xmlns:a16="http://schemas.microsoft.com/office/drawing/2014/main" id="{E68A9A81-5199-AE23-1544-CAA6ADD2E7BA}"/>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1407B701-D051-4C8B-C1CA-3C4A376D8E61}"/>
              </a:ext>
            </a:extLst>
          </p:cNvPr>
          <p:cNvSpPr>
            <a:spLocks noGrp="1"/>
          </p:cNvSpPr>
          <p:nvPr>
            <p:ph type="sldNum" sz="quarter" idx="12"/>
          </p:nvPr>
        </p:nvSpPr>
        <p:spPr/>
        <p:txBody>
          <a:bodyPr/>
          <a:lstStyle>
            <a:lvl1pPr>
              <a:defRPr/>
            </a:lvl1pPr>
          </a:lstStyle>
          <a:p>
            <a:pPr>
              <a:defRPr/>
            </a:pPr>
            <a:fld id="{955A9E68-F24E-41E8-8CE0-91D925E5C660}" type="slidenum">
              <a:rPr lang="es-MX"/>
              <a:pPr>
                <a:defRPr/>
              </a:pPr>
              <a:t>‹#›</a:t>
            </a:fld>
            <a:endParaRPr lang="es-MX"/>
          </a:p>
        </p:txBody>
      </p:sp>
    </p:spTree>
    <p:extLst>
      <p:ext uri="{BB962C8B-B14F-4D97-AF65-F5344CB8AC3E}">
        <p14:creationId xmlns:p14="http://schemas.microsoft.com/office/powerpoint/2010/main" val="143680133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MX"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3C1359F5-633B-22EB-0BF7-03256467F234}"/>
              </a:ext>
            </a:extLst>
          </p:cNvPr>
          <p:cNvSpPr>
            <a:spLocks noGrp="1"/>
          </p:cNvSpPr>
          <p:nvPr>
            <p:ph type="dt" sz="half" idx="10"/>
          </p:nvPr>
        </p:nvSpPr>
        <p:spPr/>
        <p:txBody>
          <a:bodyPr/>
          <a:lstStyle>
            <a:lvl1pPr>
              <a:defRPr/>
            </a:lvl1pPr>
          </a:lstStyle>
          <a:p>
            <a:pPr>
              <a:defRPr/>
            </a:pPr>
            <a:fld id="{7CBFEFAE-0CBE-4B43-82CC-00D33480BB33}" type="datetimeFigureOut">
              <a:rPr lang="es-MX"/>
              <a:pPr>
                <a:defRPr/>
              </a:pPr>
              <a:t>01/12/2023</a:t>
            </a:fld>
            <a:endParaRPr lang="es-MX"/>
          </a:p>
        </p:txBody>
      </p:sp>
      <p:sp>
        <p:nvSpPr>
          <p:cNvPr id="6" name="Footer Placeholder 4">
            <a:extLst>
              <a:ext uri="{FF2B5EF4-FFF2-40B4-BE49-F238E27FC236}">
                <a16:creationId xmlns:a16="http://schemas.microsoft.com/office/drawing/2014/main" id="{ED641C94-332D-AB6A-3CCE-CC7221130EDB}"/>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990D9FAC-B163-34BC-944E-F8EE4CC82ED9}"/>
              </a:ext>
            </a:extLst>
          </p:cNvPr>
          <p:cNvSpPr>
            <a:spLocks noGrp="1"/>
          </p:cNvSpPr>
          <p:nvPr>
            <p:ph type="sldNum" sz="quarter" idx="12"/>
          </p:nvPr>
        </p:nvSpPr>
        <p:spPr/>
        <p:txBody>
          <a:bodyPr/>
          <a:lstStyle>
            <a:lvl1pPr>
              <a:defRPr/>
            </a:lvl1pPr>
          </a:lstStyle>
          <a:p>
            <a:pPr>
              <a:defRPr/>
            </a:pPr>
            <a:fld id="{6C9C8A80-F1D2-4AA1-85DD-B02FE04F3AC1}" type="slidenum">
              <a:rPr lang="es-MX"/>
              <a:pPr>
                <a:defRPr/>
              </a:pPr>
              <a:t>‹#›</a:t>
            </a:fld>
            <a:endParaRPr lang="es-MX"/>
          </a:p>
        </p:txBody>
      </p:sp>
    </p:spTree>
    <p:extLst>
      <p:ext uri="{BB962C8B-B14F-4D97-AF65-F5344CB8AC3E}">
        <p14:creationId xmlns:p14="http://schemas.microsoft.com/office/powerpoint/2010/main" val="38608958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047E3C58-EB5F-2184-87F5-B9BDA836D646}"/>
              </a:ext>
            </a:extLst>
          </p:cNvPr>
          <p:cNvSpPr>
            <a:spLocks noGrp="1"/>
          </p:cNvSpPr>
          <p:nvPr>
            <p:ph type="dt" sz="half" idx="10"/>
          </p:nvPr>
        </p:nvSpPr>
        <p:spPr/>
        <p:txBody>
          <a:bodyPr/>
          <a:lstStyle>
            <a:lvl1pPr>
              <a:defRPr/>
            </a:lvl1pPr>
          </a:lstStyle>
          <a:p>
            <a:pPr>
              <a:defRPr/>
            </a:pPr>
            <a:fld id="{1C08B9C3-E65E-4103-A414-8672BE66E6EB}" type="datetimeFigureOut">
              <a:rPr lang="es-MX"/>
              <a:pPr>
                <a:defRPr/>
              </a:pPr>
              <a:t>01/12/2023</a:t>
            </a:fld>
            <a:endParaRPr lang="es-MX"/>
          </a:p>
        </p:txBody>
      </p:sp>
      <p:sp>
        <p:nvSpPr>
          <p:cNvPr id="5" name="Footer Placeholder 4">
            <a:extLst>
              <a:ext uri="{FF2B5EF4-FFF2-40B4-BE49-F238E27FC236}">
                <a16:creationId xmlns:a16="http://schemas.microsoft.com/office/drawing/2014/main" id="{217625D7-D7CB-6302-1548-E0E8BA093897}"/>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E05757EB-C0D6-ECC2-32F2-0F54B3271482}"/>
              </a:ext>
            </a:extLst>
          </p:cNvPr>
          <p:cNvSpPr>
            <a:spLocks noGrp="1"/>
          </p:cNvSpPr>
          <p:nvPr>
            <p:ph type="sldNum" sz="quarter" idx="12"/>
          </p:nvPr>
        </p:nvSpPr>
        <p:spPr/>
        <p:txBody>
          <a:bodyPr/>
          <a:lstStyle>
            <a:lvl1pPr>
              <a:defRPr/>
            </a:lvl1pPr>
          </a:lstStyle>
          <a:p>
            <a:pPr>
              <a:defRPr/>
            </a:pPr>
            <a:fld id="{4A29524D-FE38-4AF7-BF75-1F3E2C7337EC}" type="slidenum">
              <a:rPr lang="es-MX"/>
              <a:pPr>
                <a:defRPr/>
              </a:pPr>
              <a:t>‹#›</a:t>
            </a:fld>
            <a:endParaRPr lang="es-MX"/>
          </a:p>
        </p:txBody>
      </p:sp>
    </p:spTree>
    <p:extLst>
      <p:ext uri="{BB962C8B-B14F-4D97-AF65-F5344CB8AC3E}">
        <p14:creationId xmlns:p14="http://schemas.microsoft.com/office/powerpoint/2010/main" val="70505123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s-MX"/>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C74F6C66-B3C6-37EC-F03A-02E0CC43D194}"/>
              </a:ext>
            </a:extLst>
          </p:cNvPr>
          <p:cNvSpPr>
            <a:spLocks noGrp="1"/>
          </p:cNvSpPr>
          <p:nvPr>
            <p:ph type="dt" sz="half" idx="10"/>
          </p:nvPr>
        </p:nvSpPr>
        <p:spPr/>
        <p:txBody>
          <a:bodyPr/>
          <a:lstStyle>
            <a:lvl1pPr>
              <a:defRPr/>
            </a:lvl1pPr>
          </a:lstStyle>
          <a:p>
            <a:pPr>
              <a:defRPr/>
            </a:pPr>
            <a:fld id="{FC15929A-6BF9-4AE9-9497-9195803A5813}" type="datetimeFigureOut">
              <a:rPr lang="es-MX"/>
              <a:pPr>
                <a:defRPr/>
              </a:pPr>
              <a:t>01/12/2023</a:t>
            </a:fld>
            <a:endParaRPr lang="es-MX"/>
          </a:p>
        </p:txBody>
      </p:sp>
      <p:sp>
        <p:nvSpPr>
          <p:cNvPr id="5" name="Footer Placeholder 4">
            <a:extLst>
              <a:ext uri="{FF2B5EF4-FFF2-40B4-BE49-F238E27FC236}">
                <a16:creationId xmlns:a16="http://schemas.microsoft.com/office/drawing/2014/main" id="{BE52091D-1C24-7B2B-7AB6-13B2D3E67F1C}"/>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9FB8488F-B115-70F1-8930-7FDFBF94EFC5}"/>
              </a:ext>
            </a:extLst>
          </p:cNvPr>
          <p:cNvSpPr>
            <a:spLocks noGrp="1"/>
          </p:cNvSpPr>
          <p:nvPr>
            <p:ph type="sldNum" sz="quarter" idx="12"/>
          </p:nvPr>
        </p:nvSpPr>
        <p:spPr/>
        <p:txBody>
          <a:bodyPr/>
          <a:lstStyle>
            <a:lvl1pPr>
              <a:defRPr/>
            </a:lvl1pPr>
          </a:lstStyle>
          <a:p>
            <a:pPr>
              <a:defRPr/>
            </a:pPr>
            <a:fld id="{7E602812-35CD-4717-B873-DA3FD22235D8}" type="slidenum">
              <a:rPr lang="es-MX"/>
              <a:pPr>
                <a:defRPr/>
              </a:pPr>
              <a:t>‹#›</a:t>
            </a:fld>
            <a:endParaRPr lang="es-MX"/>
          </a:p>
        </p:txBody>
      </p:sp>
    </p:spTree>
    <p:extLst>
      <p:ext uri="{BB962C8B-B14F-4D97-AF65-F5344CB8AC3E}">
        <p14:creationId xmlns:p14="http://schemas.microsoft.com/office/powerpoint/2010/main" val="30735375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0B63B96-3B7B-0D3E-A7AB-21315FAB988F}"/>
              </a:ext>
            </a:extLst>
          </p:cNvPr>
          <p:cNvSpPr>
            <a:spLocks noGrp="1"/>
          </p:cNvSpPr>
          <p:nvPr>
            <p:ph type="dt" sz="half" idx="10"/>
          </p:nvPr>
        </p:nvSpPr>
        <p:spPr/>
        <p:txBody>
          <a:bodyPr/>
          <a:lstStyle>
            <a:lvl1pPr>
              <a:defRPr/>
            </a:lvl1pPr>
          </a:lstStyle>
          <a:p>
            <a:pPr>
              <a:defRPr/>
            </a:pPr>
            <a:fld id="{A9109D5E-96AF-4969-A0E5-562A19F9CB68}" type="datetimeFigureOut">
              <a:rPr lang="en-US"/>
              <a:pPr>
                <a:defRPr/>
              </a:pPr>
              <a:t>12/1/2023</a:t>
            </a:fld>
            <a:endParaRPr lang="en-US"/>
          </a:p>
        </p:txBody>
      </p:sp>
      <p:sp>
        <p:nvSpPr>
          <p:cNvPr id="3" name="Footer Placeholder 4">
            <a:extLst>
              <a:ext uri="{FF2B5EF4-FFF2-40B4-BE49-F238E27FC236}">
                <a16:creationId xmlns:a16="http://schemas.microsoft.com/office/drawing/2014/main" id="{5CD45642-004A-E47E-4B94-407274A50272}"/>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9C8BAE5F-5FEE-22AB-5551-36238328B3D6}"/>
              </a:ext>
            </a:extLst>
          </p:cNvPr>
          <p:cNvSpPr>
            <a:spLocks noGrp="1"/>
          </p:cNvSpPr>
          <p:nvPr>
            <p:ph type="sldNum" sz="quarter" idx="12"/>
          </p:nvPr>
        </p:nvSpPr>
        <p:spPr/>
        <p:txBody>
          <a:bodyPr/>
          <a:lstStyle>
            <a:lvl1pPr>
              <a:defRPr/>
            </a:lvl1pPr>
          </a:lstStyle>
          <a:p>
            <a:pPr>
              <a:defRPr/>
            </a:pPr>
            <a:fld id="{AA858899-ABFC-492E-94F8-9BA5C7FE717E}" type="slidenum">
              <a:rPr lang="en-US"/>
              <a:pPr>
                <a:defRPr/>
              </a:pPr>
              <a:t>‹#›</a:t>
            </a:fld>
            <a:endParaRPr lang="en-US"/>
          </a:p>
        </p:txBody>
      </p:sp>
    </p:spTree>
    <p:extLst>
      <p:ext uri="{BB962C8B-B14F-4D97-AF65-F5344CB8AC3E}">
        <p14:creationId xmlns:p14="http://schemas.microsoft.com/office/powerpoint/2010/main" val="3371839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2A70DEAE-0C46-8D51-47EC-34FF158023D0}"/>
              </a:ext>
            </a:extLst>
          </p:cNvPr>
          <p:cNvSpPr>
            <a:spLocks noGrp="1"/>
          </p:cNvSpPr>
          <p:nvPr>
            <p:ph type="dt" sz="half" idx="10"/>
          </p:nvPr>
        </p:nvSpPr>
        <p:spPr/>
        <p:txBody>
          <a:bodyPr/>
          <a:lstStyle>
            <a:lvl1pPr>
              <a:defRPr/>
            </a:lvl1pPr>
          </a:lstStyle>
          <a:p>
            <a:pPr>
              <a:defRPr/>
            </a:pPr>
            <a:fld id="{63FF4132-CA77-4C76-8431-6520D10028DC}" type="datetimeFigureOut">
              <a:rPr lang="en-US"/>
              <a:pPr>
                <a:defRPr/>
              </a:pPr>
              <a:t>12/1/2023</a:t>
            </a:fld>
            <a:endParaRPr lang="en-US"/>
          </a:p>
        </p:txBody>
      </p:sp>
      <p:sp>
        <p:nvSpPr>
          <p:cNvPr id="6" name="Footer Placeholder 4">
            <a:extLst>
              <a:ext uri="{FF2B5EF4-FFF2-40B4-BE49-F238E27FC236}">
                <a16:creationId xmlns:a16="http://schemas.microsoft.com/office/drawing/2014/main" id="{68624127-DC9C-5C4E-BE0F-9E05D4DB35A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9B99662C-DF2C-63CB-5C28-01025406780F}"/>
              </a:ext>
            </a:extLst>
          </p:cNvPr>
          <p:cNvSpPr>
            <a:spLocks noGrp="1"/>
          </p:cNvSpPr>
          <p:nvPr>
            <p:ph type="sldNum" sz="quarter" idx="12"/>
          </p:nvPr>
        </p:nvSpPr>
        <p:spPr/>
        <p:txBody>
          <a:bodyPr/>
          <a:lstStyle>
            <a:lvl1pPr>
              <a:defRPr/>
            </a:lvl1pPr>
          </a:lstStyle>
          <a:p>
            <a:pPr>
              <a:defRPr/>
            </a:pPr>
            <a:fld id="{36DF37A4-73AB-41EE-A325-BC184FE7530B}" type="slidenum">
              <a:rPr lang="en-US"/>
              <a:pPr>
                <a:defRPr/>
              </a:pPr>
              <a:t>‹#›</a:t>
            </a:fld>
            <a:endParaRPr lang="en-US"/>
          </a:p>
        </p:txBody>
      </p:sp>
    </p:spTree>
    <p:extLst>
      <p:ext uri="{BB962C8B-B14F-4D97-AF65-F5344CB8AC3E}">
        <p14:creationId xmlns:p14="http://schemas.microsoft.com/office/powerpoint/2010/main" val="583079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02E1DC4D-AE16-E240-BCFD-43E52E70E59A}"/>
              </a:ext>
            </a:extLst>
          </p:cNvPr>
          <p:cNvSpPr>
            <a:spLocks noGrp="1"/>
          </p:cNvSpPr>
          <p:nvPr>
            <p:ph type="dt" sz="half" idx="10"/>
          </p:nvPr>
        </p:nvSpPr>
        <p:spPr/>
        <p:txBody>
          <a:bodyPr/>
          <a:lstStyle>
            <a:lvl1pPr>
              <a:defRPr/>
            </a:lvl1pPr>
          </a:lstStyle>
          <a:p>
            <a:pPr>
              <a:defRPr/>
            </a:pPr>
            <a:fld id="{53687EE6-03B9-4893-B438-169FDD099656}" type="datetimeFigureOut">
              <a:rPr lang="es-MX"/>
              <a:pPr>
                <a:defRPr/>
              </a:pPr>
              <a:t>01/12/2023</a:t>
            </a:fld>
            <a:endParaRPr lang="es-MX"/>
          </a:p>
        </p:txBody>
      </p:sp>
      <p:sp>
        <p:nvSpPr>
          <p:cNvPr id="5" name="Footer Placeholder 4">
            <a:extLst>
              <a:ext uri="{FF2B5EF4-FFF2-40B4-BE49-F238E27FC236}">
                <a16:creationId xmlns:a16="http://schemas.microsoft.com/office/drawing/2014/main" id="{3C8FD8F4-7A1E-7285-3CED-D1BD65784C41}"/>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25626EE8-8542-0513-C929-7EC226604FDF}"/>
              </a:ext>
            </a:extLst>
          </p:cNvPr>
          <p:cNvSpPr>
            <a:spLocks noGrp="1"/>
          </p:cNvSpPr>
          <p:nvPr>
            <p:ph type="sldNum" sz="quarter" idx="12"/>
          </p:nvPr>
        </p:nvSpPr>
        <p:spPr/>
        <p:txBody>
          <a:bodyPr/>
          <a:lstStyle>
            <a:lvl1pPr>
              <a:defRPr/>
            </a:lvl1pPr>
          </a:lstStyle>
          <a:p>
            <a:pPr>
              <a:defRPr/>
            </a:pPr>
            <a:fld id="{ACF15C7A-313D-4226-BAC6-56FE94E57F34}" type="slidenum">
              <a:rPr lang="es-MX"/>
              <a:pPr>
                <a:defRPr/>
              </a:pPr>
              <a:t>‹#›</a:t>
            </a:fld>
            <a:endParaRPr lang="es-MX"/>
          </a:p>
        </p:txBody>
      </p:sp>
    </p:spTree>
    <p:extLst>
      <p:ext uri="{BB962C8B-B14F-4D97-AF65-F5344CB8AC3E}">
        <p14:creationId xmlns:p14="http://schemas.microsoft.com/office/powerpoint/2010/main" val="83969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9B669500-D2CA-C1E7-10C9-2DB706F991CE}"/>
              </a:ext>
            </a:extLst>
          </p:cNvPr>
          <p:cNvSpPr>
            <a:spLocks noGrp="1"/>
          </p:cNvSpPr>
          <p:nvPr>
            <p:ph type="dt" sz="half" idx="10"/>
          </p:nvPr>
        </p:nvSpPr>
        <p:spPr/>
        <p:txBody>
          <a:bodyPr/>
          <a:lstStyle>
            <a:lvl1pPr>
              <a:defRPr/>
            </a:lvl1pPr>
          </a:lstStyle>
          <a:p>
            <a:pPr>
              <a:defRPr/>
            </a:pPr>
            <a:fld id="{58C5C086-8E38-409D-9FEE-844CC5E36C9C}" type="datetimeFigureOut">
              <a:rPr lang="en-US"/>
              <a:pPr>
                <a:defRPr/>
              </a:pPr>
              <a:t>12/1/2023</a:t>
            </a:fld>
            <a:endParaRPr lang="en-US"/>
          </a:p>
        </p:txBody>
      </p:sp>
      <p:sp>
        <p:nvSpPr>
          <p:cNvPr id="6" name="Footer Placeholder 4">
            <a:extLst>
              <a:ext uri="{FF2B5EF4-FFF2-40B4-BE49-F238E27FC236}">
                <a16:creationId xmlns:a16="http://schemas.microsoft.com/office/drawing/2014/main" id="{66B3EFD8-6C99-BDCC-E042-4A8FBE99506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91C1771-0513-8D7A-7A3C-5BC7DA0EEC38}"/>
              </a:ext>
            </a:extLst>
          </p:cNvPr>
          <p:cNvSpPr>
            <a:spLocks noGrp="1"/>
          </p:cNvSpPr>
          <p:nvPr>
            <p:ph type="sldNum" sz="quarter" idx="12"/>
          </p:nvPr>
        </p:nvSpPr>
        <p:spPr/>
        <p:txBody>
          <a:bodyPr/>
          <a:lstStyle>
            <a:lvl1pPr>
              <a:defRPr/>
            </a:lvl1pPr>
          </a:lstStyle>
          <a:p>
            <a:pPr>
              <a:defRPr/>
            </a:pPr>
            <a:fld id="{2144AE49-6800-4A22-AE47-201A16660DE8}" type="slidenum">
              <a:rPr lang="en-US"/>
              <a:pPr>
                <a:defRPr/>
              </a:pPr>
              <a:t>‹#›</a:t>
            </a:fld>
            <a:endParaRPr lang="en-US"/>
          </a:p>
        </p:txBody>
      </p:sp>
    </p:spTree>
    <p:extLst>
      <p:ext uri="{BB962C8B-B14F-4D97-AF65-F5344CB8AC3E}">
        <p14:creationId xmlns:p14="http://schemas.microsoft.com/office/powerpoint/2010/main" val="24456691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953546-9C22-45D8-592A-7B1C52BD6C27}"/>
              </a:ext>
            </a:extLst>
          </p:cNvPr>
          <p:cNvSpPr>
            <a:spLocks noGrp="1"/>
          </p:cNvSpPr>
          <p:nvPr>
            <p:ph type="dt" sz="half" idx="10"/>
          </p:nvPr>
        </p:nvSpPr>
        <p:spPr/>
        <p:txBody>
          <a:bodyPr/>
          <a:lstStyle>
            <a:lvl1pPr>
              <a:defRPr/>
            </a:lvl1pPr>
          </a:lstStyle>
          <a:p>
            <a:pPr>
              <a:defRPr/>
            </a:pPr>
            <a:fld id="{34E220B5-ED3B-45B0-9B4D-41D9F7E46462}" type="datetimeFigureOut">
              <a:rPr lang="en-US"/>
              <a:pPr>
                <a:defRPr/>
              </a:pPr>
              <a:t>12/1/2023</a:t>
            </a:fld>
            <a:endParaRPr lang="en-US"/>
          </a:p>
        </p:txBody>
      </p:sp>
      <p:sp>
        <p:nvSpPr>
          <p:cNvPr id="5" name="Footer Placeholder 4">
            <a:extLst>
              <a:ext uri="{FF2B5EF4-FFF2-40B4-BE49-F238E27FC236}">
                <a16:creationId xmlns:a16="http://schemas.microsoft.com/office/drawing/2014/main" id="{C794FC42-CB35-11E8-6327-BB1B14A1296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4797017-50F7-B76D-ECED-86CF25702518}"/>
              </a:ext>
            </a:extLst>
          </p:cNvPr>
          <p:cNvSpPr>
            <a:spLocks noGrp="1"/>
          </p:cNvSpPr>
          <p:nvPr>
            <p:ph type="sldNum" sz="quarter" idx="12"/>
          </p:nvPr>
        </p:nvSpPr>
        <p:spPr/>
        <p:txBody>
          <a:bodyPr/>
          <a:lstStyle>
            <a:lvl1pPr>
              <a:defRPr/>
            </a:lvl1pPr>
          </a:lstStyle>
          <a:p>
            <a:pPr>
              <a:defRPr/>
            </a:pPr>
            <a:fld id="{7FE409D3-62BE-48FF-B4C1-8DD9CE71259A}" type="slidenum">
              <a:rPr lang="en-US"/>
              <a:pPr>
                <a:defRPr/>
              </a:pPr>
              <a:t>‹#›</a:t>
            </a:fld>
            <a:endParaRPr lang="en-US"/>
          </a:p>
        </p:txBody>
      </p:sp>
    </p:spTree>
    <p:extLst>
      <p:ext uri="{BB962C8B-B14F-4D97-AF65-F5344CB8AC3E}">
        <p14:creationId xmlns:p14="http://schemas.microsoft.com/office/powerpoint/2010/main" val="39965139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B758D2-D55F-0643-D989-1A76B93ACF71}"/>
              </a:ext>
            </a:extLst>
          </p:cNvPr>
          <p:cNvSpPr>
            <a:spLocks noGrp="1"/>
          </p:cNvSpPr>
          <p:nvPr>
            <p:ph type="dt" sz="half" idx="10"/>
          </p:nvPr>
        </p:nvSpPr>
        <p:spPr/>
        <p:txBody>
          <a:bodyPr/>
          <a:lstStyle>
            <a:lvl1pPr>
              <a:defRPr/>
            </a:lvl1pPr>
          </a:lstStyle>
          <a:p>
            <a:pPr>
              <a:defRPr/>
            </a:pPr>
            <a:fld id="{75C669EE-D4CC-49E8-8F0F-E4577BBFE907}" type="datetimeFigureOut">
              <a:rPr lang="en-US"/>
              <a:pPr>
                <a:defRPr/>
              </a:pPr>
              <a:t>12/1/2023</a:t>
            </a:fld>
            <a:endParaRPr lang="en-US"/>
          </a:p>
        </p:txBody>
      </p:sp>
      <p:sp>
        <p:nvSpPr>
          <p:cNvPr id="5" name="Footer Placeholder 4">
            <a:extLst>
              <a:ext uri="{FF2B5EF4-FFF2-40B4-BE49-F238E27FC236}">
                <a16:creationId xmlns:a16="http://schemas.microsoft.com/office/drawing/2014/main" id="{E05926A2-433D-FB79-2DE3-311DDBBA04F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E791192-9C75-A929-7774-1810C4A447B8}"/>
              </a:ext>
            </a:extLst>
          </p:cNvPr>
          <p:cNvSpPr>
            <a:spLocks noGrp="1"/>
          </p:cNvSpPr>
          <p:nvPr>
            <p:ph type="sldNum" sz="quarter" idx="12"/>
          </p:nvPr>
        </p:nvSpPr>
        <p:spPr/>
        <p:txBody>
          <a:bodyPr/>
          <a:lstStyle>
            <a:lvl1pPr>
              <a:defRPr/>
            </a:lvl1pPr>
          </a:lstStyle>
          <a:p>
            <a:pPr>
              <a:defRPr/>
            </a:pPr>
            <a:fld id="{BB263EAF-4AD8-41F8-8435-46034A5ED89C}" type="slidenum">
              <a:rPr lang="en-US"/>
              <a:pPr>
                <a:defRPr/>
              </a:pPr>
              <a:t>‹#›</a:t>
            </a:fld>
            <a:endParaRPr lang="en-US"/>
          </a:p>
        </p:txBody>
      </p:sp>
    </p:spTree>
    <p:extLst>
      <p:ext uri="{BB962C8B-B14F-4D97-AF65-F5344CB8AC3E}">
        <p14:creationId xmlns:p14="http://schemas.microsoft.com/office/powerpoint/2010/main" val="12788092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4AAF8A58-98A4-AC15-FBB5-B29B74D40347}"/>
              </a:ext>
            </a:extLst>
          </p:cNvPr>
          <p:cNvSpPr>
            <a:spLocks noGrp="1"/>
          </p:cNvSpPr>
          <p:nvPr>
            <p:ph type="dt" sz="half" idx="10"/>
          </p:nvPr>
        </p:nvSpPr>
        <p:spPr/>
        <p:txBody>
          <a:bodyPr/>
          <a:lstStyle>
            <a:lvl1pPr>
              <a:defRPr/>
            </a:lvl1pPr>
          </a:lstStyle>
          <a:p>
            <a:pPr>
              <a:defRPr/>
            </a:pPr>
            <a:fld id="{6B877DE9-9966-4150-8DC4-E2FABF502765}" type="datetimeFigureOut">
              <a:rPr lang="es-MX"/>
              <a:pPr>
                <a:defRPr/>
              </a:pPr>
              <a:t>01/12/2023</a:t>
            </a:fld>
            <a:endParaRPr lang="es-MX"/>
          </a:p>
        </p:txBody>
      </p:sp>
      <p:sp>
        <p:nvSpPr>
          <p:cNvPr id="5" name="Footer Placeholder 4">
            <a:extLst>
              <a:ext uri="{FF2B5EF4-FFF2-40B4-BE49-F238E27FC236}">
                <a16:creationId xmlns:a16="http://schemas.microsoft.com/office/drawing/2014/main" id="{1AB7411F-0BE7-9545-3035-EACC59D9CE9C}"/>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32E8DB80-6AF2-CDEF-7C57-082D86DB94E0}"/>
              </a:ext>
            </a:extLst>
          </p:cNvPr>
          <p:cNvSpPr>
            <a:spLocks noGrp="1"/>
          </p:cNvSpPr>
          <p:nvPr>
            <p:ph type="sldNum" sz="quarter" idx="12"/>
          </p:nvPr>
        </p:nvSpPr>
        <p:spPr/>
        <p:txBody>
          <a:bodyPr/>
          <a:lstStyle>
            <a:lvl1pPr>
              <a:defRPr/>
            </a:lvl1pPr>
          </a:lstStyle>
          <a:p>
            <a:pPr>
              <a:defRPr/>
            </a:pPr>
            <a:fld id="{1728C797-09FD-4FB3-AC5B-1662408FD06F}" type="slidenum">
              <a:rPr lang="es-MX"/>
              <a:pPr>
                <a:defRPr/>
              </a:pPr>
              <a:t>‹#›</a:t>
            </a:fld>
            <a:endParaRPr lang="es-MX"/>
          </a:p>
        </p:txBody>
      </p:sp>
    </p:spTree>
    <p:extLst>
      <p:ext uri="{BB962C8B-B14F-4D97-AF65-F5344CB8AC3E}">
        <p14:creationId xmlns:p14="http://schemas.microsoft.com/office/powerpoint/2010/main" val="14327098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44D59D8D-F3E4-9FF2-6C4A-669543E1FE76}"/>
              </a:ext>
            </a:extLst>
          </p:cNvPr>
          <p:cNvSpPr>
            <a:spLocks noGrp="1"/>
          </p:cNvSpPr>
          <p:nvPr>
            <p:ph type="dt" sz="half" idx="10"/>
          </p:nvPr>
        </p:nvSpPr>
        <p:spPr/>
        <p:txBody>
          <a:bodyPr/>
          <a:lstStyle>
            <a:lvl1pPr>
              <a:defRPr/>
            </a:lvl1pPr>
          </a:lstStyle>
          <a:p>
            <a:pPr>
              <a:defRPr/>
            </a:pPr>
            <a:fld id="{273BE5EF-AF57-4ED1-B783-DF3225838F31}" type="datetimeFigureOut">
              <a:rPr lang="es-MX"/>
              <a:pPr>
                <a:defRPr/>
              </a:pPr>
              <a:t>01/12/2023</a:t>
            </a:fld>
            <a:endParaRPr lang="es-MX"/>
          </a:p>
        </p:txBody>
      </p:sp>
      <p:sp>
        <p:nvSpPr>
          <p:cNvPr id="5" name="Footer Placeholder 4">
            <a:extLst>
              <a:ext uri="{FF2B5EF4-FFF2-40B4-BE49-F238E27FC236}">
                <a16:creationId xmlns:a16="http://schemas.microsoft.com/office/drawing/2014/main" id="{EB6EC5F6-AB2E-88AF-10B5-5CC6961DAC00}"/>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84FD2DD7-7FFD-400F-541A-96EA811782FA}"/>
              </a:ext>
            </a:extLst>
          </p:cNvPr>
          <p:cNvSpPr>
            <a:spLocks noGrp="1"/>
          </p:cNvSpPr>
          <p:nvPr>
            <p:ph type="sldNum" sz="quarter" idx="12"/>
          </p:nvPr>
        </p:nvSpPr>
        <p:spPr/>
        <p:txBody>
          <a:bodyPr/>
          <a:lstStyle>
            <a:lvl1pPr>
              <a:defRPr/>
            </a:lvl1pPr>
          </a:lstStyle>
          <a:p>
            <a:pPr>
              <a:defRPr/>
            </a:pPr>
            <a:fld id="{B7ECF520-D12D-4BF1-AB0D-1683B02223F6}" type="slidenum">
              <a:rPr lang="es-MX"/>
              <a:pPr>
                <a:defRPr/>
              </a:pPr>
              <a:t>‹#›</a:t>
            </a:fld>
            <a:endParaRPr lang="es-MX"/>
          </a:p>
        </p:txBody>
      </p:sp>
    </p:spTree>
    <p:extLst>
      <p:ext uri="{BB962C8B-B14F-4D97-AF65-F5344CB8AC3E}">
        <p14:creationId xmlns:p14="http://schemas.microsoft.com/office/powerpoint/2010/main" val="36389109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MX"/>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C8BBB57-EAE7-7AD2-0864-0807BDC228EA}"/>
              </a:ext>
            </a:extLst>
          </p:cNvPr>
          <p:cNvSpPr>
            <a:spLocks noGrp="1"/>
          </p:cNvSpPr>
          <p:nvPr>
            <p:ph type="dt" sz="half" idx="10"/>
          </p:nvPr>
        </p:nvSpPr>
        <p:spPr/>
        <p:txBody>
          <a:bodyPr/>
          <a:lstStyle>
            <a:lvl1pPr>
              <a:defRPr/>
            </a:lvl1pPr>
          </a:lstStyle>
          <a:p>
            <a:pPr>
              <a:defRPr/>
            </a:pPr>
            <a:fld id="{0D32CC3C-CBD7-4248-8DCE-A163D0B8DFC2}" type="datetimeFigureOut">
              <a:rPr lang="es-MX"/>
              <a:pPr>
                <a:defRPr/>
              </a:pPr>
              <a:t>01/12/2023</a:t>
            </a:fld>
            <a:endParaRPr lang="es-MX"/>
          </a:p>
        </p:txBody>
      </p:sp>
      <p:sp>
        <p:nvSpPr>
          <p:cNvPr id="5" name="Footer Placeholder 4">
            <a:extLst>
              <a:ext uri="{FF2B5EF4-FFF2-40B4-BE49-F238E27FC236}">
                <a16:creationId xmlns:a16="http://schemas.microsoft.com/office/drawing/2014/main" id="{474CEC91-F028-7D8D-C89A-53CADD288B8F}"/>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186D3C72-B3E0-46D6-A626-FFAF48907E00}"/>
              </a:ext>
            </a:extLst>
          </p:cNvPr>
          <p:cNvSpPr>
            <a:spLocks noGrp="1"/>
          </p:cNvSpPr>
          <p:nvPr>
            <p:ph type="sldNum" sz="quarter" idx="12"/>
          </p:nvPr>
        </p:nvSpPr>
        <p:spPr/>
        <p:txBody>
          <a:bodyPr/>
          <a:lstStyle>
            <a:lvl1pPr>
              <a:defRPr/>
            </a:lvl1pPr>
          </a:lstStyle>
          <a:p>
            <a:pPr>
              <a:defRPr/>
            </a:pPr>
            <a:fld id="{F25644A8-221F-4A5B-9CD2-FDA73AD08F41}" type="slidenum">
              <a:rPr lang="es-MX"/>
              <a:pPr>
                <a:defRPr/>
              </a:pPr>
              <a:t>‹#›</a:t>
            </a:fld>
            <a:endParaRPr lang="es-MX"/>
          </a:p>
        </p:txBody>
      </p:sp>
    </p:spTree>
    <p:extLst>
      <p:ext uri="{BB962C8B-B14F-4D97-AF65-F5344CB8AC3E}">
        <p14:creationId xmlns:p14="http://schemas.microsoft.com/office/powerpoint/2010/main" val="11845788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3">
            <a:extLst>
              <a:ext uri="{FF2B5EF4-FFF2-40B4-BE49-F238E27FC236}">
                <a16:creationId xmlns:a16="http://schemas.microsoft.com/office/drawing/2014/main" id="{7A8C81D5-D328-0719-50B3-2EFAAFD0AD43}"/>
              </a:ext>
            </a:extLst>
          </p:cNvPr>
          <p:cNvSpPr>
            <a:spLocks noGrp="1"/>
          </p:cNvSpPr>
          <p:nvPr>
            <p:ph type="dt" sz="half" idx="10"/>
          </p:nvPr>
        </p:nvSpPr>
        <p:spPr/>
        <p:txBody>
          <a:bodyPr/>
          <a:lstStyle>
            <a:lvl1pPr>
              <a:defRPr/>
            </a:lvl1pPr>
          </a:lstStyle>
          <a:p>
            <a:pPr>
              <a:defRPr/>
            </a:pPr>
            <a:fld id="{00FC9518-89A8-41FE-9DD6-D4151F4E2EF4}" type="datetimeFigureOut">
              <a:rPr lang="es-MX"/>
              <a:pPr>
                <a:defRPr/>
              </a:pPr>
              <a:t>01/12/2023</a:t>
            </a:fld>
            <a:endParaRPr lang="es-MX"/>
          </a:p>
        </p:txBody>
      </p:sp>
      <p:sp>
        <p:nvSpPr>
          <p:cNvPr id="6" name="Footer Placeholder 4">
            <a:extLst>
              <a:ext uri="{FF2B5EF4-FFF2-40B4-BE49-F238E27FC236}">
                <a16:creationId xmlns:a16="http://schemas.microsoft.com/office/drawing/2014/main" id="{F02D8D08-AC3C-F6D2-B2B8-8A62BC081338}"/>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FD405C6E-B8A5-63CA-038D-9251D6BB5D85}"/>
              </a:ext>
            </a:extLst>
          </p:cNvPr>
          <p:cNvSpPr>
            <a:spLocks noGrp="1"/>
          </p:cNvSpPr>
          <p:nvPr>
            <p:ph type="sldNum" sz="quarter" idx="12"/>
          </p:nvPr>
        </p:nvSpPr>
        <p:spPr/>
        <p:txBody>
          <a:bodyPr/>
          <a:lstStyle>
            <a:lvl1pPr>
              <a:defRPr/>
            </a:lvl1pPr>
          </a:lstStyle>
          <a:p>
            <a:pPr>
              <a:defRPr/>
            </a:pPr>
            <a:fld id="{8DBF7A05-21BE-40C8-8BCF-22E6C57BF361}" type="slidenum">
              <a:rPr lang="es-MX"/>
              <a:pPr>
                <a:defRPr/>
              </a:pPr>
              <a:t>‹#›</a:t>
            </a:fld>
            <a:endParaRPr lang="es-MX"/>
          </a:p>
        </p:txBody>
      </p:sp>
    </p:spTree>
    <p:extLst>
      <p:ext uri="{BB962C8B-B14F-4D97-AF65-F5344CB8AC3E}">
        <p14:creationId xmlns:p14="http://schemas.microsoft.com/office/powerpoint/2010/main" val="2800533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s-MX"/>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3">
            <a:extLst>
              <a:ext uri="{FF2B5EF4-FFF2-40B4-BE49-F238E27FC236}">
                <a16:creationId xmlns:a16="http://schemas.microsoft.com/office/drawing/2014/main" id="{56098C51-2CE6-6BF5-ADAA-B32D3D206F84}"/>
              </a:ext>
            </a:extLst>
          </p:cNvPr>
          <p:cNvSpPr>
            <a:spLocks noGrp="1"/>
          </p:cNvSpPr>
          <p:nvPr>
            <p:ph type="dt" sz="half" idx="10"/>
          </p:nvPr>
        </p:nvSpPr>
        <p:spPr/>
        <p:txBody>
          <a:bodyPr/>
          <a:lstStyle>
            <a:lvl1pPr>
              <a:defRPr/>
            </a:lvl1pPr>
          </a:lstStyle>
          <a:p>
            <a:pPr>
              <a:defRPr/>
            </a:pPr>
            <a:fld id="{0DD0B9BA-5DDC-4903-861F-3C10E67ABF74}" type="datetimeFigureOut">
              <a:rPr lang="es-MX"/>
              <a:pPr>
                <a:defRPr/>
              </a:pPr>
              <a:t>01/12/2023</a:t>
            </a:fld>
            <a:endParaRPr lang="es-MX"/>
          </a:p>
        </p:txBody>
      </p:sp>
      <p:sp>
        <p:nvSpPr>
          <p:cNvPr id="8" name="Footer Placeholder 4">
            <a:extLst>
              <a:ext uri="{FF2B5EF4-FFF2-40B4-BE49-F238E27FC236}">
                <a16:creationId xmlns:a16="http://schemas.microsoft.com/office/drawing/2014/main" id="{D302909C-4616-DC33-EAEF-8AE610ED69DC}"/>
              </a:ext>
            </a:extLst>
          </p:cNvPr>
          <p:cNvSpPr>
            <a:spLocks noGrp="1"/>
          </p:cNvSpPr>
          <p:nvPr>
            <p:ph type="ftr" sz="quarter" idx="11"/>
          </p:nvPr>
        </p:nvSpPr>
        <p:spPr/>
        <p:txBody>
          <a:bodyPr/>
          <a:lstStyle>
            <a:lvl1pPr>
              <a:defRPr/>
            </a:lvl1pPr>
          </a:lstStyle>
          <a:p>
            <a:pPr>
              <a:defRPr/>
            </a:pPr>
            <a:endParaRPr lang="es-MX"/>
          </a:p>
        </p:txBody>
      </p:sp>
      <p:sp>
        <p:nvSpPr>
          <p:cNvPr id="9" name="Slide Number Placeholder 5">
            <a:extLst>
              <a:ext uri="{FF2B5EF4-FFF2-40B4-BE49-F238E27FC236}">
                <a16:creationId xmlns:a16="http://schemas.microsoft.com/office/drawing/2014/main" id="{4DB6CC01-C6A8-1217-3EA2-27C20E48F836}"/>
              </a:ext>
            </a:extLst>
          </p:cNvPr>
          <p:cNvSpPr>
            <a:spLocks noGrp="1"/>
          </p:cNvSpPr>
          <p:nvPr>
            <p:ph type="sldNum" sz="quarter" idx="12"/>
          </p:nvPr>
        </p:nvSpPr>
        <p:spPr/>
        <p:txBody>
          <a:bodyPr/>
          <a:lstStyle>
            <a:lvl1pPr>
              <a:defRPr/>
            </a:lvl1pPr>
          </a:lstStyle>
          <a:p>
            <a:pPr>
              <a:defRPr/>
            </a:pPr>
            <a:fld id="{21D7BCCE-764A-439A-8980-A274272B1B5F}" type="slidenum">
              <a:rPr lang="es-MX"/>
              <a:pPr>
                <a:defRPr/>
              </a:pPr>
              <a:t>‹#›</a:t>
            </a:fld>
            <a:endParaRPr lang="es-MX"/>
          </a:p>
        </p:txBody>
      </p:sp>
    </p:spTree>
    <p:extLst>
      <p:ext uri="{BB962C8B-B14F-4D97-AF65-F5344CB8AC3E}">
        <p14:creationId xmlns:p14="http://schemas.microsoft.com/office/powerpoint/2010/main" val="25340614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Date Placeholder 3">
            <a:extLst>
              <a:ext uri="{FF2B5EF4-FFF2-40B4-BE49-F238E27FC236}">
                <a16:creationId xmlns:a16="http://schemas.microsoft.com/office/drawing/2014/main" id="{2E0B3866-73F6-D01E-AC51-E477EA7938AD}"/>
              </a:ext>
            </a:extLst>
          </p:cNvPr>
          <p:cNvSpPr>
            <a:spLocks noGrp="1"/>
          </p:cNvSpPr>
          <p:nvPr>
            <p:ph type="dt" sz="half" idx="10"/>
          </p:nvPr>
        </p:nvSpPr>
        <p:spPr/>
        <p:txBody>
          <a:bodyPr/>
          <a:lstStyle>
            <a:lvl1pPr>
              <a:defRPr/>
            </a:lvl1pPr>
          </a:lstStyle>
          <a:p>
            <a:pPr>
              <a:defRPr/>
            </a:pPr>
            <a:fld id="{CAF3E8F1-E9B2-4CE8-87C3-7338DD2A3B02}" type="datetimeFigureOut">
              <a:rPr lang="es-MX"/>
              <a:pPr>
                <a:defRPr/>
              </a:pPr>
              <a:t>01/12/2023</a:t>
            </a:fld>
            <a:endParaRPr lang="es-MX"/>
          </a:p>
        </p:txBody>
      </p:sp>
      <p:sp>
        <p:nvSpPr>
          <p:cNvPr id="4" name="Footer Placeholder 4">
            <a:extLst>
              <a:ext uri="{FF2B5EF4-FFF2-40B4-BE49-F238E27FC236}">
                <a16:creationId xmlns:a16="http://schemas.microsoft.com/office/drawing/2014/main" id="{CB87AC11-0E04-B105-F7A0-A55B2141633F}"/>
              </a:ext>
            </a:extLst>
          </p:cNvPr>
          <p:cNvSpPr>
            <a:spLocks noGrp="1"/>
          </p:cNvSpPr>
          <p:nvPr>
            <p:ph type="ftr" sz="quarter" idx="11"/>
          </p:nvPr>
        </p:nvSpPr>
        <p:spPr/>
        <p:txBody>
          <a:bodyPr/>
          <a:lstStyle>
            <a:lvl1pPr>
              <a:defRPr/>
            </a:lvl1pPr>
          </a:lstStyle>
          <a:p>
            <a:pPr>
              <a:defRPr/>
            </a:pPr>
            <a:endParaRPr lang="es-MX"/>
          </a:p>
        </p:txBody>
      </p:sp>
      <p:sp>
        <p:nvSpPr>
          <p:cNvPr id="5" name="Slide Number Placeholder 5">
            <a:extLst>
              <a:ext uri="{FF2B5EF4-FFF2-40B4-BE49-F238E27FC236}">
                <a16:creationId xmlns:a16="http://schemas.microsoft.com/office/drawing/2014/main" id="{F21EDECD-B3D0-B092-070B-215A6B2B802C}"/>
              </a:ext>
            </a:extLst>
          </p:cNvPr>
          <p:cNvSpPr>
            <a:spLocks noGrp="1"/>
          </p:cNvSpPr>
          <p:nvPr>
            <p:ph type="sldNum" sz="quarter" idx="12"/>
          </p:nvPr>
        </p:nvSpPr>
        <p:spPr/>
        <p:txBody>
          <a:bodyPr/>
          <a:lstStyle>
            <a:lvl1pPr>
              <a:defRPr/>
            </a:lvl1pPr>
          </a:lstStyle>
          <a:p>
            <a:pPr>
              <a:defRPr/>
            </a:pPr>
            <a:fld id="{7B9237E1-7CA0-4598-ABBE-DF1A4FB3CA79}" type="slidenum">
              <a:rPr lang="es-MX"/>
              <a:pPr>
                <a:defRPr/>
              </a:pPr>
              <a:t>‹#›</a:t>
            </a:fld>
            <a:endParaRPr lang="es-MX"/>
          </a:p>
        </p:txBody>
      </p:sp>
    </p:spTree>
    <p:extLst>
      <p:ext uri="{BB962C8B-B14F-4D97-AF65-F5344CB8AC3E}">
        <p14:creationId xmlns:p14="http://schemas.microsoft.com/office/powerpoint/2010/main" val="12318041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81F90B2A-B435-0CE6-56DB-983E9110DBE5}"/>
              </a:ext>
            </a:extLst>
          </p:cNvPr>
          <p:cNvSpPr>
            <a:spLocks noGrp="1"/>
          </p:cNvSpPr>
          <p:nvPr>
            <p:ph type="dt" sz="half" idx="10"/>
          </p:nvPr>
        </p:nvSpPr>
        <p:spPr/>
        <p:txBody>
          <a:bodyPr/>
          <a:lstStyle>
            <a:lvl1pPr>
              <a:defRPr/>
            </a:lvl1pPr>
          </a:lstStyle>
          <a:p>
            <a:pPr>
              <a:defRPr/>
            </a:pPr>
            <a:fld id="{B4776896-0DDF-44D3-AD4F-27F208898EBE}" type="datetimeFigureOut">
              <a:rPr lang="es-MX"/>
              <a:pPr>
                <a:defRPr/>
              </a:pPr>
              <a:t>01/12/2023</a:t>
            </a:fld>
            <a:endParaRPr lang="es-MX"/>
          </a:p>
        </p:txBody>
      </p:sp>
      <p:sp>
        <p:nvSpPr>
          <p:cNvPr id="3" name="Footer Placeholder 4">
            <a:extLst>
              <a:ext uri="{FF2B5EF4-FFF2-40B4-BE49-F238E27FC236}">
                <a16:creationId xmlns:a16="http://schemas.microsoft.com/office/drawing/2014/main" id="{A10CCC5E-37B4-50A0-DB00-C428B81D2C4A}"/>
              </a:ext>
            </a:extLst>
          </p:cNvPr>
          <p:cNvSpPr>
            <a:spLocks noGrp="1"/>
          </p:cNvSpPr>
          <p:nvPr>
            <p:ph type="ftr" sz="quarter" idx="11"/>
          </p:nvPr>
        </p:nvSpPr>
        <p:spPr/>
        <p:txBody>
          <a:bodyPr/>
          <a:lstStyle>
            <a:lvl1pPr>
              <a:defRPr/>
            </a:lvl1pPr>
          </a:lstStyle>
          <a:p>
            <a:pPr>
              <a:defRPr/>
            </a:pPr>
            <a:endParaRPr lang="es-MX"/>
          </a:p>
        </p:txBody>
      </p:sp>
      <p:sp>
        <p:nvSpPr>
          <p:cNvPr id="4" name="Slide Number Placeholder 5">
            <a:extLst>
              <a:ext uri="{FF2B5EF4-FFF2-40B4-BE49-F238E27FC236}">
                <a16:creationId xmlns:a16="http://schemas.microsoft.com/office/drawing/2014/main" id="{1FA0B7A5-060F-200E-39AA-BE19A6B6D9B4}"/>
              </a:ext>
            </a:extLst>
          </p:cNvPr>
          <p:cNvSpPr>
            <a:spLocks noGrp="1"/>
          </p:cNvSpPr>
          <p:nvPr>
            <p:ph type="sldNum" sz="quarter" idx="12"/>
          </p:nvPr>
        </p:nvSpPr>
        <p:spPr/>
        <p:txBody>
          <a:bodyPr/>
          <a:lstStyle>
            <a:lvl1pPr>
              <a:defRPr/>
            </a:lvl1pPr>
          </a:lstStyle>
          <a:p>
            <a:pPr>
              <a:defRPr/>
            </a:pPr>
            <a:fld id="{A4A8273F-ED2E-44F7-BF1D-BA15B70B1083}" type="slidenum">
              <a:rPr lang="es-MX"/>
              <a:pPr>
                <a:defRPr/>
              </a:pPr>
              <a:t>‹#›</a:t>
            </a:fld>
            <a:endParaRPr lang="es-MX"/>
          </a:p>
        </p:txBody>
      </p:sp>
    </p:spTree>
    <p:extLst>
      <p:ext uri="{BB962C8B-B14F-4D97-AF65-F5344CB8AC3E}">
        <p14:creationId xmlns:p14="http://schemas.microsoft.com/office/powerpoint/2010/main" val="11667185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MX"/>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5DF693-9AD3-4989-BB85-007AB0DAF532}"/>
              </a:ext>
            </a:extLst>
          </p:cNvPr>
          <p:cNvSpPr>
            <a:spLocks noGrp="1"/>
          </p:cNvSpPr>
          <p:nvPr>
            <p:ph type="dt" sz="half" idx="10"/>
          </p:nvPr>
        </p:nvSpPr>
        <p:spPr/>
        <p:txBody>
          <a:bodyPr/>
          <a:lstStyle>
            <a:lvl1pPr>
              <a:defRPr/>
            </a:lvl1pPr>
          </a:lstStyle>
          <a:p>
            <a:pPr>
              <a:defRPr/>
            </a:pPr>
            <a:fld id="{E0A186F3-B13D-4A9D-8090-96110B8ED16A}" type="datetimeFigureOut">
              <a:rPr lang="es-MX"/>
              <a:pPr>
                <a:defRPr/>
              </a:pPr>
              <a:t>01/12/2023</a:t>
            </a:fld>
            <a:endParaRPr lang="es-MX"/>
          </a:p>
        </p:txBody>
      </p:sp>
      <p:sp>
        <p:nvSpPr>
          <p:cNvPr id="5" name="Footer Placeholder 4">
            <a:extLst>
              <a:ext uri="{FF2B5EF4-FFF2-40B4-BE49-F238E27FC236}">
                <a16:creationId xmlns:a16="http://schemas.microsoft.com/office/drawing/2014/main" id="{E0EFB00E-F12C-1F19-1FB9-874FBF58E6D4}"/>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F1F003B7-96ED-AFAB-AAF4-2C5AC02DFCFD}"/>
              </a:ext>
            </a:extLst>
          </p:cNvPr>
          <p:cNvSpPr>
            <a:spLocks noGrp="1"/>
          </p:cNvSpPr>
          <p:nvPr>
            <p:ph type="sldNum" sz="quarter" idx="12"/>
          </p:nvPr>
        </p:nvSpPr>
        <p:spPr/>
        <p:txBody>
          <a:bodyPr/>
          <a:lstStyle>
            <a:lvl1pPr>
              <a:defRPr/>
            </a:lvl1pPr>
          </a:lstStyle>
          <a:p>
            <a:pPr>
              <a:defRPr/>
            </a:pPr>
            <a:fld id="{1D9138F4-0FD6-418B-8D85-6FD3A54DD679}" type="slidenum">
              <a:rPr lang="es-MX"/>
              <a:pPr>
                <a:defRPr/>
              </a:pPr>
              <a:t>‹#›</a:t>
            </a:fld>
            <a:endParaRPr lang="es-MX"/>
          </a:p>
        </p:txBody>
      </p:sp>
    </p:spTree>
    <p:extLst>
      <p:ext uri="{BB962C8B-B14F-4D97-AF65-F5344CB8AC3E}">
        <p14:creationId xmlns:p14="http://schemas.microsoft.com/office/powerpoint/2010/main" val="25496156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F67D1726-4B62-63C5-39FB-79DBF57F0BF3}"/>
              </a:ext>
            </a:extLst>
          </p:cNvPr>
          <p:cNvSpPr>
            <a:spLocks noGrp="1"/>
          </p:cNvSpPr>
          <p:nvPr>
            <p:ph type="dt" sz="half" idx="10"/>
          </p:nvPr>
        </p:nvSpPr>
        <p:spPr/>
        <p:txBody>
          <a:bodyPr/>
          <a:lstStyle>
            <a:lvl1pPr>
              <a:defRPr/>
            </a:lvl1pPr>
          </a:lstStyle>
          <a:p>
            <a:pPr>
              <a:defRPr/>
            </a:pPr>
            <a:fld id="{116054E0-DEF1-475D-B413-C8CD6793FD8B}" type="datetimeFigureOut">
              <a:rPr lang="es-MX"/>
              <a:pPr>
                <a:defRPr/>
              </a:pPr>
              <a:t>01/12/2023</a:t>
            </a:fld>
            <a:endParaRPr lang="es-MX"/>
          </a:p>
        </p:txBody>
      </p:sp>
      <p:sp>
        <p:nvSpPr>
          <p:cNvPr id="6" name="Footer Placeholder 4">
            <a:extLst>
              <a:ext uri="{FF2B5EF4-FFF2-40B4-BE49-F238E27FC236}">
                <a16:creationId xmlns:a16="http://schemas.microsoft.com/office/drawing/2014/main" id="{D21A1581-CB44-E033-16A7-593715A430C2}"/>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866BF7CD-4E2E-775B-ED7E-ABF591892E5F}"/>
              </a:ext>
            </a:extLst>
          </p:cNvPr>
          <p:cNvSpPr>
            <a:spLocks noGrp="1"/>
          </p:cNvSpPr>
          <p:nvPr>
            <p:ph type="sldNum" sz="quarter" idx="12"/>
          </p:nvPr>
        </p:nvSpPr>
        <p:spPr/>
        <p:txBody>
          <a:bodyPr/>
          <a:lstStyle>
            <a:lvl1pPr>
              <a:defRPr/>
            </a:lvl1pPr>
          </a:lstStyle>
          <a:p>
            <a:pPr>
              <a:defRPr/>
            </a:pPr>
            <a:fld id="{93C7FA56-5F70-4A09-BAF2-05BDB11EDF55}" type="slidenum">
              <a:rPr lang="es-MX"/>
              <a:pPr>
                <a:defRPr/>
              </a:pPr>
              <a:t>‹#›</a:t>
            </a:fld>
            <a:endParaRPr lang="es-MX"/>
          </a:p>
        </p:txBody>
      </p:sp>
    </p:spTree>
    <p:extLst>
      <p:ext uri="{BB962C8B-B14F-4D97-AF65-F5344CB8AC3E}">
        <p14:creationId xmlns:p14="http://schemas.microsoft.com/office/powerpoint/2010/main" val="22550693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MX"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B05F1DED-BB6C-2551-1037-65B1070919A9}"/>
              </a:ext>
            </a:extLst>
          </p:cNvPr>
          <p:cNvSpPr>
            <a:spLocks noGrp="1"/>
          </p:cNvSpPr>
          <p:nvPr>
            <p:ph type="dt" sz="half" idx="10"/>
          </p:nvPr>
        </p:nvSpPr>
        <p:spPr/>
        <p:txBody>
          <a:bodyPr/>
          <a:lstStyle>
            <a:lvl1pPr>
              <a:defRPr/>
            </a:lvl1pPr>
          </a:lstStyle>
          <a:p>
            <a:pPr>
              <a:defRPr/>
            </a:pPr>
            <a:fld id="{464E5CE7-320D-4BBF-AEEB-3D081BB6E75E}" type="datetimeFigureOut">
              <a:rPr lang="es-MX"/>
              <a:pPr>
                <a:defRPr/>
              </a:pPr>
              <a:t>01/12/2023</a:t>
            </a:fld>
            <a:endParaRPr lang="es-MX"/>
          </a:p>
        </p:txBody>
      </p:sp>
      <p:sp>
        <p:nvSpPr>
          <p:cNvPr id="6" name="Footer Placeholder 4">
            <a:extLst>
              <a:ext uri="{FF2B5EF4-FFF2-40B4-BE49-F238E27FC236}">
                <a16:creationId xmlns:a16="http://schemas.microsoft.com/office/drawing/2014/main" id="{5439F604-A7AA-619C-B1C3-875BFB61E401}"/>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2C9AD215-5763-29A3-33A9-7FEF2AE213F7}"/>
              </a:ext>
            </a:extLst>
          </p:cNvPr>
          <p:cNvSpPr>
            <a:spLocks noGrp="1"/>
          </p:cNvSpPr>
          <p:nvPr>
            <p:ph type="sldNum" sz="quarter" idx="12"/>
          </p:nvPr>
        </p:nvSpPr>
        <p:spPr/>
        <p:txBody>
          <a:bodyPr/>
          <a:lstStyle>
            <a:lvl1pPr>
              <a:defRPr/>
            </a:lvl1pPr>
          </a:lstStyle>
          <a:p>
            <a:pPr>
              <a:defRPr/>
            </a:pPr>
            <a:fld id="{B1DF4208-2348-47F3-9850-E41173789577}" type="slidenum">
              <a:rPr lang="es-MX"/>
              <a:pPr>
                <a:defRPr/>
              </a:pPr>
              <a:t>‹#›</a:t>
            </a:fld>
            <a:endParaRPr lang="es-MX"/>
          </a:p>
        </p:txBody>
      </p:sp>
    </p:spTree>
    <p:extLst>
      <p:ext uri="{BB962C8B-B14F-4D97-AF65-F5344CB8AC3E}">
        <p14:creationId xmlns:p14="http://schemas.microsoft.com/office/powerpoint/2010/main" val="27854647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8B2A397B-8B22-BAD8-6881-68E5A65A6FA1}"/>
              </a:ext>
            </a:extLst>
          </p:cNvPr>
          <p:cNvSpPr>
            <a:spLocks noGrp="1"/>
          </p:cNvSpPr>
          <p:nvPr>
            <p:ph type="dt" sz="half" idx="10"/>
          </p:nvPr>
        </p:nvSpPr>
        <p:spPr/>
        <p:txBody>
          <a:bodyPr/>
          <a:lstStyle>
            <a:lvl1pPr>
              <a:defRPr/>
            </a:lvl1pPr>
          </a:lstStyle>
          <a:p>
            <a:pPr>
              <a:defRPr/>
            </a:pPr>
            <a:fld id="{129DA9C3-941A-4397-A129-19B5230B4B95}" type="datetimeFigureOut">
              <a:rPr lang="es-MX"/>
              <a:pPr>
                <a:defRPr/>
              </a:pPr>
              <a:t>01/12/2023</a:t>
            </a:fld>
            <a:endParaRPr lang="es-MX"/>
          </a:p>
        </p:txBody>
      </p:sp>
      <p:sp>
        <p:nvSpPr>
          <p:cNvPr id="5" name="Footer Placeholder 4">
            <a:extLst>
              <a:ext uri="{FF2B5EF4-FFF2-40B4-BE49-F238E27FC236}">
                <a16:creationId xmlns:a16="http://schemas.microsoft.com/office/drawing/2014/main" id="{88D26822-D552-9331-0078-BCEEDEC77583}"/>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79BC4D7B-2F10-0A35-DB69-1BDF3E820292}"/>
              </a:ext>
            </a:extLst>
          </p:cNvPr>
          <p:cNvSpPr>
            <a:spLocks noGrp="1"/>
          </p:cNvSpPr>
          <p:nvPr>
            <p:ph type="sldNum" sz="quarter" idx="12"/>
          </p:nvPr>
        </p:nvSpPr>
        <p:spPr/>
        <p:txBody>
          <a:bodyPr/>
          <a:lstStyle>
            <a:lvl1pPr>
              <a:defRPr/>
            </a:lvl1pPr>
          </a:lstStyle>
          <a:p>
            <a:pPr>
              <a:defRPr/>
            </a:pPr>
            <a:fld id="{FCD211A8-3A3D-4636-8D16-B728042B13C7}" type="slidenum">
              <a:rPr lang="es-MX"/>
              <a:pPr>
                <a:defRPr/>
              </a:pPr>
              <a:t>‹#›</a:t>
            </a:fld>
            <a:endParaRPr lang="es-MX"/>
          </a:p>
        </p:txBody>
      </p:sp>
    </p:spTree>
    <p:extLst>
      <p:ext uri="{BB962C8B-B14F-4D97-AF65-F5344CB8AC3E}">
        <p14:creationId xmlns:p14="http://schemas.microsoft.com/office/powerpoint/2010/main" val="38715019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s-MX"/>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31D46B4E-468E-213B-51B5-5C94622C7353}"/>
              </a:ext>
            </a:extLst>
          </p:cNvPr>
          <p:cNvSpPr>
            <a:spLocks noGrp="1"/>
          </p:cNvSpPr>
          <p:nvPr>
            <p:ph type="dt" sz="half" idx="10"/>
          </p:nvPr>
        </p:nvSpPr>
        <p:spPr/>
        <p:txBody>
          <a:bodyPr/>
          <a:lstStyle>
            <a:lvl1pPr>
              <a:defRPr/>
            </a:lvl1pPr>
          </a:lstStyle>
          <a:p>
            <a:pPr>
              <a:defRPr/>
            </a:pPr>
            <a:fld id="{D3062E7F-FCA4-4A10-85B8-5981D5D072CD}" type="datetimeFigureOut">
              <a:rPr lang="es-MX"/>
              <a:pPr>
                <a:defRPr/>
              </a:pPr>
              <a:t>01/12/2023</a:t>
            </a:fld>
            <a:endParaRPr lang="es-MX"/>
          </a:p>
        </p:txBody>
      </p:sp>
      <p:sp>
        <p:nvSpPr>
          <p:cNvPr id="5" name="Footer Placeholder 4">
            <a:extLst>
              <a:ext uri="{FF2B5EF4-FFF2-40B4-BE49-F238E27FC236}">
                <a16:creationId xmlns:a16="http://schemas.microsoft.com/office/drawing/2014/main" id="{F261B31D-BD34-A7EC-C8AC-40E254D2259D}"/>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3022F31D-2193-36DA-CB67-3AE53E6CE9F0}"/>
              </a:ext>
            </a:extLst>
          </p:cNvPr>
          <p:cNvSpPr>
            <a:spLocks noGrp="1"/>
          </p:cNvSpPr>
          <p:nvPr>
            <p:ph type="sldNum" sz="quarter" idx="12"/>
          </p:nvPr>
        </p:nvSpPr>
        <p:spPr/>
        <p:txBody>
          <a:bodyPr/>
          <a:lstStyle>
            <a:lvl1pPr>
              <a:defRPr/>
            </a:lvl1pPr>
          </a:lstStyle>
          <a:p>
            <a:pPr>
              <a:defRPr/>
            </a:pPr>
            <a:fld id="{B0FB6180-5085-40C9-88F8-3D6779B03785}" type="slidenum">
              <a:rPr lang="es-MX"/>
              <a:pPr>
                <a:defRPr/>
              </a:pPr>
              <a:t>‹#›</a:t>
            </a:fld>
            <a:endParaRPr lang="es-MX"/>
          </a:p>
        </p:txBody>
      </p:sp>
    </p:spTree>
    <p:extLst>
      <p:ext uri="{BB962C8B-B14F-4D97-AF65-F5344CB8AC3E}">
        <p14:creationId xmlns:p14="http://schemas.microsoft.com/office/powerpoint/2010/main" val="522238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3DAEE8EA-9A1A-76E8-D565-0E19D55673B7}"/>
              </a:ext>
            </a:extLst>
          </p:cNvPr>
          <p:cNvSpPr>
            <a:spLocks noGrp="1"/>
          </p:cNvSpPr>
          <p:nvPr>
            <p:ph type="dt" sz="half" idx="10"/>
          </p:nvPr>
        </p:nvSpPr>
        <p:spPr/>
        <p:txBody>
          <a:bodyPr/>
          <a:lstStyle>
            <a:lvl1pPr>
              <a:defRPr/>
            </a:lvl1pPr>
          </a:lstStyle>
          <a:p>
            <a:pPr>
              <a:defRPr/>
            </a:pPr>
            <a:fld id="{240B7DA3-38FE-4FCB-8B75-499491157230}" type="datetimeFigureOut">
              <a:rPr lang="es-MX"/>
              <a:pPr>
                <a:defRPr/>
              </a:pPr>
              <a:t>01/12/2023</a:t>
            </a:fld>
            <a:endParaRPr lang="es-MX"/>
          </a:p>
        </p:txBody>
      </p:sp>
      <p:sp>
        <p:nvSpPr>
          <p:cNvPr id="5" name="Footer Placeholder 4">
            <a:extLst>
              <a:ext uri="{FF2B5EF4-FFF2-40B4-BE49-F238E27FC236}">
                <a16:creationId xmlns:a16="http://schemas.microsoft.com/office/drawing/2014/main" id="{55B3220B-92E3-59BB-5765-BC296189B0F8}"/>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BA27CFD8-3919-FD47-41B7-8D4C13466546}"/>
              </a:ext>
            </a:extLst>
          </p:cNvPr>
          <p:cNvSpPr>
            <a:spLocks noGrp="1"/>
          </p:cNvSpPr>
          <p:nvPr>
            <p:ph type="sldNum" sz="quarter" idx="12"/>
          </p:nvPr>
        </p:nvSpPr>
        <p:spPr/>
        <p:txBody>
          <a:bodyPr/>
          <a:lstStyle>
            <a:lvl1pPr>
              <a:defRPr/>
            </a:lvl1pPr>
          </a:lstStyle>
          <a:p>
            <a:pPr>
              <a:defRPr/>
            </a:pPr>
            <a:fld id="{7B459247-B6D2-4B40-9612-700A6B4C85B7}" type="slidenum">
              <a:rPr lang="es-MX"/>
              <a:pPr>
                <a:defRPr/>
              </a:pPr>
              <a:t>‹#›</a:t>
            </a:fld>
            <a:endParaRPr lang="es-MX"/>
          </a:p>
        </p:txBody>
      </p:sp>
    </p:spTree>
    <p:extLst>
      <p:ext uri="{BB962C8B-B14F-4D97-AF65-F5344CB8AC3E}">
        <p14:creationId xmlns:p14="http://schemas.microsoft.com/office/powerpoint/2010/main" val="11228555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713B86CF-D74F-37F4-A9B4-0C79EE6F6EA7}"/>
              </a:ext>
            </a:extLst>
          </p:cNvPr>
          <p:cNvSpPr>
            <a:spLocks noGrp="1"/>
          </p:cNvSpPr>
          <p:nvPr>
            <p:ph type="dt" sz="half" idx="10"/>
          </p:nvPr>
        </p:nvSpPr>
        <p:spPr/>
        <p:txBody>
          <a:bodyPr/>
          <a:lstStyle>
            <a:lvl1pPr>
              <a:defRPr/>
            </a:lvl1pPr>
          </a:lstStyle>
          <a:p>
            <a:pPr>
              <a:defRPr/>
            </a:pPr>
            <a:fld id="{268B5171-6C74-42A7-8563-49BC0FC7582A}" type="datetimeFigureOut">
              <a:rPr lang="es-MX"/>
              <a:pPr>
                <a:defRPr/>
              </a:pPr>
              <a:t>01/12/2023</a:t>
            </a:fld>
            <a:endParaRPr lang="es-MX"/>
          </a:p>
        </p:txBody>
      </p:sp>
      <p:sp>
        <p:nvSpPr>
          <p:cNvPr id="5" name="Footer Placeholder 4">
            <a:extLst>
              <a:ext uri="{FF2B5EF4-FFF2-40B4-BE49-F238E27FC236}">
                <a16:creationId xmlns:a16="http://schemas.microsoft.com/office/drawing/2014/main" id="{8EBE7056-D620-602B-B643-FB1FB4C952D6}"/>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91AD9B55-957E-5F3F-954F-6C756560485E}"/>
              </a:ext>
            </a:extLst>
          </p:cNvPr>
          <p:cNvSpPr>
            <a:spLocks noGrp="1"/>
          </p:cNvSpPr>
          <p:nvPr>
            <p:ph type="sldNum" sz="quarter" idx="12"/>
          </p:nvPr>
        </p:nvSpPr>
        <p:spPr/>
        <p:txBody>
          <a:bodyPr/>
          <a:lstStyle>
            <a:lvl1pPr>
              <a:defRPr/>
            </a:lvl1pPr>
          </a:lstStyle>
          <a:p>
            <a:pPr>
              <a:defRPr/>
            </a:pPr>
            <a:fld id="{9EA73961-02C7-4F27-A4E8-118F21616273}" type="slidenum">
              <a:rPr lang="es-MX"/>
              <a:pPr>
                <a:defRPr/>
              </a:pPr>
              <a:t>‹#›</a:t>
            </a:fld>
            <a:endParaRPr lang="es-MX"/>
          </a:p>
        </p:txBody>
      </p:sp>
    </p:spTree>
    <p:extLst>
      <p:ext uri="{BB962C8B-B14F-4D97-AF65-F5344CB8AC3E}">
        <p14:creationId xmlns:p14="http://schemas.microsoft.com/office/powerpoint/2010/main" val="15144247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es-MX"/>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33A7F2-B668-524D-15E1-0C4CDCA1351E}"/>
              </a:ext>
            </a:extLst>
          </p:cNvPr>
          <p:cNvSpPr>
            <a:spLocks noGrp="1"/>
          </p:cNvSpPr>
          <p:nvPr>
            <p:ph type="dt" sz="half" idx="10"/>
          </p:nvPr>
        </p:nvSpPr>
        <p:spPr/>
        <p:txBody>
          <a:bodyPr/>
          <a:lstStyle>
            <a:lvl1pPr>
              <a:defRPr/>
            </a:lvl1pPr>
          </a:lstStyle>
          <a:p>
            <a:pPr>
              <a:defRPr/>
            </a:pPr>
            <a:fld id="{4E6F232E-C9DE-4AD7-84BF-3B292D386790}" type="datetimeFigureOut">
              <a:rPr lang="es-MX"/>
              <a:pPr>
                <a:defRPr/>
              </a:pPr>
              <a:t>01/12/2023</a:t>
            </a:fld>
            <a:endParaRPr lang="es-MX"/>
          </a:p>
        </p:txBody>
      </p:sp>
      <p:sp>
        <p:nvSpPr>
          <p:cNvPr id="5" name="Footer Placeholder 4">
            <a:extLst>
              <a:ext uri="{FF2B5EF4-FFF2-40B4-BE49-F238E27FC236}">
                <a16:creationId xmlns:a16="http://schemas.microsoft.com/office/drawing/2014/main" id="{D73BFDD8-CD98-842D-6692-14DABF07D8DF}"/>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4AD754E2-0061-C15A-7454-C9772A5438D9}"/>
              </a:ext>
            </a:extLst>
          </p:cNvPr>
          <p:cNvSpPr>
            <a:spLocks noGrp="1"/>
          </p:cNvSpPr>
          <p:nvPr>
            <p:ph type="sldNum" sz="quarter" idx="12"/>
          </p:nvPr>
        </p:nvSpPr>
        <p:spPr/>
        <p:txBody>
          <a:bodyPr/>
          <a:lstStyle>
            <a:lvl1pPr>
              <a:defRPr/>
            </a:lvl1pPr>
          </a:lstStyle>
          <a:p>
            <a:pPr>
              <a:defRPr/>
            </a:pPr>
            <a:fld id="{2A33F036-E227-4293-A4AB-7166AA86F010}" type="slidenum">
              <a:rPr lang="es-MX"/>
              <a:pPr>
                <a:defRPr/>
              </a:pPr>
              <a:t>‹#›</a:t>
            </a:fld>
            <a:endParaRPr lang="es-MX"/>
          </a:p>
        </p:txBody>
      </p:sp>
    </p:spTree>
    <p:extLst>
      <p:ext uri="{BB962C8B-B14F-4D97-AF65-F5344CB8AC3E}">
        <p14:creationId xmlns:p14="http://schemas.microsoft.com/office/powerpoint/2010/main" val="5072539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sz="half" idx="1"/>
          </p:nvPr>
        </p:nvSpPr>
        <p:spPr>
          <a:xfrm>
            <a:off x="838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p:cNvSpPr>
            <a:spLocks noGrp="1"/>
          </p:cNvSpPr>
          <p:nvPr>
            <p:ph sz="half" idx="2"/>
          </p:nvPr>
        </p:nvSpPr>
        <p:spPr>
          <a:xfrm>
            <a:off x="6172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3">
            <a:extLst>
              <a:ext uri="{FF2B5EF4-FFF2-40B4-BE49-F238E27FC236}">
                <a16:creationId xmlns:a16="http://schemas.microsoft.com/office/drawing/2014/main" id="{0FC6E695-CF30-669E-4AC6-6199069247A7}"/>
              </a:ext>
            </a:extLst>
          </p:cNvPr>
          <p:cNvSpPr>
            <a:spLocks noGrp="1"/>
          </p:cNvSpPr>
          <p:nvPr>
            <p:ph type="dt" sz="half" idx="10"/>
          </p:nvPr>
        </p:nvSpPr>
        <p:spPr/>
        <p:txBody>
          <a:bodyPr/>
          <a:lstStyle>
            <a:lvl1pPr>
              <a:defRPr/>
            </a:lvl1pPr>
          </a:lstStyle>
          <a:p>
            <a:pPr>
              <a:defRPr/>
            </a:pPr>
            <a:fld id="{9B3C2305-8643-4F20-A7A5-C0C858C09203}" type="datetimeFigureOut">
              <a:rPr lang="es-MX"/>
              <a:pPr>
                <a:defRPr/>
              </a:pPr>
              <a:t>01/12/2023</a:t>
            </a:fld>
            <a:endParaRPr lang="es-MX"/>
          </a:p>
        </p:txBody>
      </p:sp>
      <p:sp>
        <p:nvSpPr>
          <p:cNvPr id="6" name="Footer Placeholder 4">
            <a:extLst>
              <a:ext uri="{FF2B5EF4-FFF2-40B4-BE49-F238E27FC236}">
                <a16:creationId xmlns:a16="http://schemas.microsoft.com/office/drawing/2014/main" id="{4D4DF390-CF1A-99DF-ECDD-A87A1C2DCA2A}"/>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9378EA46-8D07-B1A6-2266-17C9E5D7B629}"/>
              </a:ext>
            </a:extLst>
          </p:cNvPr>
          <p:cNvSpPr>
            <a:spLocks noGrp="1"/>
          </p:cNvSpPr>
          <p:nvPr>
            <p:ph type="sldNum" sz="quarter" idx="12"/>
          </p:nvPr>
        </p:nvSpPr>
        <p:spPr/>
        <p:txBody>
          <a:bodyPr/>
          <a:lstStyle>
            <a:lvl1pPr>
              <a:defRPr/>
            </a:lvl1pPr>
          </a:lstStyle>
          <a:p>
            <a:pPr>
              <a:defRPr/>
            </a:pPr>
            <a:fld id="{CC5903ED-D9F9-47CB-9F13-080023589EA1}" type="slidenum">
              <a:rPr lang="es-MX"/>
              <a:pPr>
                <a:defRPr/>
              </a:pPr>
              <a:t>‹#›</a:t>
            </a:fld>
            <a:endParaRPr lang="es-MX"/>
          </a:p>
        </p:txBody>
      </p:sp>
    </p:spTree>
    <p:extLst>
      <p:ext uri="{BB962C8B-B14F-4D97-AF65-F5344CB8AC3E}">
        <p14:creationId xmlns:p14="http://schemas.microsoft.com/office/powerpoint/2010/main" val="27670262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s-MX"/>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3">
            <a:extLst>
              <a:ext uri="{FF2B5EF4-FFF2-40B4-BE49-F238E27FC236}">
                <a16:creationId xmlns:a16="http://schemas.microsoft.com/office/drawing/2014/main" id="{05C19A62-5B33-96E8-9CC6-FE27B9B0CACB}"/>
              </a:ext>
            </a:extLst>
          </p:cNvPr>
          <p:cNvSpPr>
            <a:spLocks noGrp="1"/>
          </p:cNvSpPr>
          <p:nvPr>
            <p:ph type="dt" sz="half" idx="10"/>
          </p:nvPr>
        </p:nvSpPr>
        <p:spPr/>
        <p:txBody>
          <a:bodyPr/>
          <a:lstStyle>
            <a:lvl1pPr>
              <a:defRPr/>
            </a:lvl1pPr>
          </a:lstStyle>
          <a:p>
            <a:pPr>
              <a:defRPr/>
            </a:pPr>
            <a:fld id="{709C9C31-7901-46CF-8AC8-C6F11DAE4EE2}" type="datetimeFigureOut">
              <a:rPr lang="es-MX"/>
              <a:pPr>
                <a:defRPr/>
              </a:pPr>
              <a:t>01/12/2023</a:t>
            </a:fld>
            <a:endParaRPr lang="es-MX"/>
          </a:p>
        </p:txBody>
      </p:sp>
      <p:sp>
        <p:nvSpPr>
          <p:cNvPr id="8" name="Footer Placeholder 4">
            <a:extLst>
              <a:ext uri="{FF2B5EF4-FFF2-40B4-BE49-F238E27FC236}">
                <a16:creationId xmlns:a16="http://schemas.microsoft.com/office/drawing/2014/main" id="{E4E3E22C-2B30-A08A-4EA6-A52C511C75A2}"/>
              </a:ext>
            </a:extLst>
          </p:cNvPr>
          <p:cNvSpPr>
            <a:spLocks noGrp="1"/>
          </p:cNvSpPr>
          <p:nvPr>
            <p:ph type="ftr" sz="quarter" idx="11"/>
          </p:nvPr>
        </p:nvSpPr>
        <p:spPr/>
        <p:txBody>
          <a:bodyPr/>
          <a:lstStyle>
            <a:lvl1pPr>
              <a:defRPr/>
            </a:lvl1pPr>
          </a:lstStyle>
          <a:p>
            <a:pPr>
              <a:defRPr/>
            </a:pPr>
            <a:endParaRPr lang="es-MX"/>
          </a:p>
        </p:txBody>
      </p:sp>
      <p:sp>
        <p:nvSpPr>
          <p:cNvPr id="9" name="Slide Number Placeholder 5">
            <a:extLst>
              <a:ext uri="{FF2B5EF4-FFF2-40B4-BE49-F238E27FC236}">
                <a16:creationId xmlns:a16="http://schemas.microsoft.com/office/drawing/2014/main" id="{24B94731-BD8B-FD7F-D70A-85B5DD11F97D}"/>
              </a:ext>
            </a:extLst>
          </p:cNvPr>
          <p:cNvSpPr>
            <a:spLocks noGrp="1"/>
          </p:cNvSpPr>
          <p:nvPr>
            <p:ph type="sldNum" sz="quarter" idx="12"/>
          </p:nvPr>
        </p:nvSpPr>
        <p:spPr/>
        <p:txBody>
          <a:bodyPr/>
          <a:lstStyle>
            <a:lvl1pPr>
              <a:defRPr/>
            </a:lvl1pPr>
          </a:lstStyle>
          <a:p>
            <a:pPr>
              <a:defRPr/>
            </a:pPr>
            <a:fld id="{08DD54AF-EA0E-4F82-8B70-CEBFAB9BE375}" type="slidenum">
              <a:rPr lang="es-MX"/>
              <a:pPr>
                <a:defRPr/>
              </a:pPr>
              <a:t>‹#›</a:t>
            </a:fld>
            <a:endParaRPr lang="es-MX"/>
          </a:p>
        </p:txBody>
      </p:sp>
    </p:spTree>
    <p:extLst>
      <p:ext uri="{BB962C8B-B14F-4D97-AF65-F5344CB8AC3E}">
        <p14:creationId xmlns:p14="http://schemas.microsoft.com/office/powerpoint/2010/main" val="32263904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Date Placeholder 3">
            <a:extLst>
              <a:ext uri="{FF2B5EF4-FFF2-40B4-BE49-F238E27FC236}">
                <a16:creationId xmlns:a16="http://schemas.microsoft.com/office/drawing/2014/main" id="{6297C18A-6C2D-01BE-785F-94A7393A8A25}"/>
              </a:ext>
            </a:extLst>
          </p:cNvPr>
          <p:cNvSpPr>
            <a:spLocks noGrp="1"/>
          </p:cNvSpPr>
          <p:nvPr>
            <p:ph type="dt" sz="half" idx="10"/>
          </p:nvPr>
        </p:nvSpPr>
        <p:spPr/>
        <p:txBody>
          <a:bodyPr/>
          <a:lstStyle>
            <a:lvl1pPr>
              <a:defRPr/>
            </a:lvl1pPr>
          </a:lstStyle>
          <a:p>
            <a:pPr>
              <a:defRPr/>
            </a:pPr>
            <a:fld id="{ADC35B3C-70A9-40A9-B57F-F0009D0D3011}" type="datetimeFigureOut">
              <a:rPr lang="es-MX"/>
              <a:pPr>
                <a:defRPr/>
              </a:pPr>
              <a:t>01/12/2023</a:t>
            </a:fld>
            <a:endParaRPr lang="es-MX"/>
          </a:p>
        </p:txBody>
      </p:sp>
      <p:sp>
        <p:nvSpPr>
          <p:cNvPr id="4" name="Footer Placeholder 4">
            <a:extLst>
              <a:ext uri="{FF2B5EF4-FFF2-40B4-BE49-F238E27FC236}">
                <a16:creationId xmlns:a16="http://schemas.microsoft.com/office/drawing/2014/main" id="{324EB85C-8BB6-5C65-4821-F433B070E5B4}"/>
              </a:ext>
            </a:extLst>
          </p:cNvPr>
          <p:cNvSpPr>
            <a:spLocks noGrp="1"/>
          </p:cNvSpPr>
          <p:nvPr>
            <p:ph type="ftr" sz="quarter" idx="11"/>
          </p:nvPr>
        </p:nvSpPr>
        <p:spPr/>
        <p:txBody>
          <a:bodyPr/>
          <a:lstStyle>
            <a:lvl1pPr>
              <a:defRPr/>
            </a:lvl1pPr>
          </a:lstStyle>
          <a:p>
            <a:pPr>
              <a:defRPr/>
            </a:pPr>
            <a:endParaRPr lang="es-MX"/>
          </a:p>
        </p:txBody>
      </p:sp>
      <p:sp>
        <p:nvSpPr>
          <p:cNvPr id="5" name="Slide Number Placeholder 5">
            <a:extLst>
              <a:ext uri="{FF2B5EF4-FFF2-40B4-BE49-F238E27FC236}">
                <a16:creationId xmlns:a16="http://schemas.microsoft.com/office/drawing/2014/main" id="{AF38AE5B-09E7-F202-6189-8601EC1A2EB4}"/>
              </a:ext>
            </a:extLst>
          </p:cNvPr>
          <p:cNvSpPr>
            <a:spLocks noGrp="1"/>
          </p:cNvSpPr>
          <p:nvPr>
            <p:ph type="sldNum" sz="quarter" idx="12"/>
          </p:nvPr>
        </p:nvSpPr>
        <p:spPr/>
        <p:txBody>
          <a:bodyPr/>
          <a:lstStyle>
            <a:lvl1pPr>
              <a:defRPr/>
            </a:lvl1pPr>
          </a:lstStyle>
          <a:p>
            <a:pPr>
              <a:defRPr/>
            </a:pPr>
            <a:fld id="{80ADA10C-150C-4B26-818C-C883EB6C09AF}" type="slidenum">
              <a:rPr lang="es-MX"/>
              <a:pPr>
                <a:defRPr/>
              </a:pPr>
              <a:t>‹#›</a:t>
            </a:fld>
            <a:endParaRPr lang="es-MX"/>
          </a:p>
        </p:txBody>
      </p:sp>
    </p:spTree>
    <p:extLst>
      <p:ext uri="{BB962C8B-B14F-4D97-AF65-F5344CB8AC3E}">
        <p14:creationId xmlns:p14="http://schemas.microsoft.com/office/powerpoint/2010/main" val="316557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3">
            <a:extLst>
              <a:ext uri="{FF2B5EF4-FFF2-40B4-BE49-F238E27FC236}">
                <a16:creationId xmlns:a16="http://schemas.microsoft.com/office/drawing/2014/main" id="{1103ADB0-28C9-433A-774C-651451448FAD}"/>
              </a:ext>
            </a:extLst>
          </p:cNvPr>
          <p:cNvSpPr>
            <a:spLocks noGrp="1"/>
          </p:cNvSpPr>
          <p:nvPr>
            <p:ph type="dt" sz="half" idx="10"/>
          </p:nvPr>
        </p:nvSpPr>
        <p:spPr/>
        <p:txBody>
          <a:bodyPr/>
          <a:lstStyle>
            <a:lvl1pPr>
              <a:defRPr/>
            </a:lvl1pPr>
          </a:lstStyle>
          <a:p>
            <a:pPr>
              <a:defRPr/>
            </a:pPr>
            <a:fld id="{D50B8856-3A71-4CDA-B956-42EF0E4CAE62}" type="datetimeFigureOut">
              <a:rPr lang="es-MX"/>
              <a:pPr>
                <a:defRPr/>
              </a:pPr>
              <a:t>01/12/2023</a:t>
            </a:fld>
            <a:endParaRPr lang="es-MX"/>
          </a:p>
        </p:txBody>
      </p:sp>
      <p:sp>
        <p:nvSpPr>
          <p:cNvPr id="6" name="Footer Placeholder 4">
            <a:extLst>
              <a:ext uri="{FF2B5EF4-FFF2-40B4-BE49-F238E27FC236}">
                <a16:creationId xmlns:a16="http://schemas.microsoft.com/office/drawing/2014/main" id="{8C18467B-4331-44C6-068C-93B3097F2B4F}"/>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B7F96F9B-1859-8A48-761B-41AFDE7AD5F6}"/>
              </a:ext>
            </a:extLst>
          </p:cNvPr>
          <p:cNvSpPr>
            <a:spLocks noGrp="1"/>
          </p:cNvSpPr>
          <p:nvPr>
            <p:ph type="sldNum" sz="quarter" idx="12"/>
          </p:nvPr>
        </p:nvSpPr>
        <p:spPr/>
        <p:txBody>
          <a:bodyPr/>
          <a:lstStyle>
            <a:lvl1pPr>
              <a:defRPr/>
            </a:lvl1pPr>
          </a:lstStyle>
          <a:p>
            <a:pPr>
              <a:defRPr/>
            </a:pPr>
            <a:fld id="{AFD22666-38AD-4929-A1A6-A0E566B0FBCD}" type="slidenum">
              <a:rPr lang="es-MX"/>
              <a:pPr>
                <a:defRPr/>
              </a:pPr>
              <a:t>‹#›</a:t>
            </a:fld>
            <a:endParaRPr lang="es-MX"/>
          </a:p>
        </p:txBody>
      </p:sp>
    </p:spTree>
    <p:extLst>
      <p:ext uri="{BB962C8B-B14F-4D97-AF65-F5344CB8AC3E}">
        <p14:creationId xmlns:p14="http://schemas.microsoft.com/office/powerpoint/2010/main" val="31926005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37055DBA-6C16-C2ED-EE75-B8139F340612}"/>
              </a:ext>
            </a:extLst>
          </p:cNvPr>
          <p:cNvSpPr>
            <a:spLocks noGrp="1"/>
          </p:cNvSpPr>
          <p:nvPr>
            <p:ph type="dt" sz="half" idx="10"/>
          </p:nvPr>
        </p:nvSpPr>
        <p:spPr/>
        <p:txBody>
          <a:bodyPr/>
          <a:lstStyle>
            <a:lvl1pPr>
              <a:defRPr/>
            </a:lvl1pPr>
          </a:lstStyle>
          <a:p>
            <a:pPr>
              <a:defRPr/>
            </a:pPr>
            <a:fld id="{DF2DD2E8-5362-436D-8294-8B962211946B}" type="datetimeFigureOut">
              <a:rPr lang="es-MX"/>
              <a:pPr>
                <a:defRPr/>
              </a:pPr>
              <a:t>01/12/2023</a:t>
            </a:fld>
            <a:endParaRPr lang="es-MX"/>
          </a:p>
        </p:txBody>
      </p:sp>
      <p:sp>
        <p:nvSpPr>
          <p:cNvPr id="3" name="Footer Placeholder 4">
            <a:extLst>
              <a:ext uri="{FF2B5EF4-FFF2-40B4-BE49-F238E27FC236}">
                <a16:creationId xmlns:a16="http://schemas.microsoft.com/office/drawing/2014/main" id="{821E72E1-D459-1C91-3DE9-43409667B221}"/>
              </a:ext>
            </a:extLst>
          </p:cNvPr>
          <p:cNvSpPr>
            <a:spLocks noGrp="1"/>
          </p:cNvSpPr>
          <p:nvPr>
            <p:ph type="ftr" sz="quarter" idx="11"/>
          </p:nvPr>
        </p:nvSpPr>
        <p:spPr/>
        <p:txBody>
          <a:bodyPr/>
          <a:lstStyle>
            <a:lvl1pPr>
              <a:defRPr/>
            </a:lvl1pPr>
          </a:lstStyle>
          <a:p>
            <a:pPr>
              <a:defRPr/>
            </a:pPr>
            <a:endParaRPr lang="es-MX"/>
          </a:p>
        </p:txBody>
      </p:sp>
      <p:sp>
        <p:nvSpPr>
          <p:cNvPr id="4" name="Slide Number Placeholder 5">
            <a:extLst>
              <a:ext uri="{FF2B5EF4-FFF2-40B4-BE49-F238E27FC236}">
                <a16:creationId xmlns:a16="http://schemas.microsoft.com/office/drawing/2014/main" id="{0AD06A95-BF1B-1C78-AE78-845CEF303DEC}"/>
              </a:ext>
            </a:extLst>
          </p:cNvPr>
          <p:cNvSpPr>
            <a:spLocks noGrp="1"/>
          </p:cNvSpPr>
          <p:nvPr>
            <p:ph type="sldNum" sz="quarter" idx="12"/>
          </p:nvPr>
        </p:nvSpPr>
        <p:spPr/>
        <p:txBody>
          <a:bodyPr/>
          <a:lstStyle>
            <a:lvl1pPr>
              <a:defRPr/>
            </a:lvl1pPr>
          </a:lstStyle>
          <a:p>
            <a:pPr>
              <a:defRPr/>
            </a:pPr>
            <a:fld id="{41B259AE-3EE7-40D2-AF8E-96CADFD19B97}" type="slidenum">
              <a:rPr lang="es-MX"/>
              <a:pPr>
                <a:defRPr/>
              </a:pPr>
              <a:t>‹#›</a:t>
            </a:fld>
            <a:endParaRPr lang="es-MX"/>
          </a:p>
        </p:txBody>
      </p:sp>
    </p:spTree>
    <p:extLst>
      <p:ext uri="{BB962C8B-B14F-4D97-AF65-F5344CB8AC3E}">
        <p14:creationId xmlns:p14="http://schemas.microsoft.com/office/powerpoint/2010/main" val="35472569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s-MX"/>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F972EFBE-2062-CEBB-EC8E-5C301315A6B2}"/>
              </a:ext>
            </a:extLst>
          </p:cNvPr>
          <p:cNvSpPr>
            <a:spLocks noGrp="1"/>
          </p:cNvSpPr>
          <p:nvPr>
            <p:ph type="dt" sz="half" idx="10"/>
          </p:nvPr>
        </p:nvSpPr>
        <p:spPr/>
        <p:txBody>
          <a:bodyPr/>
          <a:lstStyle>
            <a:lvl1pPr>
              <a:defRPr/>
            </a:lvl1pPr>
          </a:lstStyle>
          <a:p>
            <a:pPr>
              <a:defRPr/>
            </a:pPr>
            <a:fld id="{1B3B35FC-A0D7-4F9D-AF8D-BE6D7C5A9F2F}" type="datetimeFigureOut">
              <a:rPr lang="es-MX"/>
              <a:pPr>
                <a:defRPr/>
              </a:pPr>
              <a:t>01/12/2023</a:t>
            </a:fld>
            <a:endParaRPr lang="es-MX"/>
          </a:p>
        </p:txBody>
      </p:sp>
      <p:sp>
        <p:nvSpPr>
          <p:cNvPr id="6" name="Footer Placeholder 4">
            <a:extLst>
              <a:ext uri="{FF2B5EF4-FFF2-40B4-BE49-F238E27FC236}">
                <a16:creationId xmlns:a16="http://schemas.microsoft.com/office/drawing/2014/main" id="{B720D2EA-2E28-7B7A-7CAF-6EDA490DD133}"/>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D62B39AE-4EED-C06F-0453-936A2E350618}"/>
              </a:ext>
            </a:extLst>
          </p:cNvPr>
          <p:cNvSpPr>
            <a:spLocks noGrp="1"/>
          </p:cNvSpPr>
          <p:nvPr>
            <p:ph type="sldNum" sz="quarter" idx="12"/>
          </p:nvPr>
        </p:nvSpPr>
        <p:spPr/>
        <p:txBody>
          <a:bodyPr/>
          <a:lstStyle>
            <a:lvl1pPr>
              <a:defRPr/>
            </a:lvl1pPr>
          </a:lstStyle>
          <a:p>
            <a:pPr>
              <a:defRPr/>
            </a:pPr>
            <a:fld id="{8DAFE56A-A732-47FB-8B83-A58C9CD58374}" type="slidenum">
              <a:rPr lang="es-MX"/>
              <a:pPr>
                <a:defRPr/>
              </a:pPr>
              <a:t>‹#›</a:t>
            </a:fld>
            <a:endParaRPr lang="es-MX"/>
          </a:p>
        </p:txBody>
      </p:sp>
    </p:spTree>
    <p:extLst>
      <p:ext uri="{BB962C8B-B14F-4D97-AF65-F5344CB8AC3E}">
        <p14:creationId xmlns:p14="http://schemas.microsoft.com/office/powerpoint/2010/main" val="19412449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s-MX"/>
          </a:p>
        </p:txBody>
      </p:sp>
      <p:sp>
        <p:nvSpPr>
          <p:cNvPr id="3" name="Picture Placeholder 2"/>
          <p:cNvSpPr>
            <a:spLocks noGrp="1"/>
          </p:cNvSpPr>
          <p:nvPr>
            <p:ph type="pic" idx="1"/>
          </p:nvPr>
        </p:nvSpPr>
        <p:spPr>
          <a:xfrm>
            <a:off x="5183188" y="987426"/>
            <a:ext cx="6172200" cy="4873625"/>
          </a:xfrm>
        </p:spPr>
        <p:txBody>
          <a:bodyPr rtlCol="0">
            <a:normAutofit/>
          </a:bodyPr>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pPr lvl="0"/>
            <a:endParaRPr lang="es-MX" noProof="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DDAA60FC-7C35-2221-A061-2B5435B586FD}"/>
              </a:ext>
            </a:extLst>
          </p:cNvPr>
          <p:cNvSpPr>
            <a:spLocks noGrp="1"/>
          </p:cNvSpPr>
          <p:nvPr>
            <p:ph type="dt" sz="half" idx="10"/>
          </p:nvPr>
        </p:nvSpPr>
        <p:spPr/>
        <p:txBody>
          <a:bodyPr/>
          <a:lstStyle>
            <a:lvl1pPr>
              <a:defRPr/>
            </a:lvl1pPr>
          </a:lstStyle>
          <a:p>
            <a:pPr>
              <a:defRPr/>
            </a:pPr>
            <a:fld id="{DE189799-1672-4D8F-8808-F441CC363AF3}" type="datetimeFigureOut">
              <a:rPr lang="es-MX"/>
              <a:pPr>
                <a:defRPr/>
              </a:pPr>
              <a:t>01/12/2023</a:t>
            </a:fld>
            <a:endParaRPr lang="es-MX"/>
          </a:p>
        </p:txBody>
      </p:sp>
      <p:sp>
        <p:nvSpPr>
          <p:cNvPr id="6" name="Footer Placeholder 4">
            <a:extLst>
              <a:ext uri="{FF2B5EF4-FFF2-40B4-BE49-F238E27FC236}">
                <a16:creationId xmlns:a16="http://schemas.microsoft.com/office/drawing/2014/main" id="{2715BBB1-E692-67C4-7041-62D9F984DF56}"/>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D7DD7D5B-141C-C86A-68C7-8ED511A872F5}"/>
              </a:ext>
            </a:extLst>
          </p:cNvPr>
          <p:cNvSpPr>
            <a:spLocks noGrp="1"/>
          </p:cNvSpPr>
          <p:nvPr>
            <p:ph type="sldNum" sz="quarter" idx="12"/>
          </p:nvPr>
        </p:nvSpPr>
        <p:spPr/>
        <p:txBody>
          <a:bodyPr/>
          <a:lstStyle>
            <a:lvl1pPr>
              <a:defRPr/>
            </a:lvl1pPr>
          </a:lstStyle>
          <a:p>
            <a:pPr>
              <a:defRPr/>
            </a:pPr>
            <a:fld id="{D0504234-5290-4E33-B4E1-8267247AD304}" type="slidenum">
              <a:rPr lang="es-MX"/>
              <a:pPr>
                <a:defRPr/>
              </a:pPr>
              <a:t>‹#›</a:t>
            </a:fld>
            <a:endParaRPr lang="es-MX"/>
          </a:p>
        </p:txBody>
      </p:sp>
    </p:spTree>
    <p:extLst>
      <p:ext uri="{BB962C8B-B14F-4D97-AF65-F5344CB8AC3E}">
        <p14:creationId xmlns:p14="http://schemas.microsoft.com/office/powerpoint/2010/main" val="7529425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1321A0A1-92BC-61B3-328F-A49819D514FD}"/>
              </a:ext>
            </a:extLst>
          </p:cNvPr>
          <p:cNvSpPr>
            <a:spLocks noGrp="1"/>
          </p:cNvSpPr>
          <p:nvPr>
            <p:ph type="dt" sz="half" idx="10"/>
          </p:nvPr>
        </p:nvSpPr>
        <p:spPr/>
        <p:txBody>
          <a:bodyPr/>
          <a:lstStyle>
            <a:lvl1pPr>
              <a:defRPr/>
            </a:lvl1pPr>
          </a:lstStyle>
          <a:p>
            <a:pPr>
              <a:defRPr/>
            </a:pPr>
            <a:fld id="{02D78495-A48F-44D9-9460-75B45FD2FE2E}" type="datetimeFigureOut">
              <a:rPr lang="es-MX"/>
              <a:pPr>
                <a:defRPr/>
              </a:pPr>
              <a:t>01/12/2023</a:t>
            </a:fld>
            <a:endParaRPr lang="es-MX"/>
          </a:p>
        </p:txBody>
      </p:sp>
      <p:sp>
        <p:nvSpPr>
          <p:cNvPr id="5" name="Footer Placeholder 4">
            <a:extLst>
              <a:ext uri="{FF2B5EF4-FFF2-40B4-BE49-F238E27FC236}">
                <a16:creationId xmlns:a16="http://schemas.microsoft.com/office/drawing/2014/main" id="{465DFAF9-838C-8290-3822-C59D17D893A9}"/>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916EB680-2020-9809-5B6E-1686B5E331D3}"/>
              </a:ext>
            </a:extLst>
          </p:cNvPr>
          <p:cNvSpPr>
            <a:spLocks noGrp="1"/>
          </p:cNvSpPr>
          <p:nvPr>
            <p:ph type="sldNum" sz="quarter" idx="12"/>
          </p:nvPr>
        </p:nvSpPr>
        <p:spPr/>
        <p:txBody>
          <a:bodyPr/>
          <a:lstStyle>
            <a:lvl1pPr>
              <a:defRPr/>
            </a:lvl1pPr>
          </a:lstStyle>
          <a:p>
            <a:pPr>
              <a:defRPr/>
            </a:pPr>
            <a:fld id="{EFC4347E-AB90-4CDD-81D3-1718A53F495D}" type="slidenum">
              <a:rPr lang="es-MX"/>
              <a:pPr>
                <a:defRPr/>
              </a:pPr>
              <a:t>‹#›</a:t>
            </a:fld>
            <a:endParaRPr lang="es-MX"/>
          </a:p>
        </p:txBody>
      </p:sp>
    </p:spTree>
    <p:extLst>
      <p:ext uri="{BB962C8B-B14F-4D97-AF65-F5344CB8AC3E}">
        <p14:creationId xmlns:p14="http://schemas.microsoft.com/office/powerpoint/2010/main" val="10613222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s-MX"/>
          </a:p>
        </p:txBody>
      </p:sp>
      <p:sp>
        <p:nvSpPr>
          <p:cNvPr id="3" name="Vertical Text Placeholder 2"/>
          <p:cNvSpPr>
            <a:spLocks noGrp="1"/>
          </p:cNvSpPr>
          <p:nvPr>
            <p:ph type="body" orient="vert" idx="1"/>
          </p:nvPr>
        </p:nvSpPr>
        <p:spPr>
          <a:xfrm>
            <a:off x="838200"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92F478C6-E08E-C644-6CE6-257178CFC620}"/>
              </a:ext>
            </a:extLst>
          </p:cNvPr>
          <p:cNvSpPr>
            <a:spLocks noGrp="1"/>
          </p:cNvSpPr>
          <p:nvPr>
            <p:ph type="dt" sz="half" idx="10"/>
          </p:nvPr>
        </p:nvSpPr>
        <p:spPr/>
        <p:txBody>
          <a:bodyPr/>
          <a:lstStyle>
            <a:lvl1pPr>
              <a:defRPr/>
            </a:lvl1pPr>
          </a:lstStyle>
          <a:p>
            <a:pPr>
              <a:defRPr/>
            </a:pPr>
            <a:fld id="{BE283362-314B-4290-AFAA-A4D6794C475D}" type="datetimeFigureOut">
              <a:rPr lang="es-MX"/>
              <a:pPr>
                <a:defRPr/>
              </a:pPr>
              <a:t>01/12/2023</a:t>
            </a:fld>
            <a:endParaRPr lang="es-MX"/>
          </a:p>
        </p:txBody>
      </p:sp>
      <p:sp>
        <p:nvSpPr>
          <p:cNvPr id="5" name="Footer Placeholder 4">
            <a:extLst>
              <a:ext uri="{FF2B5EF4-FFF2-40B4-BE49-F238E27FC236}">
                <a16:creationId xmlns:a16="http://schemas.microsoft.com/office/drawing/2014/main" id="{D839C344-DE0F-598F-4DC4-5B0C373CB7ED}"/>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FEA6513B-8CC3-53C8-6A47-98EE3B475291}"/>
              </a:ext>
            </a:extLst>
          </p:cNvPr>
          <p:cNvSpPr>
            <a:spLocks noGrp="1"/>
          </p:cNvSpPr>
          <p:nvPr>
            <p:ph type="sldNum" sz="quarter" idx="12"/>
          </p:nvPr>
        </p:nvSpPr>
        <p:spPr/>
        <p:txBody>
          <a:bodyPr/>
          <a:lstStyle>
            <a:lvl1pPr>
              <a:defRPr/>
            </a:lvl1pPr>
          </a:lstStyle>
          <a:p>
            <a:pPr>
              <a:defRPr/>
            </a:pPr>
            <a:fld id="{A819384C-B946-41E6-A352-5123D8EBFEF3}" type="slidenum">
              <a:rPr lang="es-MX"/>
              <a:pPr>
                <a:defRPr/>
              </a:pPr>
              <a:t>‹#›</a:t>
            </a:fld>
            <a:endParaRPr lang="es-MX"/>
          </a:p>
        </p:txBody>
      </p:sp>
    </p:spTree>
    <p:extLst>
      <p:ext uri="{BB962C8B-B14F-4D97-AF65-F5344CB8AC3E}">
        <p14:creationId xmlns:p14="http://schemas.microsoft.com/office/powerpoint/2010/main" val="17690658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ABE082E5-2243-4941-3FF2-BC27CCC5A714}"/>
              </a:ext>
            </a:extLst>
          </p:cNvPr>
          <p:cNvSpPr txBox="1">
            <a:spLocks noChangeArrowheads="1"/>
          </p:cNvSpPr>
          <p:nvPr userDrawn="1"/>
        </p:nvSpPr>
        <p:spPr bwMode="auto">
          <a:xfrm>
            <a:off x="501650" y="6477000"/>
            <a:ext cx="5354638" cy="138113"/>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en-US" altLang="es-MX" sz="900">
                <a:solidFill>
                  <a:schemeClr val="bg1"/>
                </a:solidFill>
                <a:cs typeface="Calibri" panose="020F0502020204030204" pitchFamily="34" charset="0"/>
              </a:rPr>
              <a:t>© 2021. For information, contact Deloitte Global</a:t>
            </a:r>
          </a:p>
        </p:txBody>
      </p:sp>
      <p:sp>
        <p:nvSpPr>
          <p:cNvPr id="3" name="TextBox 7">
            <a:extLst>
              <a:ext uri="{FF2B5EF4-FFF2-40B4-BE49-F238E27FC236}">
                <a16:creationId xmlns:a16="http://schemas.microsoft.com/office/drawing/2014/main" id="{E9335A25-EECC-E82D-FE15-C5B61B5935FE}"/>
              </a:ext>
            </a:extLst>
          </p:cNvPr>
          <p:cNvSpPr txBox="1">
            <a:spLocks noChangeArrowheads="1"/>
          </p:cNvSpPr>
          <p:nvPr userDrawn="1"/>
        </p:nvSpPr>
        <p:spPr bwMode="auto">
          <a:xfrm>
            <a:off x="6335713" y="6477000"/>
            <a:ext cx="4895850" cy="138113"/>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buSzPct val="100000"/>
              <a:buFont typeface="Arial" panose="020B0604020202020204" pitchFamily="34" charset="0"/>
              <a:buNone/>
              <a:defRPr/>
            </a:pPr>
            <a:r>
              <a:rPr lang="en-US" altLang="es-MX" sz="900">
                <a:solidFill>
                  <a:schemeClr val="bg1"/>
                </a:solidFill>
                <a:cs typeface="Calibri" panose="020F0502020204030204" pitchFamily="34" charset="0"/>
              </a:rPr>
              <a:t>Advanced graphics timesaver</a:t>
            </a:r>
          </a:p>
        </p:txBody>
      </p:sp>
      <p:sp>
        <p:nvSpPr>
          <p:cNvPr id="4" name="TextBox 8">
            <a:extLst>
              <a:ext uri="{FF2B5EF4-FFF2-40B4-BE49-F238E27FC236}">
                <a16:creationId xmlns:a16="http://schemas.microsoft.com/office/drawing/2014/main" id="{F53CCE53-00C0-1C24-3D2C-1FC418364662}"/>
              </a:ext>
            </a:extLst>
          </p:cNvPr>
          <p:cNvSpPr txBox="1">
            <a:spLocks noChangeArrowheads="1"/>
          </p:cNvSpPr>
          <p:nvPr userDrawn="1"/>
        </p:nvSpPr>
        <p:spPr bwMode="auto">
          <a:xfrm>
            <a:off x="11382375" y="6477000"/>
            <a:ext cx="307975" cy="138113"/>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spcBef>
                <a:spcPts val="600"/>
              </a:spcBef>
              <a:buSzPct val="100000"/>
              <a:buFont typeface="Arial" panose="020B0604020202020204" pitchFamily="34" charset="0"/>
              <a:buNone/>
              <a:defRPr/>
            </a:pPr>
            <a:fld id="{0699768F-675C-45C1-B2C1-1D4D49D20715}" type="slidenum">
              <a:rPr lang="en-US" altLang="es-MX" sz="900" smtClean="0">
                <a:solidFill>
                  <a:schemeClr val="bg1"/>
                </a:solidFill>
                <a:cs typeface="Calibri" panose="020F0502020204030204" pitchFamily="34" charset="0"/>
              </a:rPr>
              <a:pPr algn="r" eaLnBrk="1" hangingPunct="1">
                <a:spcBef>
                  <a:spcPts val="600"/>
                </a:spcBef>
                <a:buSzPct val="100000"/>
                <a:buFont typeface="Arial" panose="020B0604020202020204" pitchFamily="34" charset="0"/>
                <a:buNone/>
                <a:defRPr/>
              </a:pPr>
              <a:t>‹#›</a:t>
            </a:fld>
            <a:endParaRPr lang="en-US" altLang="es-MX" sz="900">
              <a:solidFill>
                <a:schemeClr val="bg1"/>
              </a:solidFill>
              <a:cs typeface="Calibri" panose="020F0502020204030204" pitchFamily="34" charset="0"/>
            </a:endParaRPr>
          </a:p>
        </p:txBody>
      </p:sp>
      <p:sp>
        <p:nvSpPr>
          <p:cNvPr id="5" name="TextBox 9">
            <a:extLst>
              <a:ext uri="{FF2B5EF4-FFF2-40B4-BE49-F238E27FC236}">
                <a16:creationId xmlns:a16="http://schemas.microsoft.com/office/drawing/2014/main" id="{9B363E1D-F875-55E2-250A-A254F1CAEB6E}"/>
              </a:ext>
            </a:extLst>
          </p:cNvPr>
          <p:cNvSpPr txBox="1">
            <a:spLocks noChangeArrowheads="1"/>
          </p:cNvSpPr>
          <p:nvPr userDrawn="1"/>
        </p:nvSpPr>
        <p:spPr bwMode="auto">
          <a:xfrm>
            <a:off x="654050" y="6629400"/>
            <a:ext cx="5354638" cy="138113"/>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SzPct val="100000"/>
              <a:buFont typeface="Arial" panose="020B0604020202020204" pitchFamily="34" charset="0"/>
              <a:buNone/>
              <a:defRPr/>
            </a:pPr>
            <a:r>
              <a:rPr lang="en-US" altLang="es-MX" sz="900">
                <a:cs typeface="Calibri" panose="020F0502020204030204" pitchFamily="34" charset="0"/>
              </a:rPr>
              <a:t>© 2021. For information, contact Deloitte Global</a:t>
            </a:r>
          </a:p>
        </p:txBody>
      </p:sp>
    </p:spTree>
    <p:extLst>
      <p:ext uri="{BB962C8B-B14F-4D97-AF65-F5344CB8AC3E}">
        <p14:creationId xmlns:p14="http://schemas.microsoft.com/office/powerpoint/2010/main" val="28348995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D916FCAA-C01A-F2A6-C17B-4066BE676C29}"/>
              </a:ext>
            </a:extLst>
          </p:cNvPr>
          <p:cNvSpPr>
            <a:spLocks noGrp="1"/>
          </p:cNvSpPr>
          <p:nvPr>
            <p:ph type="dt" sz="half" idx="10"/>
          </p:nvPr>
        </p:nvSpPr>
        <p:spPr/>
        <p:txBody>
          <a:bodyPr/>
          <a:lstStyle>
            <a:lvl1pPr>
              <a:defRPr/>
            </a:lvl1pPr>
          </a:lstStyle>
          <a:p>
            <a:pPr>
              <a:defRPr/>
            </a:pPr>
            <a:fld id="{7A4E9204-7980-4480-B5CA-2CF29F5C7F76}" type="datetimeFigureOut">
              <a:rPr lang="es-MX"/>
              <a:pPr>
                <a:defRPr/>
              </a:pPr>
              <a:t>01/12/2023</a:t>
            </a:fld>
            <a:endParaRPr lang="es-MX"/>
          </a:p>
        </p:txBody>
      </p:sp>
      <p:sp>
        <p:nvSpPr>
          <p:cNvPr id="5" name="Footer Placeholder 4">
            <a:extLst>
              <a:ext uri="{FF2B5EF4-FFF2-40B4-BE49-F238E27FC236}">
                <a16:creationId xmlns:a16="http://schemas.microsoft.com/office/drawing/2014/main" id="{5285E57B-3A22-1323-CABD-308CA607D8DD}"/>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20EB08BB-ADE2-F390-51FB-C283579A3685}"/>
              </a:ext>
            </a:extLst>
          </p:cNvPr>
          <p:cNvSpPr>
            <a:spLocks noGrp="1"/>
          </p:cNvSpPr>
          <p:nvPr>
            <p:ph type="sldNum" sz="quarter" idx="12"/>
          </p:nvPr>
        </p:nvSpPr>
        <p:spPr/>
        <p:txBody>
          <a:bodyPr/>
          <a:lstStyle>
            <a:lvl1pPr>
              <a:defRPr/>
            </a:lvl1pPr>
          </a:lstStyle>
          <a:p>
            <a:pPr>
              <a:defRPr/>
            </a:pPr>
            <a:fld id="{5B643193-8C86-4C52-87D4-2E7F5358D6BB}" type="slidenum">
              <a:rPr lang="es-MX"/>
              <a:pPr>
                <a:defRPr/>
              </a:pPr>
              <a:t>‹#›</a:t>
            </a:fld>
            <a:endParaRPr lang="es-MX"/>
          </a:p>
        </p:txBody>
      </p:sp>
    </p:spTree>
    <p:extLst>
      <p:ext uri="{BB962C8B-B14F-4D97-AF65-F5344CB8AC3E}">
        <p14:creationId xmlns:p14="http://schemas.microsoft.com/office/powerpoint/2010/main" val="2248504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4D9E8CBC-6F03-2F90-B09B-9CEF2F9B6B0D}"/>
              </a:ext>
            </a:extLst>
          </p:cNvPr>
          <p:cNvSpPr>
            <a:spLocks noGrp="1"/>
          </p:cNvSpPr>
          <p:nvPr>
            <p:ph type="dt" sz="half" idx="10"/>
          </p:nvPr>
        </p:nvSpPr>
        <p:spPr/>
        <p:txBody>
          <a:bodyPr/>
          <a:lstStyle>
            <a:lvl1pPr>
              <a:defRPr/>
            </a:lvl1pPr>
          </a:lstStyle>
          <a:p>
            <a:pPr>
              <a:defRPr/>
            </a:pPr>
            <a:fld id="{E0DB0450-89C4-4024-899D-594B45A226C9}" type="datetimeFigureOut">
              <a:rPr lang="es-MX"/>
              <a:pPr>
                <a:defRPr/>
              </a:pPr>
              <a:t>01/12/2023</a:t>
            </a:fld>
            <a:endParaRPr lang="es-MX"/>
          </a:p>
        </p:txBody>
      </p:sp>
      <p:sp>
        <p:nvSpPr>
          <p:cNvPr id="5" name="Footer Placeholder 4">
            <a:extLst>
              <a:ext uri="{FF2B5EF4-FFF2-40B4-BE49-F238E27FC236}">
                <a16:creationId xmlns:a16="http://schemas.microsoft.com/office/drawing/2014/main" id="{46EB3706-15C5-6C72-E1D2-A9CC86340C11}"/>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F69882AD-03B6-4221-DFE8-8DCD1973B72B}"/>
              </a:ext>
            </a:extLst>
          </p:cNvPr>
          <p:cNvSpPr>
            <a:spLocks noGrp="1"/>
          </p:cNvSpPr>
          <p:nvPr>
            <p:ph type="sldNum" sz="quarter" idx="12"/>
          </p:nvPr>
        </p:nvSpPr>
        <p:spPr/>
        <p:txBody>
          <a:bodyPr/>
          <a:lstStyle>
            <a:lvl1pPr>
              <a:defRPr/>
            </a:lvl1pPr>
          </a:lstStyle>
          <a:p>
            <a:pPr>
              <a:defRPr/>
            </a:pPr>
            <a:fld id="{75CBF907-E1C9-4BAB-BEC5-CA5441075D90}" type="slidenum">
              <a:rPr lang="es-MX"/>
              <a:pPr>
                <a:defRPr/>
              </a:pPr>
              <a:t>‹#›</a:t>
            </a:fld>
            <a:endParaRPr lang="es-MX"/>
          </a:p>
        </p:txBody>
      </p:sp>
    </p:spTree>
    <p:extLst>
      <p:ext uri="{BB962C8B-B14F-4D97-AF65-F5344CB8AC3E}">
        <p14:creationId xmlns:p14="http://schemas.microsoft.com/office/powerpoint/2010/main" val="33777601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MX"/>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BD081A1-42AF-B74B-0B98-A1E286750DC7}"/>
              </a:ext>
            </a:extLst>
          </p:cNvPr>
          <p:cNvSpPr>
            <a:spLocks noGrp="1"/>
          </p:cNvSpPr>
          <p:nvPr>
            <p:ph type="dt" sz="half" idx="10"/>
          </p:nvPr>
        </p:nvSpPr>
        <p:spPr/>
        <p:txBody>
          <a:bodyPr/>
          <a:lstStyle>
            <a:lvl1pPr>
              <a:defRPr/>
            </a:lvl1pPr>
          </a:lstStyle>
          <a:p>
            <a:pPr>
              <a:defRPr/>
            </a:pPr>
            <a:fld id="{8CECEA84-D63C-4F29-AEF5-9E92F399D2FD}" type="datetimeFigureOut">
              <a:rPr lang="es-MX"/>
              <a:pPr>
                <a:defRPr/>
              </a:pPr>
              <a:t>01/12/2023</a:t>
            </a:fld>
            <a:endParaRPr lang="es-MX"/>
          </a:p>
        </p:txBody>
      </p:sp>
      <p:sp>
        <p:nvSpPr>
          <p:cNvPr id="5" name="Footer Placeholder 4">
            <a:extLst>
              <a:ext uri="{FF2B5EF4-FFF2-40B4-BE49-F238E27FC236}">
                <a16:creationId xmlns:a16="http://schemas.microsoft.com/office/drawing/2014/main" id="{25794D0D-E748-6EDC-AD65-60E61E950F65}"/>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54C6B89E-759B-D159-A4EF-9ED0A381C015}"/>
              </a:ext>
            </a:extLst>
          </p:cNvPr>
          <p:cNvSpPr>
            <a:spLocks noGrp="1"/>
          </p:cNvSpPr>
          <p:nvPr>
            <p:ph type="sldNum" sz="quarter" idx="12"/>
          </p:nvPr>
        </p:nvSpPr>
        <p:spPr/>
        <p:txBody>
          <a:bodyPr/>
          <a:lstStyle>
            <a:lvl1pPr>
              <a:defRPr/>
            </a:lvl1pPr>
          </a:lstStyle>
          <a:p>
            <a:pPr>
              <a:defRPr/>
            </a:pPr>
            <a:fld id="{D4D57170-997F-4FE7-A3F3-94D967CDD5F1}" type="slidenum">
              <a:rPr lang="es-MX"/>
              <a:pPr>
                <a:defRPr/>
              </a:pPr>
              <a:t>‹#›</a:t>
            </a:fld>
            <a:endParaRPr lang="es-MX"/>
          </a:p>
        </p:txBody>
      </p:sp>
    </p:spTree>
    <p:extLst>
      <p:ext uri="{BB962C8B-B14F-4D97-AF65-F5344CB8AC3E}">
        <p14:creationId xmlns:p14="http://schemas.microsoft.com/office/powerpoint/2010/main" val="11382183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3">
            <a:extLst>
              <a:ext uri="{FF2B5EF4-FFF2-40B4-BE49-F238E27FC236}">
                <a16:creationId xmlns:a16="http://schemas.microsoft.com/office/drawing/2014/main" id="{C48035EE-1FE8-D782-5986-8646D79E6120}"/>
              </a:ext>
            </a:extLst>
          </p:cNvPr>
          <p:cNvSpPr>
            <a:spLocks noGrp="1"/>
          </p:cNvSpPr>
          <p:nvPr>
            <p:ph type="dt" sz="half" idx="10"/>
          </p:nvPr>
        </p:nvSpPr>
        <p:spPr/>
        <p:txBody>
          <a:bodyPr/>
          <a:lstStyle>
            <a:lvl1pPr>
              <a:defRPr/>
            </a:lvl1pPr>
          </a:lstStyle>
          <a:p>
            <a:pPr>
              <a:defRPr/>
            </a:pPr>
            <a:fld id="{BADBC11A-D1EE-4682-AEE9-9509B39E8F25}" type="datetimeFigureOut">
              <a:rPr lang="es-MX"/>
              <a:pPr>
                <a:defRPr/>
              </a:pPr>
              <a:t>01/12/2023</a:t>
            </a:fld>
            <a:endParaRPr lang="es-MX"/>
          </a:p>
        </p:txBody>
      </p:sp>
      <p:sp>
        <p:nvSpPr>
          <p:cNvPr id="6" name="Footer Placeholder 4">
            <a:extLst>
              <a:ext uri="{FF2B5EF4-FFF2-40B4-BE49-F238E27FC236}">
                <a16:creationId xmlns:a16="http://schemas.microsoft.com/office/drawing/2014/main" id="{FB8BBB5B-E83C-82A7-D03C-15ABDD7C4BFF}"/>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D4A9F329-6CDA-A2BC-E09E-3F688612D3B1}"/>
              </a:ext>
            </a:extLst>
          </p:cNvPr>
          <p:cNvSpPr>
            <a:spLocks noGrp="1"/>
          </p:cNvSpPr>
          <p:nvPr>
            <p:ph type="sldNum" sz="quarter" idx="12"/>
          </p:nvPr>
        </p:nvSpPr>
        <p:spPr/>
        <p:txBody>
          <a:bodyPr/>
          <a:lstStyle>
            <a:lvl1pPr>
              <a:defRPr/>
            </a:lvl1pPr>
          </a:lstStyle>
          <a:p>
            <a:pPr>
              <a:defRPr/>
            </a:pPr>
            <a:fld id="{D54AAB18-428F-464D-9D0D-A5F22382488B}" type="slidenum">
              <a:rPr lang="es-MX"/>
              <a:pPr>
                <a:defRPr/>
              </a:pPr>
              <a:t>‹#›</a:t>
            </a:fld>
            <a:endParaRPr lang="es-MX"/>
          </a:p>
        </p:txBody>
      </p:sp>
    </p:spTree>
    <p:extLst>
      <p:ext uri="{BB962C8B-B14F-4D97-AF65-F5344CB8AC3E}">
        <p14:creationId xmlns:p14="http://schemas.microsoft.com/office/powerpoint/2010/main" val="41523676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s-MX"/>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3">
            <a:extLst>
              <a:ext uri="{FF2B5EF4-FFF2-40B4-BE49-F238E27FC236}">
                <a16:creationId xmlns:a16="http://schemas.microsoft.com/office/drawing/2014/main" id="{C3799378-C7F2-B8D9-C865-FA18CBCDDC2B}"/>
              </a:ext>
            </a:extLst>
          </p:cNvPr>
          <p:cNvSpPr>
            <a:spLocks noGrp="1"/>
          </p:cNvSpPr>
          <p:nvPr>
            <p:ph type="dt" sz="half" idx="10"/>
          </p:nvPr>
        </p:nvSpPr>
        <p:spPr/>
        <p:txBody>
          <a:bodyPr/>
          <a:lstStyle>
            <a:lvl1pPr>
              <a:defRPr/>
            </a:lvl1pPr>
          </a:lstStyle>
          <a:p>
            <a:pPr>
              <a:defRPr/>
            </a:pPr>
            <a:fld id="{D573A2B1-CA40-4EB5-99AE-AF809E9082D3}" type="datetimeFigureOut">
              <a:rPr lang="es-MX"/>
              <a:pPr>
                <a:defRPr/>
              </a:pPr>
              <a:t>01/12/2023</a:t>
            </a:fld>
            <a:endParaRPr lang="es-MX"/>
          </a:p>
        </p:txBody>
      </p:sp>
      <p:sp>
        <p:nvSpPr>
          <p:cNvPr id="8" name="Footer Placeholder 4">
            <a:extLst>
              <a:ext uri="{FF2B5EF4-FFF2-40B4-BE49-F238E27FC236}">
                <a16:creationId xmlns:a16="http://schemas.microsoft.com/office/drawing/2014/main" id="{4C141FFA-27C6-FAD6-B678-97B6602A3761}"/>
              </a:ext>
            </a:extLst>
          </p:cNvPr>
          <p:cNvSpPr>
            <a:spLocks noGrp="1"/>
          </p:cNvSpPr>
          <p:nvPr>
            <p:ph type="ftr" sz="quarter" idx="11"/>
          </p:nvPr>
        </p:nvSpPr>
        <p:spPr/>
        <p:txBody>
          <a:bodyPr/>
          <a:lstStyle>
            <a:lvl1pPr>
              <a:defRPr/>
            </a:lvl1pPr>
          </a:lstStyle>
          <a:p>
            <a:pPr>
              <a:defRPr/>
            </a:pPr>
            <a:endParaRPr lang="es-MX"/>
          </a:p>
        </p:txBody>
      </p:sp>
      <p:sp>
        <p:nvSpPr>
          <p:cNvPr id="9" name="Slide Number Placeholder 5">
            <a:extLst>
              <a:ext uri="{FF2B5EF4-FFF2-40B4-BE49-F238E27FC236}">
                <a16:creationId xmlns:a16="http://schemas.microsoft.com/office/drawing/2014/main" id="{A1201F62-46C5-B735-221D-E8E98CBE4572}"/>
              </a:ext>
            </a:extLst>
          </p:cNvPr>
          <p:cNvSpPr>
            <a:spLocks noGrp="1"/>
          </p:cNvSpPr>
          <p:nvPr>
            <p:ph type="sldNum" sz="quarter" idx="12"/>
          </p:nvPr>
        </p:nvSpPr>
        <p:spPr/>
        <p:txBody>
          <a:bodyPr/>
          <a:lstStyle>
            <a:lvl1pPr>
              <a:defRPr/>
            </a:lvl1pPr>
          </a:lstStyle>
          <a:p>
            <a:pPr>
              <a:defRPr/>
            </a:pPr>
            <a:fld id="{F708227E-B52C-4700-8448-7202224EAF97}" type="slidenum">
              <a:rPr lang="es-MX"/>
              <a:pPr>
                <a:defRPr/>
              </a:pPr>
              <a:t>‹#›</a:t>
            </a:fld>
            <a:endParaRPr lang="es-MX"/>
          </a:p>
        </p:txBody>
      </p:sp>
    </p:spTree>
    <p:extLst>
      <p:ext uri="{BB962C8B-B14F-4D97-AF65-F5344CB8AC3E}">
        <p14:creationId xmlns:p14="http://schemas.microsoft.com/office/powerpoint/2010/main" val="20948939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s-MX"/>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3">
            <a:extLst>
              <a:ext uri="{FF2B5EF4-FFF2-40B4-BE49-F238E27FC236}">
                <a16:creationId xmlns:a16="http://schemas.microsoft.com/office/drawing/2014/main" id="{1C543EC9-8528-6E0B-FAF8-0D1E0F3964A7}"/>
              </a:ext>
            </a:extLst>
          </p:cNvPr>
          <p:cNvSpPr>
            <a:spLocks noGrp="1"/>
          </p:cNvSpPr>
          <p:nvPr>
            <p:ph type="dt" sz="half" idx="10"/>
          </p:nvPr>
        </p:nvSpPr>
        <p:spPr/>
        <p:txBody>
          <a:bodyPr/>
          <a:lstStyle>
            <a:lvl1pPr>
              <a:defRPr/>
            </a:lvl1pPr>
          </a:lstStyle>
          <a:p>
            <a:pPr>
              <a:defRPr/>
            </a:pPr>
            <a:fld id="{3BDD6473-A7C2-4006-9DA0-F4D8F6671C6B}" type="datetimeFigureOut">
              <a:rPr lang="es-MX"/>
              <a:pPr>
                <a:defRPr/>
              </a:pPr>
              <a:t>01/12/2023</a:t>
            </a:fld>
            <a:endParaRPr lang="es-MX"/>
          </a:p>
        </p:txBody>
      </p:sp>
      <p:sp>
        <p:nvSpPr>
          <p:cNvPr id="8" name="Footer Placeholder 4">
            <a:extLst>
              <a:ext uri="{FF2B5EF4-FFF2-40B4-BE49-F238E27FC236}">
                <a16:creationId xmlns:a16="http://schemas.microsoft.com/office/drawing/2014/main" id="{47C8C0C9-EDB2-8A03-9E08-2A517E172DC0}"/>
              </a:ext>
            </a:extLst>
          </p:cNvPr>
          <p:cNvSpPr>
            <a:spLocks noGrp="1"/>
          </p:cNvSpPr>
          <p:nvPr>
            <p:ph type="ftr" sz="quarter" idx="11"/>
          </p:nvPr>
        </p:nvSpPr>
        <p:spPr/>
        <p:txBody>
          <a:bodyPr/>
          <a:lstStyle>
            <a:lvl1pPr>
              <a:defRPr/>
            </a:lvl1pPr>
          </a:lstStyle>
          <a:p>
            <a:pPr>
              <a:defRPr/>
            </a:pPr>
            <a:endParaRPr lang="es-MX"/>
          </a:p>
        </p:txBody>
      </p:sp>
      <p:sp>
        <p:nvSpPr>
          <p:cNvPr id="9" name="Slide Number Placeholder 5">
            <a:extLst>
              <a:ext uri="{FF2B5EF4-FFF2-40B4-BE49-F238E27FC236}">
                <a16:creationId xmlns:a16="http://schemas.microsoft.com/office/drawing/2014/main" id="{8B96B2D8-9731-D7BC-16A5-BCD3003AE581}"/>
              </a:ext>
            </a:extLst>
          </p:cNvPr>
          <p:cNvSpPr>
            <a:spLocks noGrp="1"/>
          </p:cNvSpPr>
          <p:nvPr>
            <p:ph type="sldNum" sz="quarter" idx="12"/>
          </p:nvPr>
        </p:nvSpPr>
        <p:spPr/>
        <p:txBody>
          <a:bodyPr/>
          <a:lstStyle>
            <a:lvl1pPr>
              <a:defRPr/>
            </a:lvl1pPr>
          </a:lstStyle>
          <a:p>
            <a:pPr>
              <a:defRPr/>
            </a:pPr>
            <a:fld id="{25B578D7-ECC4-488D-9B74-860862E976FC}" type="slidenum">
              <a:rPr lang="es-MX"/>
              <a:pPr>
                <a:defRPr/>
              </a:pPr>
              <a:t>‹#›</a:t>
            </a:fld>
            <a:endParaRPr lang="es-MX"/>
          </a:p>
        </p:txBody>
      </p:sp>
    </p:spTree>
    <p:extLst>
      <p:ext uri="{BB962C8B-B14F-4D97-AF65-F5344CB8AC3E}">
        <p14:creationId xmlns:p14="http://schemas.microsoft.com/office/powerpoint/2010/main" val="26502100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Date Placeholder 3">
            <a:extLst>
              <a:ext uri="{FF2B5EF4-FFF2-40B4-BE49-F238E27FC236}">
                <a16:creationId xmlns:a16="http://schemas.microsoft.com/office/drawing/2014/main" id="{A7ED0814-9BC2-E353-D3B4-62E0328F83FB}"/>
              </a:ext>
            </a:extLst>
          </p:cNvPr>
          <p:cNvSpPr>
            <a:spLocks noGrp="1"/>
          </p:cNvSpPr>
          <p:nvPr>
            <p:ph type="dt" sz="half" idx="10"/>
          </p:nvPr>
        </p:nvSpPr>
        <p:spPr/>
        <p:txBody>
          <a:bodyPr/>
          <a:lstStyle>
            <a:lvl1pPr>
              <a:defRPr/>
            </a:lvl1pPr>
          </a:lstStyle>
          <a:p>
            <a:pPr>
              <a:defRPr/>
            </a:pPr>
            <a:fld id="{32F28297-3F39-44E3-933D-5DB7E49010F9}" type="datetimeFigureOut">
              <a:rPr lang="es-MX"/>
              <a:pPr>
                <a:defRPr/>
              </a:pPr>
              <a:t>01/12/2023</a:t>
            </a:fld>
            <a:endParaRPr lang="es-MX"/>
          </a:p>
        </p:txBody>
      </p:sp>
      <p:sp>
        <p:nvSpPr>
          <p:cNvPr id="4" name="Footer Placeholder 4">
            <a:extLst>
              <a:ext uri="{FF2B5EF4-FFF2-40B4-BE49-F238E27FC236}">
                <a16:creationId xmlns:a16="http://schemas.microsoft.com/office/drawing/2014/main" id="{CCF22848-4843-A21E-41F0-A8263496210E}"/>
              </a:ext>
            </a:extLst>
          </p:cNvPr>
          <p:cNvSpPr>
            <a:spLocks noGrp="1"/>
          </p:cNvSpPr>
          <p:nvPr>
            <p:ph type="ftr" sz="quarter" idx="11"/>
          </p:nvPr>
        </p:nvSpPr>
        <p:spPr/>
        <p:txBody>
          <a:bodyPr/>
          <a:lstStyle>
            <a:lvl1pPr>
              <a:defRPr/>
            </a:lvl1pPr>
          </a:lstStyle>
          <a:p>
            <a:pPr>
              <a:defRPr/>
            </a:pPr>
            <a:endParaRPr lang="es-MX"/>
          </a:p>
        </p:txBody>
      </p:sp>
      <p:sp>
        <p:nvSpPr>
          <p:cNvPr id="5" name="Slide Number Placeholder 5">
            <a:extLst>
              <a:ext uri="{FF2B5EF4-FFF2-40B4-BE49-F238E27FC236}">
                <a16:creationId xmlns:a16="http://schemas.microsoft.com/office/drawing/2014/main" id="{AFAD37DE-0085-B7DF-46C6-8113531C354F}"/>
              </a:ext>
            </a:extLst>
          </p:cNvPr>
          <p:cNvSpPr>
            <a:spLocks noGrp="1"/>
          </p:cNvSpPr>
          <p:nvPr>
            <p:ph type="sldNum" sz="quarter" idx="12"/>
          </p:nvPr>
        </p:nvSpPr>
        <p:spPr/>
        <p:txBody>
          <a:bodyPr/>
          <a:lstStyle>
            <a:lvl1pPr>
              <a:defRPr/>
            </a:lvl1pPr>
          </a:lstStyle>
          <a:p>
            <a:pPr>
              <a:defRPr/>
            </a:pPr>
            <a:fld id="{B4ED56B8-2B40-41DE-B553-8718ED0F9435}" type="slidenum">
              <a:rPr lang="es-MX"/>
              <a:pPr>
                <a:defRPr/>
              </a:pPr>
              <a:t>‹#›</a:t>
            </a:fld>
            <a:endParaRPr lang="es-MX"/>
          </a:p>
        </p:txBody>
      </p:sp>
    </p:spTree>
    <p:extLst>
      <p:ext uri="{BB962C8B-B14F-4D97-AF65-F5344CB8AC3E}">
        <p14:creationId xmlns:p14="http://schemas.microsoft.com/office/powerpoint/2010/main" val="20960209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5E21591C-59BC-7146-87BA-C14A7B918737}"/>
              </a:ext>
            </a:extLst>
          </p:cNvPr>
          <p:cNvSpPr>
            <a:spLocks noGrp="1"/>
          </p:cNvSpPr>
          <p:nvPr>
            <p:ph type="dt" sz="half" idx="10"/>
          </p:nvPr>
        </p:nvSpPr>
        <p:spPr/>
        <p:txBody>
          <a:bodyPr/>
          <a:lstStyle>
            <a:lvl1pPr>
              <a:defRPr/>
            </a:lvl1pPr>
          </a:lstStyle>
          <a:p>
            <a:pPr>
              <a:defRPr/>
            </a:pPr>
            <a:fld id="{C7879FC3-8DF8-42E1-851B-5D08920E9A3F}" type="datetimeFigureOut">
              <a:rPr lang="es-MX"/>
              <a:pPr>
                <a:defRPr/>
              </a:pPr>
              <a:t>01/12/2023</a:t>
            </a:fld>
            <a:endParaRPr lang="es-MX"/>
          </a:p>
        </p:txBody>
      </p:sp>
      <p:sp>
        <p:nvSpPr>
          <p:cNvPr id="3" name="Footer Placeholder 4">
            <a:extLst>
              <a:ext uri="{FF2B5EF4-FFF2-40B4-BE49-F238E27FC236}">
                <a16:creationId xmlns:a16="http://schemas.microsoft.com/office/drawing/2014/main" id="{D3D69837-2C74-13FB-506E-39A5E9C1C626}"/>
              </a:ext>
            </a:extLst>
          </p:cNvPr>
          <p:cNvSpPr>
            <a:spLocks noGrp="1"/>
          </p:cNvSpPr>
          <p:nvPr>
            <p:ph type="ftr" sz="quarter" idx="11"/>
          </p:nvPr>
        </p:nvSpPr>
        <p:spPr/>
        <p:txBody>
          <a:bodyPr/>
          <a:lstStyle>
            <a:lvl1pPr>
              <a:defRPr/>
            </a:lvl1pPr>
          </a:lstStyle>
          <a:p>
            <a:pPr>
              <a:defRPr/>
            </a:pPr>
            <a:endParaRPr lang="es-MX"/>
          </a:p>
        </p:txBody>
      </p:sp>
      <p:sp>
        <p:nvSpPr>
          <p:cNvPr id="4" name="Slide Number Placeholder 5">
            <a:extLst>
              <a:ext uri="{FF2B5EF4-FFF2-40B4-BE49-F238E27FC236}">
                <a16:creationId xmlns:a16="http://schemas.microsoft.com/office/drawing/2014/main" id="{7C29E13A-F960-6BB2-D3A5-357F68CE5754}"/>
              </a:ext>
            </a:extLst>
          </p:cNvPr>
          <p:cNvSpPr>
            <a:spLocks noGrp="1"/>
          </p:cNvSpPr>
          <p:nvPr>
            <p:ph type="sldNum" sz="quarter" idx="12"/>
          </p:nvPr>
        </p:nvSpPr>
        <p:spPr/>
        <p:txBody>
          <a:bodyPr/>
          <a:lstStyle>
            <a:lvl1pPr>
              <a:defRPr/>
            </a:lvl1pPr>
          </a:lstStyle>
          <a:p>
            <a:pPr>
              <a:defRPr/>
            </a:pPr>
            <a:fld id="{3BC53DF3-2A8C-481D-B71D-5793AA03C3A4}" type="slidenum">
              <a:rPr lang="es-MX"/>
              <a:pPr>
                <a:defRPr/>
              </a:pPr>
              <a:t>‹#›</a:t>
            </a:fld>
            <a:endParaRPr lang="es-MX"/>
          </a:p>
        </p:txBody>
      </p:sp>
    </p:spTree>
    <p:extLst>
      <p:ext uri="{BB962C8B-B14F-4D97-AF65-F5344CB8AC3E}">
        <p14:creationId xmlns:p14="http://schemas.microsoft.com/office/powerpoint/2010/main" val="37416039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3F73D0AF-DBA1-23D1-B3C3-2E9352926CF6}"/>
              </a:ext>
            </a:extLst>
          </p:cNvPr>
          <p:cNvSpPr>
            <a:spLocks noGrp="1"/>
          </p:cNvSpPr>
          <p:nvPr>
            <p:ph type="dt" sz="half" idx="10"/>
          </p:nvPr>
        </p:nvSpPr>
        <p:spPr/>
        <p:txBody>
          <a:bodyPr/>
          <a:lstStyle>
            <a:lvl1pPr>
              <a:defRPr/>
            </a:lvl1pPr>
          </a:lstStyle>
          <a:p>
            <a:pPr>
              <a:defRPr/>
            </a:pPr>
            <a:fld id="{19731F51-73D1-4C70-B3D4-8EE676B35DBE}" type="datetimeFigureOut">
              <a:rPr lang="es-MX"/>
              <a:pPr>
                <a:defRPr/>
              </a:pPr>
              <a:t>01/12/2023</a:t>
            </a:fld>
            <a:endParaRPr lang="es-MX"/>
          </a:p>
        </p:txBody>
      </p:sp>
      <p:sp>
        <p:nvSpPr>
          <p:cNvPr id="6" name="Footer Placeholder 4">
            <a:extLst>
              <a:ext uri="{FF2B5EF4-FFF2-40B4-BE49-F238E27FC236}">
                <a16:creationId xmlns:a16="http://schemas.microsoft.com/office/drawing/2014/main" id="{5E3A2483-0F9F-9600-2606-28886160C195}"/>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C3FCEF02-74E5-7680-5B85-EE17FBB4E013}"/>
              </a:ext>
            </a:extLst>
          </p:cNvPr>
          <p:cNvSpPr>
            <a:spLocks noGrp="1"/>
          </p:cNvSpPr>
          <p:nvPr>
            <p:ph type="sldNum" sz="quarter" idx="12"/>
          </p:nvPr>
        </p:nvSpPr>
        <p:spPr/>
        <p:txBody>
          <a:bodyPr/>
          <a:lstStyle>
            <a:lvl1pPr>
              <a:defRPr/>
            </a:lvl1pPr>
          </a:lstStyle>
          <a:p>
            <a:pPr>
              <a:defRPr/>
            </a:pPr>
            <a:fld id="{68E683C8-003F-4D7B-9012-1DDC48139190}" type="slidenum">
              <a:rPr lang="es-MX"/>
              <a:pPr>
                <a:defRPr/>
              </a:pPr>
              <a:t>‹#›</a:t>
            </a:fld>
            <a:endParaRPr lang="es-MX"/>
          </a:p>
        </p:txBody>
      </p:sp>
    </p:spTree>
    <p:extLst>
      <p:ext uri="{BB962C8B-B14F-4D97-AF65-F5344CB8AC3E}">
        <p14:creationId xmlns:p14="http://schemas.microsoft.com/office/powerpoint/2010/main" val="22349883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MX"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B8F45A35-F1C2-6909-F3F0-531D8352A8CB}"/>
              </a:ext>
            </a:extLst>
          </p:cNvPr>
          <p:cNvSpPr>
            <a:spLocks noGrp="1"/>
          </p:cNvSpPr>
          <p:nvPr>
            <p:ph type="dt" sz="half" idx="10"/>
          </p:nvPr>
        </p:nvSpPr>
        <p:spPr/>
        <p:txBody>
          <a:bodyPr/>
          <a:lstStyle>
            <a:lvl1pPr>
              <a:defRPr/>
            </a:lvl1pPr>
          </a:lstStyle>
          <a:p>
            <a:pPr>
              <a:defRPr/>
            </a:pPr>
            <a:fld id="{76B0E22E-E7C2-4321-804F-98694559B2A3}" type="datetimeFigureOut">
              <a:rPr lang="es-MX"/>
              <a:pPr>
                <a:defRPr/>
              </a:pPr>
              <a:t>01/12/2023</a:t>
            </a:fld>
            <a:endParaRPr lang="es-MX"/>
          </a:p>
        </p:txBody>
      </p:sp>
      <p:sp>
        <p:nvSpPr>
          <p:cNvPr id="6" name="Footer Placeholder 4">
            <a:extLst>
              <a:ext uri="{FF2B5EF4-FFF2-40B4-BE49-F238E27FC236}">
                <a16:creationId xmlns:a16="http://schemas.microsoft.com/office/drawing/2014/main" id="{375660A6-69CF-B223-44EE-7FE84930169B}"/>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B858E212-F51E-CC04-828A-5F7B34BED524}"/>
              </a:ext>
            </a:extLst>
          </p:cNvPr>
          <p:cNvSpPr>
            <a:spLocks noGrp="1"/>
          </p:cNvSpPr>
          <p:nvPr>
            <p:ph type="sldNum" sz="quarter" idx="12"/>
          </p:nvPr>
        </p:nvSpPr>
        <p:spPr/>
        <p:txBody>
          <a:bodyPr/>
          <a:lstStyle>
            <a:lvl1pPr>
              <a:defRPr/>
            </a:lvl1pPr>
          </a:lstStyle>
          <a:p>
            <a:pPr>
              <a:defRPr/>
            </a:pPr>
            <a:fld id="{05925B8F-DE22-412E-BC41-ED97EE64A947}" type="slidenum">
              <a:rPr lang="es-MX"/>
              <a:pPr>
                <a:defRPr/>
              </a:pPr>
              <a:t>‹#›</a:t>
            </a:fld>
            <a:endParaRPr lang="es-MX"/>
          </a:p>
        </p:txBody>
      </p:sp>
    </p:spTree>
    <p:extLst>
      <p:ext uri="{BB962C8B-B14F-4D97-AF65-F5344CB8AC3E}">
        <p14:creationId xmlns:p14="http://schemas.microsoft.com/office/powerpoint/2010/main" val="19690778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9C72C319-593E-2BFE-4BB1-592B3863DE93}"/>
              </a:ext>
            </a:extLst>
          </p:cNvPr>
          <p:cNvSpPr>
            <a:spLocks noGrp="1"/>
          </p:cNvSpPr>
          <p:nvPr>
            <p:ph type="dt" sz="half" idx="10"/>
          </p:nvPr>
        </p:nvSpPr>
        <p:spPr/>
        <p:txBody>
          <a:bodyPr/>
          <a:lstStyle>
            <a:lvl1pPr>
              <a:defRPr/>
            </a:lvl1pPr>
          </a:lstStyle>
          <a:p>
            <a:pPr>
              <a:defRPr/>
            </a:pPr>
            <a:fld id="{43D35472-9DB9-4457-B208-809F352FEBB1}" type="datetimeFigureOut">
              <a:rPr lang="es-MX"/>
              <a:pPr>
                <a:defRPr/>
              </a:pPr>
              <a:t>01/12/2023</a:t>
            </a:fld>
            <a:endParaRPr lang="es-MX"/>
          </a:p>
        </p:txBody>
      </p:sp>
      <p:sp>
        <p:nvSpPr>
          <p:cNvPr id="5" name="Footer Placeholder 4">
            <a:extLst>
              <a:ext uri="{FF2B5EF4-FFF2-40B4-BE49-F238E27FC236}">
                <a16:creationId xmlns:a16="http://schemas.microsoft.com/office/drawing/2014/main" id="{C155CD57-FA68-CDB5-7050-6AB618404987}"/>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F1AA94B7-3E39-F821-D5BD-EECD36332410}"/>
              </a:ext>
            </a:extLst>
          </p:cNvPr>
          <p:cNvSpPr>
            <a:spLocks noGrp="1"/>
          </p:cNvSpPr>
          <p:nvPr>
            <p:ph type="sldNum" sz="quarter" idx="12"/>
          </p:nvPr>
        </p:nvSpPr>
        <p:spPr/>
        <p:txBody>
          <a:bodyPr/>
          <a:lstStyle>
            <a:lvl1pPr>
              <a:defRPr/>
            </a:lvl1pPr>
          </a:lstStyle>
          <a:p>
            <a:pPr>
              <a:defRPr/>
            </a:pPr>
            <a:fld id="{B1EEC7F9-7C00-4D76-938C-0B03A2F2599E}" type="slidenum">
              <a:rPr lang="es-MX"/>
              <a:pPr>
                <a:defRPr/>
              </a:pPr>
              <a:t>‹#›</a:t>
            </a:fld>
            <a:endParaRPr lang="es-MX"/>
          </a:p>
        </p:txBody>
      </p:sp>
    </p:spTree>
    <p:extLst>
      <p:ext uri="{BB962C8B-B14F-4D97-AF65-F5344CB8AC3E}">
        <p14:creationId xmlns:p14="http://schemas.microsoft.com/office/powerpoint/2010/main" val="20368637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s-MX"/>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21D3FC5F-3021-A45E-7CC1-B7A673EFCBFA}"/>
              </a:ext>
            </a:extLst>
          </p:cNvPr>
          <p:cNvSpPr>
            <a:spLocks noGrp="1"/>
          </p:cNvSpPr>
          <p:nvPr>
            <p:ph type="dt" sz="half" idx="10"/>
          </p:nvPr>
        </p:nvSpPr>
        <p:spPr/>
        <p:txBody>
          <a:bodyPr/>
          <a:lstStyle>
            <a:lvl1pPr>
              <a:defRPr/>
            </a:lvl1pPr>
          </a:lstStyle>
          <a:p>
            <a:pPr>
              <a:defRPr/>
            </a:pPr>
            <a:fld id="{7019FC30-0882-4888-99D6-2FA26C32B03A}" type="datetimeFigureOut">
              <a:rPr lang="es-MX"/>
              <a:pPr>
                <a:defRPr/>
              </a:pPr>
              <a:t>01/12/2023</a:t>
            </a:fld>
            <a:endParaRPr lang="es-MX"/>
          </a:p>
        </p:txBody>
      </p:sp>
      <p:sp>
        <p:nvSpPr>
          <p:cNvPr id="5" name="Footer Placeholder 4">
            <a:extLst>
              <a:ext uri="{FF2B5EF4-FFF2-40B4-BE49-F238E27FC236}">
                <a16:creationId xmlns:a16="http://schemas.microsoft.com/office/drawing/2014/main" id="{03FA9499-2050-7301-7CF0-44679A5F4958}"/>
              </a:ext>
            </a:extLst>
          </p:cNvPr>
          <p:cNvSpPr>
            <a:spLocks noGrp="1"/>
          </p:cNvSpPr>
          <p:nvPr>
            <p:ph type="ftr" sz="quarter" idx="11"/>
          </p:nvPr>
        </p:nvSpPr>
        <p:spPr/>
        <p:txBody>
          <a:bodyPr/>
          <a:lstStyle>
            <a:lvl1pPr>
              <a:defRPr/>
            </a:lvl1pPr>
          </a:lstStyle>
          <a:p>
            <a:pPr>
              <a:defRPr/>
            </a:pPr>
            <a:endParaRPr lang="es-MX"/>
          </a:p>
        </p:txBody>
      </p:sp>
      <p:sp>
        <p:nvSpPr>
          <p:cNvPr id="6" name="Slide Number Placeholder 5">
            <a:extLst>
              <a:ext uri="{FF2B5EF4-FFF2-40B4-BE49-F238E27FC236}">
                <a16:creationId xmlns:a16="http://schemas.microsoft.com/office/drawing/2014/main" id="{D97B4BC0-BB6F-C719-3C01-27B5BF6B3A4E}"/>
              </a:ext>
            </a:extLst>
          </p:cNvPr>
          <p:cNvSpPr>
            <a:spLocks noGrp="1"/>
          </p:cNvSpPr>
          <p:nvPr>
            <p:ph type="sldNum" sz="quarter" idx="12"/>
          </p:nvPr>
        </p:nvSpPr>
        <p:spPr/>
        <p:txBody>
          <a:bodyPr/>
          <a:lstStyle>
            <a:lvl1pPr>
              <a:defRPr/>
            </a:lvl1pPr>
          </a:lstStyle>
          <a:p>
            <a:pPr>
              <a:defRPr/>
            </a:pPr>
            <a:fld id="{B9869267-65B0-4A0D-9677-1504C3F75623}" type="slidenum">
              <a:rPr lang="es-MX"/>
              <a:pPr>
                <a:defRPr/>
              </a:pPr>
              <a:t>‹#›</a:t>
            </a:fld>
            <a:endParaRPr lang="es-MX"/>
          </a:p>
        </p:txBody>
      </p:sp>
    </p:spTree>
    <p:extLst>
      <p:ext uri="{BB962C8B-B14F-4D97-AF65-F5344CB8AC3E}">
        <p14:creationId xmlns:p14="http://schemas.microsoft.com/office/powerpoint/2010/main" val="5318193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BBFCBD28-9AC3-07C8-977F-C32AF501CF87}"/>
              </a:ext>
            </a:extLst>
          </p:cNvPr>
          <p:cNvSpPr>
            <a:spLocks noGrp="1"/>
          </p:cNvSpPr>
          <p:nvPr>
            <p:ph type="dt" sz="half" idx="10"/>
          </p:nvPr>
        </p:nvSpPr>
        <p:spPr/>
        <p:txBody>
          <a:bodyPr/>
          <a:lstStyle>
            <a:lvl1pPr>
              <a:defRPr/>
            </a:lvl1pPr>
          </a:lstStyle>
          <a:p>
            <a:pPr>
              <a:defRPr/>
            </a:pPr>
            <a:fld id="{A9A22966-7913-4526-A6B9-1969FB792804}" type="datetimeFigureOut">
              <a:rPr lang="en-US"/>
              <a:pPr>
                <a:defRPr/>
              </a:pPr>
              <a:t>12/1/2023</a:t>
            </a:fld>
            <a:endParaRPr lang="en-US"/>
          </a:p>
        </p:txBody>
      </p:sp>
      <p:sp>
        <p:nvSpPr>
          <p:cNvPr id="5" name="Footer Placeholder 4">
            <a:extLst>
              <a:ext uri="{FF2B5EF4-FFF2-40B4-BE49-F238E27FC236}">
                <a16:creationId xmlns:a16="http://schemas.microsoft.com/office/drawing/2014/main" id="{1ED015A2-648A-6115-B0F5-F006C4BDBB4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47F3B840-CF0C-EADE-BE62-911D05F03F56}"/>
              </a:ext>
            </a:extLst>
          </p:cNvPr>
          <p:cNvSpPr>
            <a:spLocks noGrp="1"/>
          </p:cNvSpPr>
          <p:nvPr>
            <p:ph type="sldNum" sz="quarter" idx="12"/>
          </p:nvPr>
        </p:nvSpPr>
        <p:spPr/>
        <p:txBody>
          <a:bodyPr/>
          <a:lstStyle>
            <a:lvl1pPr>
              <a:defRPr/>
            </a:lvl1pPr>
          </a:lstStyle>
          <a:p>
            <a:pPr>
              <a:defRPr/>
            </a:pPr>
            <a:fld id="{1E02BFAB-7DB0-4376-8392-F5C7A2CC08D2}" type="slidenum">
              <a:rPr lang="en-US"/>
              <a:pPr>
                <a:defRPr/>
              </a:pPr>
              <a:t>‹#›</a:t>
            </a:fld>
            <a:endParaRPr lang="en-US"/>
          </a:p>
        </p:txBody>
      </p:sp>
    </p:spTree>
    <p:extLst>
      <p:ext uri="{BB962C8B-B14F-4D97-AF65-F5344CB8AC3E}">
        <p14:creationId xmlns:p14="http://schemas.microsoft.com/office/powerpoint/2010/main" val="349053714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5F7DE1-5E03-CBB7-1BAC-6CCDC2BF9CE3}"/>
              </a:ext>
            </a:extLst>
          </p:cNvPr>
          <p:cNvSpPr>
            <a:spLocks noGrp="1"/>
          </p:cNvSpPr>
          <p:nvPr>
            <p:ph type="dt" sz="half" idx="10"/>
          </p:nvPr>
        </p:nvSpPr>
        <p:spPr/>
        <p:txBody>
          <a:bodyPr/>
          <a:lstStyle>
            <a:lvl1pPr>
              <a:defRPr/>
            </a:lvl1pPr>
          </a:lstStyle>
          <a:p>
            <a:pPr>
              <a:defRPr/>
            </a:pPr>
            <a:fld id="{CE4FC648-004F-4998-BE3B-F92D25459DE8}" type="datetimeFigureOut">
              <a:rPr lang="en-US"/>
              <a:pPr>
                <a:defRPr/>
              </a:pPr>
              <a:t>12/1/2023</a:t>
            </a:fld>
            <a:endParaRPr lang="en-US"/>
          </a:p>
        </p:txBody>
      </p:sp>
      <p:sp>
        <p:nvSpPr>
          <p:cNvPr id="5" name="Footer Placeholder 4">
            <a:extLst>
              <a:ext uri="{FF2B5EF4-FFF2-40B4-BE49-F238E27FC236}">
                <a16:creationId xmlns:a16="http://schemas.microsoft.com/office/drawing/2014/main" id="{238437B2-C6C0-4BD1-E744-DA8FA4BD82F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36F2E13-9A32-4DFA-C311-C618C50D04B8}"/>
              </a:ext>
            </a:extLst>
          </p:cNvPr>
          <p:cNvSpPr>
            <a:spLocks noGrp="1"/>
          </p:cNvSpPr>
          <p:nvPr>
            <p:ph type="sldNum" sz="quarter" idx="12"/>
          </p:nvPr>
        </p:nvSpPr>
        <p:spPr/>
        <p:txBody>
          <a:bodyPr/>
          <a:lstStyle>
            <a:lvl1pPr>
              <a:defRPr/>
            </a:lvl1pPr>
          </a:lstStyle>
          <a:p>
            <a:pPr>
              <a:defRPr/>
            </a:pPr>
            <a:fld id="{B063D61F-B655-46F1-B71B-39AD9E833C6B}" type="slidenum">
              <a:rPr lang="en-US"/>
              <a:pPr>
                <a:defRPr/>
              </a:pPr>
              <a:t>‹#›</a:t>
            </a:fld>
            <a:endParaRPr lang="en-US"/>
          </a:p>
        </p:txBody>
      </p:sp>
    </p:spTree>
    <p:extLst>
      <p:ext uri="{BB962C8B-B14F-4D97-AF65-F5344CB8AC3E}">
        <p14:creationId xmlns:p14="http://schemas.microsoft.com/office/powerpoint/2010/main" val="41288204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99182D-1A81-2D85-C30C-6F2D83C9066B}"/>
              </a:ext>
            </a:extLst>
          </p:cNvPr>
          <p:cNvSpPr>
            <a:spLocks noGrp="1"/>
          </p:cNvSpPr>
          <p:nvPr>
            <p:ph type="dt" sz="half" idx="10"/>
          </p:nvPr>
        </p:nvSpPr>
        <p:spPr/>
        <p:txBody>
          <a:bodyPr/>
          <a:lstStyle>
            <a:lvl1pPr>
              <a:defRPr/>
            </a:lvl1pPr>
          </a:lstStyle>
          <a:p>
            <a:pPr>
              <a:defRPr/>
            </a:pPr>
            <a:fld id="{B04CFBD9-F012-4E13-B7D0-B670DB5A80F5}" type="datetimeFigureOut">
              <a:rPr lang="en-US"/>
              <a:pPr>
                <a:defRPr/>
              </a:pPr>
              <a:t>12/1/2023</a:t>
            </a:fld>
            <a:endParaRPr lang="en-US"/>
          </a:p>
        </p:txBody>
      </p:sp>
      <p:sp>
        <p:nvSpPr>
          <p:cNvPr id="5" name="Footer Placeholder 4">
            <a:extLst>
              <a:ext uri="{FF2B5EF4-FFF2-40B4-BE49-F238E27FC236}">
                <a16:creationId xmlns:a16="http://schemas.microsoft.com/office/drawing/2014/main" id="{8FCBA9F3-7533-2218-98C5-811FE564EAC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E61688EF-8CAC-3AC9-3907-C4D4A96B67B9}"/>
              </a:ext>
            </a:extLst>
          </p:cNvPr>
          <p:cNvSpPr>
            <a:spLocks noGrp="1"/>
          </p:cNvSpPr>
          <p:nvPr>
            <p:ph type="sldNum" sz="quarter" idx="12"/>
          </p:nvPr>
        </p:nvSpPr>
        <p:spPr/>
        <p:txBody>
          <a:bodyPr/>
          <a:lstStyle>
            <a:lvl1pPr>
              <a:defRPr/>
            </a:lvl1pPr>
          </a:lstStyle>
          <a:p>
            <a:pPr>
              <a:defRPr/>
            </a:pPr>
            <a:fld id="{5251734D-A705-40D7-B3BB-909A681BF15C}" type="slidenum">
              <a:rPr lang="en-US"/>
              <a:pPr>
                <a:defRPr/>
              </a:pPr>
              <a:t>‹#›</a:t>
            </a:fld>
            <a:endParaRPr lang="en-US"/>
          </a:p>
        </p:txBody>
      </p:sp>
    </p:spTree>
    <p:extLst>
      <p:ext uri="{BB962C8B-B14F-4D97-AF65-F5344CB8AC3E}">
        <p14:creationId xmlns:p14="http://schemas.microsoft.com/office/powerpoint/2010/main" val="30876433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Date Placeholder 3">
            <a:extLst>
              <a:ext uri="{FF2B5EF4-FFF2-40B4-BE49-F238E27FC236}">
                <a16:creationId xmlns:a16="http://schemas.microsoft.com/office/drawing/2014/main" id="{D69E64EA-99F7-F2E4-0C33-B046D261449D}"/>
              </a:ext>
            </a:extLst>
          </p:cNvPr>
          <p:cNvSpPr>
            <a:spLocks noGrp="1"/>
          </p:cNvSpPr>
          <p:nvPr>
            <p:ph type="dt" sz="half" idx="10"/>
          </p:nvPr>
        </p:nvSpPr>
        <p:spPr/>
        <p:txBody>
          <a:bodyPr/>
          <a:lstStyle>
            <a:lvl1pPr>
              <a:defRPr/>
            </a:lvl1pPr>
          </a:lstStyle>
          <a:p>
            <a:pPr>
              <a:defRPr/>
            </a:pPr>
            <a:fld id="{0B274770-DD27-40BE-A6F8-C1BF239E2F3A}" type="datetimeFigureOut">
              <a:rPr lang="es-MX"/>
              <a:pPr>
                <a:defRPr/>
              </a:pPr>
              <a:t>01/12/2023</a:t>
            </a:fld>
            <a:endParaRPr lang="es-MX"/>
          </a:p>
        </p:txBody>
      </p:sp>
      <p:sp>
        <p:nvSpPr>
          <p:cNvPr id="4" name="Footer Placeholder 4">
            <a:extLst>
              <a:ext uri="{FF2B5EF4-FFF2-40B4-BE49-F238E27FC236}">
                <a16:creationId xmlns:a16="http://schemas.microsoft.com/office/drawing/2014/main" id="{4367C678-BCA4-93DA-898D-C01B087B4012}"/>
              </a:ext>
            </a:extLst>
          </p:cNvPr>
          <p:cNvSpPr>
            <a:spLocks noGrp="1"/>
          </p:cNvSpPr>
          <p:nvPr>
            <p:ph type="ftr" sz="quarter" idx="11"/>
          </p:nvPr>
        </p:nvSpPr>
        <p:spPr/>
        <p:txBody>
          <a:bodyPr/>
          <a:lstStyle>
            <a:lvl1pPr>
              <a:defRPr/>
            </a:lvl1pPr>
          </a:lstStyle>
          <a:p>
            <a:pPr>
              <a:defRPr/>
            </a:pPr>
            <a:endParaRPr lang="es-MX"/>
          </a:p>
        </p:txBody>
      </p:sp>
      <p:sp>
        <p:nvSpPr>
          <p:cNvPr id="5" name="Slide Number Placeholder 5">
            <a:extLst>
              <a:ext uri="{FF2B5EF4-FFF2-40B4-BE49-F238E27FC236}">
                <a16:creationId xmlns:a16="http://schemas.microsoft.com/office/drawing/2014/main" id="{C2FBA738-DCBB-5B71-0E8D-884969D17ACB}"/>
              </a:ext>
            </a:extLst>
          </p:cNvPr>
          <p:cNvSpPr>
            <a:spLocks noGrp="1"/>
          </p:cNvSpPr>
          <p:nvPr>
            <p:ph type="sldNum" sz="quarter" idx="12"/>
          </p:nvPr>
        </p:nvSpPr>
        <p:spPr/>
        <p:txBody>
          <a:bodyPr/>
          <a:lstStyle>
            <a:lvl1pPr>
              <a:defRPr/>
            </a:lvl1pPr>
          </a:lstStyle>
          <a:p>
            <a:pPr>
              <a:defRPr/>
            </a:pPr>
            <a:fld id="{8FD4DA14-F840-4A45-9F3E-4B37B96A26AE}" type="slidenum">
              <a:rPr lang="es-MX"/>
              <a:pPr>
                <a:defRPr/>
              </a:pPr>
              <a:t>‹#›</a:t>
            </a:fld>
            <a:endParaRPr lang="es-MX"/>
          </a:p>
        </p:txBody>
      </p:sp>
    </p:spTree>
    <p:extLst>
      <p:ext uri="{BB962C8B-B14F-4D97-AF65-F5344CB8AC3E}">
        <p14:creationId xmlns:p14="http://schemas.microsoft.com/office/powerpoint/2010/main" val="409464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7574F9A2-89EF-F83E-1EED-8F97250A15ED}"/>
              </a:ext>
            </a:extLst>
          </p:cNvPr>
          <p:cNvSpPr>
            <a:spLocks noGrp="1"/>
          </p:cNvSpPr>
          <p:nvPr>
            <p:ph type="dt" sz="half" idx="10"/>
          </p:nvPr>
        </p:nvSpPr>
        <p:spPr/>
        <p:txBody>
          <a:bodyPr/>
          <a:lstStyle>
            <a:lvl1pPr>
              <a:defRPr/>
            </a:lvl1pPr>
          </a:lstStyle>
          <a:p>
            <a:pPr>
              <a:defRPr/>
            </a:pPr>
            <a:fld id="{6CEEF2A7-07EE-4C63-8E4D-05059324059E}" type="datetimeFigureOut">
              <a:rPr lang="en-US"/>
              <a:pPr>
                <a:defRPr/>
              </a:pPr>
              <a:t>12/1/2023</a:t>
            </a:fld>
            <a:endParaRPr lang="en-US"/>
          </a:p>
        </p:txBody>
      </p:sp>
      <p:sp>
        <p:nvSpPr>
          <p:cNvPr id="6" name="Footer Placeholder 4">
            <a:extLst>
              <a:ext uri="{FF2B5EF4-FFF2-40B4-BE49-F238E27FC236}">
                <a16:creationId xmlns:a16="http://schemas.microsoft.com/office/drawing/2014/main" id="{91F5625E-89C8-2A61-4FDA-3CE48D4E1D73}"/>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C8D11BB0-50C5-ABC5-FCE2-8B74EE9ECBD4}"/>
              </a:ext>
            </a:extLst>
          </p:cNvPr>
          <p:cNvSpPr>
            <a:spLocks noGrp="1"/>
          </p:cNvSpPr>
          <p:nvPr>
            <p:ph type="sldNum" sz="quarter" idx="12"/>
          </p:nvPr>
        </p:nvSpPr>
        <p:spPr/>
        <p:txBody>
          <a:bodyPr/>
          <a:lstStyle>
            <a:lvl1pPr>
              <a:defRPr/>
            </a:lvl1pPr>
          </a:lstStyle>
          <a:p>
            <a:pPr>
              <a:defRPr/>
            </a:pPr>
            <a:fld id="{BFC87F8F-2A52-443D-9799-E3FEC4D779A2}" type="slidenum">
              <a:rPr lang="en-US"/>
              <a:pPr>
                <a:defRPr/>
              </a:pPr>
              <a:t>‹#›</a:t>
            </a:fld>
            <a:endParaRPr lang="en-US"/>
          </a:p>
        </p:txBody>
      </p:sp>
    </p:spTree>
    <p:extLst>
      <p:ext uri="{BB962C8B-B14F-4D97-AF65-F5344CB8AC3E}">
        <p14:creationId xmlns:p14="http://schemas.microsoft.com/office/powerpoint/2010/main" val="24002838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342EECAF-BC0E-1949-3DCB-1747F85553D3}"/>
              </a:ext>
            </a:extLst>
          </p:cNvPr>
          <p:cNvSpPr>
            <a:spLocks noGrp="1"/>
          </p:cNvSpPr>
          <p:nvPr>
            <p:ph type="dt" sz="half" idx="10"/>
          </p:nvPr>
        </p:nvSpPr>
        <p:spPr/>
        <p:txBody>
          <a:bodyPr/>
          <a:lstStyle>
            <a:lvl1pPr>
              <a:defRPr/>
            </a:lvl1pPr>
          </a:lstStyle>
          <a:p>
            <a:pPr>
              <a:defRPr/>
            </a:pPr>
            <a:fld id="{11A8DC52-6F2C-42C0-A7D0-6AAC32AD77F0}" type="datetimeFigureOut">
              <a:rPr lang="en-US"/>
              <a:pPr>
                <a:defRPr/>
              </a:pPr>
              <a:t>12/1/2023</a:t>
            </a:fld>
            <a:endParaRPr lang="en-US"/>
          </a:p>
        </p:txBody>
      </p:sp>
      <p:sp>
        <p:nvSpPr>
          <p:cNvPr id="8" name="Footer Placeholder 4">
            <a:extLst>
              <a:ext uri="{FF2B5EF4-FFF2-40B4-BE49-F238E27FC236}">
                <a16:creationId xmlns:a16="http://schemas.microsoft.com/office/drawing/2014/main" id="{84811669-3431-2025-991C-8C73101D41AE}"/>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87AB6B08-1902-8547-6318-AC4EC90A493F}"/>
              </a:ext>
            </a:extLst>
          </p:cNvPr>
          <p:cNvSpPr>
            <a:spLocks noGrp="1"/>
          </p:cNvSpPr>
          <p:nvPr>
            <p:ph type="sldNum" sz="quarter" idx="12"/>
          </p:nvPr>
        </p:nvSpPr>
        <p:spPr/>
        <p:txBody>
          <a:bodyPr/>
          <a:lstStyle>
            <a:lvl1pPr>
              <a:defRPr/>
            </a:lvl1pPr>
          </a:lstStyle>
          <a:p>
            <a:pPr>
              <a:defRPr/>
            </a:pPr>
            <a:fld id="{90FDDCDB-D0DC-4B12-9971-2D16144A59C7}" type="slidenum">
              <a:rPr lang="en-US"/>
              <a:pPr>
                <a:defRPr/>
              </a:pPr>
              <a:t>‹#›</a:t>
            </a:fld>
            <a:endParaRPr lang="en-US"/>
          </a:p>
        </p:txBody>
      </p:sp>
    </p:spTree>
    <p:extLst>
      <p:ext uri="{BB962C8B-B14F-4D97-AF65-F5344CB8AC3E}">
        <p14:creationId xmlns:p14="http://schemas.microsoft.com/office/powerpoint/2010/main" val="4056319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D1618B98-29AE-FAD5-B82E-D451789841B1}"/>
              </a:ext>
            </a:extLst>
          </p:cNvPr>
          <p:cNvSpPr>
            <a:spLocks noGrp="1"/>
          </p:cNvSpPr>
          <p:nvPr>
            <p:ph type="dt" sz="half" idx="10"/>
          </p:nvPr>
        </p:nvSpPr>
        <p:spPr/>
        <p:txBody>
          <a:bodyPr/>
          <a:lstStyle>
            <a:lvl1pPr>
              <a:defRPr/>
            </a:lvl1pPr>
          </a:lstStyle>
          <a:p>
            <a:pPr>
              <a:defRPr/>
            </a:pPr>
            <a:fld id="{862661BD-D5F1-4582-94CD-15FB57A9EE8B}" type="datetimeFigureOut">
              <a:rPr lang="en-US"/>
              <a:pPr>
                <a:defRPr/>
              </a:pPr>
              <a:t>12/1/2023</a:t>
            </a:fld>
            <a:endParaRPr lang="en-US"/>
          </a:p>
        </p:txBody>
      </p:sp>
      <p:sp>
        <p:nvSpPr>
          <p:cNvPr id="4" name="Footer Placeholder 4">
            <a:extLst>
              <a:ext uri="{FF2B5EF4-FFF2-40B4-BE49-F238E27FC236}">
                <a16:creationId xmlns:a16="http://schemas.microsoft.com/office/drawing/2014/main" id="{E41D12CA-65E1-370B-C9C8-C5D113AB04C2}"/>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2C258BA7-E4C9-AD5F-A78B-715DD8A5C3D4}"/>
              </a:ext>
            </a:extLst>
          </p:cNvPr>
          <p:cNvSpPr>
            <a:spLocks noGrp="1"/>
          </p:cNvSpPr>
          <p:nvPr>
            <p:ph type="sldNum" sz="quarter" idx="12"/>
          </p:nvPr>
        </p:nvSpPr>
        <p:spPr/>
        <p:txBody>
          <a:bodyPr/>
          <a:lstStyle>
            <a:lvl1pPr>
              <a:defRPr/>
            </a:lvl1pPr>
          </a:lstStyle>
          <a:p>
            <a:pPr>
              <a:defRPr/>
            </a:pPr>
            <a:fld id="{D45A5759-3602-4A73-ACC2-E43BCD97D152}" type="slidenum">
              <a:rPr lang="en-US"/>
              <a:pPr>
                <a:defRPr/>
              </a:pPr>
              <a:t>‹#›</a:t>
            </a:fld>
            <a:endParaRPr lang="en-US"/>
          </a:p>
        </p:txBody>
      </p:sp>
    </p:spTree>
    <p:extLst>
      <p:ext uri="{BB962C8B-B14F-4D97-AF65-F5344CB8AC3E}">
        <p14:creationId xmlns:p14="http://schemas.microsoft.com/office/powerpoint/2010/main" val="20133293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94AE8912-55B6-D397-E7AF-2F0B03ADA61D}"/>
              </a:ext>
            </a:extLst>
          </p:cNvPr>
          <p:cNvSpPr>
            <a:spLocks noGrp="1"/>
          </p:cNvSpPr>
          <p:nvPr>
            <p:ph type="dt" sz="half" idx="10"/>
          </p:nvPr>
        </p:nvSpPr>
        <p:spPr/>
        <p:txBody>
          <a:bodyPr/>
          <a:lstStyle>
            <a:lvl1pPr>
              <a:defRPr/>
            </a:lvl1pPr>
          </a:lstStyle>
          <a:p>
            <a:pPr>
              <a:defRPr/>
            </a:pPr>
            <a:fld id="{16A7505F-ADD5-4AA4-A88B-C114618F822F}" type="datetimeFigureOut">
              <a:rPr lang="en-US"/>
              <a:pPr>
                <a:defRPr/>
              </a:pPr>
              <a:t>12/1/2023</a:t>
            </a:fld>
            <a:endParaRPr lang="en-US"/>
          </a:p>
        </p:txBody>
      </p:sp>
      <p:sp>
        <p:nvSpPr>
          <p:cNvPr id="3" name="Footer Placeholder 4">
            <a:extLst>
              <a:ext uri="{FF2B5EF4-FFF2-40B4-BE49-F238E27FC236}">
                <a16:creationId xmlns:a16="http://schemas.microsoft.com/office/drawing/2014/main" id="{005CD9C4-C0AE-A0BE-4157-9CB94988730D}"/>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63021060-BF9A-5962-783E-A8D68F60A681}"/>
              </a:ext>
            </a:extLst>
          </p:cNvPr>
          <p:cNvSpPr>
            <a:spLocks noGrp="1"/>
          </p:cNvSpPr>
          <p:nvPr>
            <p:ph type="sldNum" sz="quarter" idx="12"/>
          </p:nvPr>
        </p:nvSpPr>
        <p:spPr/>
        <p:txBody>
          <a:bodyPr/>
          <a:lstStyle>
            <a:lvl1pPr>
              <a:defRPr/>
            </a:lvl1pPr>
          </a:lstStyle>
          <a:p>
            <a:pPr>
              <a:defRPr/>
            </a:pPr>
            <a:fld id="{8087D80C-AE29-48D0-82A1-7CF768034F96}" type="slidenum">
              <a:rPr lang="en-US"/>
              <a:pPr>
                <a:defRPr/>
              </a:pPr>
              <a:t>‹#›</a:t>
            </a:fld>
            <a:endParaRPr lang="en-US"/>
          </a:p>
        </p:txBody>
      </p:sp>
    </p:spTree>
    <p:extLst>
      <p:ext uri="{BB962C8B-B14F-4D97-AF65-F5344CB8AC3E}">
        <p14:creationId xmlns:p14="http://schemas.microsoft.com/office/powerpoint/2010/main" val="9703885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3">
            <a:extLst>
              <a:ext uri="{FF2B5EF4-FFF2-40B4-BE49-F238E27FC236}">
                <a16:creationId xmlns:a16="http://schemas.microsoft.com/office/drawing/2014/main" id="{87C85705-3C0E-2064-FA75-B95DA78259E2}"/>
              </a:ext>
            </a:extLst>
          </p:cNvPr>
          <p:cNvSpPr>
            <a:spLocks noGrp="1"/>
          </p:cNvSpPr>
          <p:nvPr>
            <p:ph type="dt" sz="half" idx="10"/>
          </p:nvPr>
        </p:nvSpPr>
        <p:spPr/>
        <p:txBody>
          <a:bodyPr/>
          <a:lstStyle>
            <a:lvl1pPr>
              <a:defRPr/>
            </a:lvl1pPr>
          </a:lstStyle>
          <a:p>
            <a:pPr>
              <a:defRPr/>
            </a:pPr>
            <a:fld id="{B37BCDD3-B08A-4FCA-B0F1-17450F3D8CCC}" type="datetimeFigureOut">
              <a:rPr lang="en-US"/>
              <a:pPr>
                <a:defRPr/>
              </a:pPr>
              <a:t>12/1/2023</a:t>
            </a:fld>
            <a:endParaRPr lang="en-US"/>
          </a:p>
        </p:txBody>
      </p:sp>
      <p:sp>
        <p:nvSpPr>
          <p:cNvPr id="6" name="Footer Placeholder 4">
            <a:extLst>
              <a:ext uri="{FF2B5EF4-FFF2-40B4-BE49-F238E27FC236}">
                <a16:creationId xmlns:a16="http://schemas.microsoft.com/office/drawing/2014/main" id="{87E01AC1-511B-6D66-3AEC-455328DD60B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A260E73F-F135-9F62-1215-8C0A6C3D6AD7}"/>
              </a:ext>
            </a:extLst>
          </p:cNvPr>
          <p:cNvSpPr>
            <a:spLocks noGrp="1"/>
          </p:cNvSpPr>
          <p:nvPr>
            <p:ph type="sldNum" sz="quarter" idx="12"/>
          </p:nvPr>
        </p:nvSpPr>
        <p:spPr/>
        <p:txBody>
          <a:bodyPr/>
          <a:lstStyle>
            <a:lvl1pPr>
              <a:defRPr/>
            </a:lvl1pPr>
          </a:lstStyle>
          <a:p>
            <a:pPr>
              <a:defRPr/>
            </a:pPr>
            <a:fld id="{897FFDDC-A714-44AC-A4B0-3A2DFBEBD714}" type="slidenum">
              <a:rPr lang="en-US"/>
              <a:pPr>
                <a:defRPr/>
              </a:pPr>
              <a:t>‹#›</a:t>
            </a:fld>
            <a:endParaRPr lang="en-US"/>
          </a:p>
        </p:txBody>
      </p:sp>
    </p:spTree>
    <p:extLst>
      <p:ext uri="{BB962C8B-B14F-4D97-AF65-F5344CB8AC3E}">
        <p14:creationId xmlns:p14="http://schemas.microsoft.com/office/powerpoint/2010/main" val="11054290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pPr lvl="0"/>
            <a:endParaRPr lang="en-US" noProof="0"/>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3">
            <a:extLst>
              <a:ext uri="{FF2B5EF4-FFF2-40B4-BE49-F238E27FC236}">
                <a16:creationId xmlns:a16="http://schemas.microsoft.com/office/drawing/2014/main" id="{A1D6C6D3-701C-8947-7477-BCB6315041B2}"/>
              </a:ext>
            </a:extLst>
          </p:cNvPr>
          <p:cNvSpPr>
            <a:spLocks noGrp="1"/>
          </p:cNvSpPr>
          <p:nvPr>
            <p:ph type="dt" sz="half" idx="10"/>
          </p:nvPr>
        </p:nvSpPr>
        <p:spPr/>
        <p:txBody>
          <a:bodyPr/>
          <a:lstStyle>
            <a:lvl1pPr>
              <a:defRPr/>
            </a:lvl1pPr>
          </a:lstStyle>
          <a:p>
            <a:pPr>
              <a:defRPr/>
            </a:pPr>
            <a:fld id="{90ED82EF-0178-4DB3-B3AE-C0AAB719BCCD}" type="datetimeFigureOut">
              <a:rPr lang="en-US"/>
              <a:pPr>
                <a:defRPr/>
              </a:pPr>
              <a:t>12/1/2023</a:t>
            </a:fld>
            <a:endParaRPr lang="en-US"/>
          </a:p>
        </p:txBody>
      </p:sp>
      <p:sp>
        <p:nvSpPr>
          <p:cNvPr id="6" name="Footer Placeholder 4">
            <a:extLst>
              <a:ext uri="{FF2B5EF4-FFF2-40B4-BE49-F238E27FC236}">
                <a16:creationId xmlns:a16="http://schemas.microsoft.com/office/drawing/2014/main" id="{464DF5FF-62C8-1DCB-20F9-064758B68223}"/>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831305B9-84DE-357D-AD92-BC3AF5718CBC}"/>
              </a:ext>
            </a:extLst>
          </p:cNvPr>
          <p:cNvSpPr>
            <a:spLocks noGrp="1"/>
          </p:cNvSpPr>
          <p:nvPr>
            <p:ph type="sldNum" sz="quarter" idx="12"/>
          </p:nvPr>
        </p:nvSpPr>
        <p:spPr/>
        <p:txBody>
          <a:bodyPr/>
          <a:lstStyle>
            <a:lvl1pPr>
              <a:defRPr/>
            </a:lvl1pPr>
          </a:lstStyle>
          <a:p>
            <a:pPr>
              <a:defRPr/>
            </a:pPr>
            <a:fld id="{D3CBA4AF-A288-4FF5-BE2B-046692AF8770}" type="slidenum">
              <a:rPr lang="en-US"/>
              <a:pPr>
                <a:defRPr/>
              </a:pPr>
              <a:t>‹#›</a:t>
            </a:fld>
            <a:endParaRPr lang="en-US"/>
          </a:p>
        </p:txBody>
      </p:sp>
    </p:spTree>
    <p:extLst>
      <p:ext uri="{BB962C8B-B14F-4D97-AF65-F5344CB8AC3E}">
        <p14:creationId xmlns:p14="http://schemas.microsoft.com/office/powerpoint/2010/main" val="25825418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010D53-5938-AAD1-3A07-405E9132CAE3}"/>
              </a:ext>
            </a:extLst>
          </p:cNvPr>
          <p:cNvSpPr>
            <a:spLocks noGrp="1"/>
          </p:cNvSpPr>
          <p:nvPr>
            <p:ph type="dt" sz="half" idx="10"/>
          </p:nvPr>
        </p:nvSpPr>
        <p:spPr/>
        <p:txBody>
          <a:bodyPr/>
          <a:lstStyle>
            <a:lvl1pPr>
              <a:defRPr/>
            </a:lvl1pPr>
          </a:lstStyle>
          <a:p>
            <a:pPr>
              <a:defRPr/>
            </a:pPr>
            <a:fld id="{0343D594-3B7C-4DF1-8D99-213AF3A9B692}" type="datetimeFigureOut">
              <a:rPr lang="en-US"/>
              <a:pPr>
                <a:defRPr/>
              </a:pPr>
              <a:t>12/1/2023</a:t>
            </a:fld>
            <a:endParaRPr lang="en-US"/>
          </a:p>
        </p:txBody>
      </p:sp>
      <p:sp>
        <p:nvSpPr>
          <p:cNvPr id="5" name="Footer Placeholder 4">
            <a:extLst>
              <a:ext uri="{FF2B5EF4-FFF2-40B4-BE49-F238E27FC236}">
                <a16:creationId xmlns:a16="http://schemas.microsoft.com/office/drawing/2014/main" id="{90346780-42E8-35AF-741F-8A075E8CAE4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C33CA81-8E00-870A-A678-A51B0438AC90}"/>
              </a:ext>
            </a:extLst>
          </p:cNvPr>
          <p:cNvSpPr>
            <a:spLocks noGrp="1"/>
          </p:cNvSpPr>
          <p:nvPr>
            <p:ph type="sldNum" sz="quarter" idx="12"/>
          </p:nvPr>
        </p:nvSpPr>
        <p:spPr/>
        <p:txBody>
          <a:bodyPr/>
          <a:lstStyle>
            <a:lvl1pPr>
              <a:defRPr/>
            </a:lvl1pPr>
          </a:lstStyle>
          <a:p>
            <a:pPr>
              <a:defRPr/>
            </a:pPr>
            <a:fld id="{1B480A36-0DC6-4A9C-B629-B62B78D922CD}" type="slidenum">
              <a:rPr lang="en-US"/>
              <a:pPr>
                <a:defRPr/>
              </a:pPr>
              <a:t>‹#›</a:t>
            </a:fld>
            <a:endParaRPr lang="en-US"/>
          </a:p>
        </p:txBody>
      </p:sp>
    </p:spTree>
    <p:extLst>
      <p:ext uri="{BB962C8B-B14F-4D97-AF65-F5344CB8AC3E}">
        <p14:creationId xmlns:p14="http://schemas.microsoft.com/office/powerpoint/2010/main" val="15807553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6F77EE-7AFB-4EF9-EA56-10667D6EAC06}"/>
              </a:ext>
            </a:extLst>
          </p:cNvPr>
          <p:cNvSpPr>
            <a:spLocks noGrp="1"/>
          </p:cNvSpPr>
          <p:nvPr>
            <p:ph type="dt" sz="half" idx="10"/>
          </p:nvPr>
        </p:nvSpPr>
        <p:spPr/>
        <p:txBody>
          <a:bodyPr/>
          <a:lstStyle>
            <a:lvl1pPr>
              <a:defRPr/>
            </a:lvl1pPr>
          </a:lstStyle>
          <a:p>
            <a:pPr>
              <a:defRPr/>
            </a:pPr>
            <a:fld id="{F06FB737-E277-4DF8-84F0-679158CF7CD6}" type="datetimeFigureOut">
              <a:rPr lang="en-US"/>
              <a:pPr>
                <a:defRPr/>
              </a:pPr>
              <a:t>12/1/2023</a:t>
            </a:fld>
            <a:endParaRPr lang="en-US"/>
          </a:p>
        </p:txBody>
      </p:sp>
      <p:sp>
        <p:nvSpPr>
          <p:cNvPr id="5" name="Footer Placeholder 4">
            <a:extLst>
              <a:ext uri="{FF2B5EF4-FFF2-40B4-BE49-F238E27FC236}">
                <a16:creationId xmlns:a16="http://schemas.microsoft.com/office/drawing/2014/main" id="{08B837DC-FFBA-96FC-B84F-4D6F999FC2C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E1283B1-5891-FBE8-1643-81B4A0627446}"/>
              </a:ext>
            </a:extLst>
          </p:cNvPr>
          <p:cNvSpPr>
            <a:spLocks noGrp="1"/>
          </p:cNvSpPr>
          <p:nvPr>
            <p:ph type="sldNum" sz="quarter" idx="12"/>
          </p:nvPr>
        </p:nvSpPr>
        <p:spPr/>
        <p:txBody>
          <a:bodyPr/>
          <a:lstStyle>
            <a:lvl1pPr>
              <a:defRPr/>
            </a:lvl1pPr>
          </a:lstStyle>
          <a:p>
            <a:pPr>
              <a:defRPr/>
            </a:pPr>
            <a:fld id="{3A706E2D-FD5B-4E1A-A5A0-B0BA0F8A8664}" type="slidenum">
              <a:rPr lang="en-US"/>
              <a:pPr>
                <a:defRPr/>
              </a:pPr>
              <a:t>‹#›</a:t>
            </a:fld>
            <a:endParaRPr lang="en-US"/>
          </a:p>
        </p:txBody>
      </p:sp>
    </p:spTree>
    <p:extLst>
      <p:ext uri="{BB962C8B-B14F-4D97-AF65-F5344CB8AC3E}">
        <p14:creationId xmlns:p14="http://schemas.microsoft.com/office/powerpoint/2010/main" val="29052101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31" indent="0" algn="ctr">
              <a:buNone/>
              <a:defRPr>
                <a:solidFill>
                  <a:schemeClr val="tx1">
                    <a:tint val="75000"/>
                  </a:schemeClr>
                </a:solidFill>
              </a:defRPr>
            </a:lvl2pPr>
            <a:lvl3pPr marL="609660" indent="0" algn="ctr">
              <a:buNone/>
              <a:defRPr>
                <a:solidFill>
                  <a:schemeClr val="tx1">
                    <a:tint val="75000"/>
                  </a:schemeClr>
                </a:solidFill>
              </a:defRPr>
            </a:lvl3pPr>
            <a:lvl4pPr marL="914492" indent="0" algn="ctr">
              <a:buNone/>
              <a:defRPr>
                <a:solidFill>
                  <a:schemeClr val="tx1">
                    <a:tint val="75000"/>
                  </a:schemeClr>
                </a:solidFill>
              </a:defRPr>
            </a:lvl4pPr>
            <a:lvl5pPr marL="1219322" indent="0" algn="ctr">
              <a:buNone/>
              <a:defRPr>
                <a:solidFill>
                  <a:schemeClr val="tx1">
                    <a:tint val="75000"/>
                  </a:schemeClr>
                </a:solidFill>
              </a:defRPr>
            </a:lvl5pPr>
            <a:lvl6pPr marL="1524152" indent="0" algn="ctr">
              <a:buNone/>
              <a:defRPr>
                <a:solidFill>
                  <a:schemeClr val="tx1">
                    <a:tint val="75000"/>
                  </a:schemeClr>
                </a:solidFill>
              </a:defRPr>
            </a:lvl6pPr>
            <a:lvl7pPr marL="1828983" indent="0" algn="ctr">
              <a:buNone/>
              <a:defRPr>
                <a:solidFill>
                  <a:schemeClr val="tx1">
                    <a:tint val="75000"/>
                  </a:schemeClr>
                </a:solidFill>
              </a:defRPr>
            </a:lvl7pPr>
            <a:lvl8pPr marL="2133814" indent="0" algn="ctr">
              <a:buNone/>
              <a:defRPr>
                <a:solidFill>
                  <a:schemeClr val="tx1">
                    <a:tint val="75000"/>
                  </a:schemeClr>
                </a:solidFill>
              </a:defRPr>
            </a:lvl8pPr>
            <a:lvl9pPr marL="2438644"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91FD55AC-0B62-9F07-158B-3BAB475868E1}"/>
              </a:ext>
            </a:extLst>
          </p:cNvPr>
          <p:cNvSpPr>
            <a:spLocks noGrp="1"/>
          </p:cNvSpPr>
          <p:nvPr>
            <p:ph type="dt" sz="half" idx="10"/>
          </p:nvPr>
        </p:nvSpPr>
        <p:spPr/>
        <p:txBody>
          <a:bodyPr/>
          <a:lstStyle>
            <a:lvl1pPr>
              <a:defRPr/>
            </a:lvl1pPr>
          </a:lstStyle>
          <a:p>
            <a:pPr>
              <a:defRPr/>
            </a:pPr>
            <a:fld id="{6C9F8F6D-2C43-4A69-9543-AD9B5BC9160E}" type="datetimeFigureOut">
              <a:rPr lang="en-US"/>
              <a:pPr>
                <a:defRPr/>
              </a:pPr>
              <a:t>12/1/2023</a:t>
            </a:fld>
            <a:endParaRPr lang="en-US"/>
          </a:p>
        </p:txBody>
      </p:sp>
      <p:sp>
        <p:nvSpPr>
          <p:cNvPr id="5" name="Footer Placeholder 4">
            <a:extLst>
              <a:ext uri="{FF2B5EF4-FFF2-40B4-BE49-F238E27FC236}">
                <a16:creationId xmlns:a16="http://schemas.microsoft.com/office/drawing/2014/main" id="{EF1AC701-194E-FC85-E2A6-2D840D47087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DC8FF4D-4EDB-AB78-8FF9-5D2EAF0F3C8B}"/>
              </a:ext>
            </a:extLst>
          </p:cNvPr>
          <p:cNvSpPr>
            <a:spLocks noGrp="1"/>
          </p:cNvSpPr>
          <p:nvPr>
            <p:ph type="sldNum" sz="quarter" idx="12"/>
          </p:nvPr>
        </p:nvSpPr>
        <p:spPr/>
        <p:txBody>
          <a:bodyPr/>
          <a:lstStyle>
            <a:lvl1pPr>
              <a:defRPr/>
            </a:lvl1pPr>
          </a:lstStyle>
          <a:p>
            <a:pPr>
              <a:defRPr/>
            </a:pPr>
            <a:fld id="{5E71E4AF-1AEC-441D-8715-F39C0C6B60A6}" type="slidenum">
              <a:rPr lang="en-US"/>
              <a:pPr>
                <a:defRPr/>
              </a:pPr>
              <a:t>‹#›</a:t>
            </a:fld>
            <a:endParaRPr lang="en-US"/>
          </a:p>
        </p:txBody>
      </p:sp>
    </p:spTree>
    <p:extLst>
      <p:ext uri="{BB962C8B-B14F-4D97-AF65-F5344CB8AC3E}">
        <p14:creationId xmlns:p14="http://schemas.microsoft.com/office/powerpoint/2010/main" val="14490922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5932C9-E596-0E14-EDBC-7C3D1E7FCFCA}"/>
              </a:ext>
            </a:extLst>
          </p:cNvPr>
          <p:cNvSpPr>
            <a:spLocks noGrp="1"/>
          </p:cNvSpPr>
          <p:nvPr>
            <p:ph type="dt" sz="half" idx="10"/>
          </p:nvPr>
        </p:nvSpPr>
        <p:spPr/>
        <p:txBody>
          <a:bodyPr/>
          <a:lstStyle>
            <a:lvl1pPr>
              <a:defRPr/>
            </a:lvl1pPr>
          </a:lstStyle>
          <a:p>
            <a:pPr>
              <a:defRPr/>
            </a:pPr>
            <a:fld id="{474A058F-B5E9-4DC7-9CD6-9EFAAFE9A0CF}" type="datetimeFigureOut">
              <a:rPr lang="en-US"/>
              <a:pPr>
                <a:defRPr/>
              </a:pPr>
              <a:t>12/1/2023</a:t>
            </a:fld>
            <a:endParaRPr lang="en-US"/>
          </a:p>
        </p:txBody>
      </p:sp>
      <p:sp>
        <p:nvSpPr>
          <p:cNvPr id="5" name="Footer Placeholder 4">
            <a:extLst>
              <a:ext uri="{FF2B5EF4-FFF2-40B4-BE49-F238E27FC236}">
                <a16:creationId xmlns:a16="http://schemas.microsoft.com/office/drawing/2014/main" id="{88C1D30E-7EEF-75EF-1D19-164C2CC3CDD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253A1D3-8C56-97F2-7F2A-4000C54C5286}"/>
              </a:ext>
            </a:extLst>
          </p:cNvPr>
          <p:cNvSpPr>
            <a:spLocks noGrp="1"/>
          </p:cNvSpPr>
          <p:nvPr>
            <p:ph type="sldNum" sz="quarter" idx="12"/>
          </p:nvPr>
        </p:nvSpPr>
        <p:spPr/>
        <p:txBody>
          <a:bodyPr/>
          <a:lstStyle>
            <a:lvl1pPr>
              <a:defRPr/>
            </a:lvl1pPr>
          </a:lstStyle>
          <a:p>
            <a:pPr>
              <a:defRPr/>
            </a:pPr>
            <a:fld id="{D70941E0-00F8-4ACD-9BB1-6D508D42A92C}" type="slidenum">
              <a:rPr lang="en-US"/>
              <a:pPr>
                <a:defRPr/>
              </a:pPr>
              <a:t>‹#›</a:t>
            </a:fld>
            <a:endParaRPr lang="en-US"/>
          </a:p>
        </p:txBody>
      </p:sp>
    </p:spTree>
    <p:extLst>
      <p:ext uri="{BB962C8B-B14F-4D97-AF65-F5344CB8AC3E}">
        <p14:creationId xmlns:p14="http://schemas.microsoft.com/office/powerpoint/2010/main" val="2642117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0C8AF52-81FC-2DCC-91DA-715501A3D1FD}"/>
              </a:ext>
            </a:extLst>
          </p:cNvPr>
          <p:cNvSpPr>
            <a:spLocks noGrp="1"/>
          </p:cNvSpPr>
          <p:nvPr>
            <p:ph type="dt" sz="half" idx="10"/>
          </p:nvPr>
        </p:nvSpPr>
        <p:spPr/>
        <p:txBody>
          <a:bodyPr/>
          <a:lstStyle>
            <a:lvl1pPr>
              <a:defRPr/>
            </a:lvl1pPr>
          </a:lstStyle>
          <a:p>
            <a:pPr>
              <a:defRPr/>
            </a:pPr>
            <a:fld id="{F0C4BEB3-6CE6-413E-AE29-F3AFB5FA26F1}" type="datetimeFigureOut">
              <a:rPr lang="es-MX"/>
              <a:pPr>
                <a:defRPr/>
              </a:pPr>
              <a:t>01/12/2023</a:t>
            </a:fld>
            <a:endParaRPr lang="es-MX"/>
          </a:p>
        </p:txBody>
      </p:sp>
      <p:sp>
        <p:nvSpPr>
          <p:cNvPr id="3" name="Footer Placeholder 4">
            <a:extLst>
              <a:ext uri="{FF2B5EF4-FFF2-40B4-BE49-F238E27FC236}">
                <a16:creationId xmlns:a16="http://schemas.microsoft.com/office/drawing/2014/main" id="{087C755E-1E24-275B-64C3-BA8566AABB08}"/>
              </a:ext>
            </a:extLst>
          </p:cNvPr>
          <p:cNvSpPr>
            <a:spLocks noGrp="1"/>
          </p:cNvSpPr>
          <p:nvPr>
            <p:ph type="ftr" sz="quarter" idx="11"/>
          </p:nvPr>
        </p:nvSpPr>
        <p:spPr/>
        <p:txBody>
          <a:bodyPr/>
          <a:lstStyle>
            <a:lvl1pPr>
              <a:defRPr/>
            </a:lvl1pPr>
          </a:lstStyle>
          <a:p>
            <a:pPr>
              <a:defRPr/>
            </a:pPr>
            <a:endParaRPr lang="es-MX"/>
          </a:p>
        </p:txBody>
      </p:sp>
      <p:sp>
        <p:nvSpPr>
          <p:cNvPr id="4" name="Slide Number Placeholder 5">
            <a:extLst>
              <a:ext uri="{FF2B5EF4-FFF2-40B4-BE49-F238E27FC236}">
                <a16:creationId xmlns:a16="http://schemas.microsoft.com/office/drawing/2014/main" id="{AD159E36-7B28-945A-3E39-D515B952F6C8}"/>
              </a:ext>
            </a:extLst>
          </p:cNvPr>
          <p:cNvSpPr>
            <a:spLocks noGrp="1"/>
          </p:cNvSpPr>
          <p:nvPr>
            <p:ph type="sldNum" sz="quarter" idx="12"/>
          </p:nvPr>
        </p:nvSpPr>
        <p:spPr/>
        <p:txBody>
          <a:bodyPr/>
          <a:lstStyle>
            <a:lvl1pPr>
              <a:defRPr/>
            </a:lvl1pPr>
          </a:lstStyle>
          <a:p>
            <a:pPr>
              <a:defRPr/>
            </a:pPr>
            <a:fld id="{EC8380A8-FD50-469A-B045-2C898F5C8900}" type="slidenum">
              <a:rPr lang="es-MX"/>
              <a:pPr>
                <a:defRPr/>
              </a:pPr>
              <a:t>‹#›</a:t>
            </a:fld>
            <a:endParaRPr lang="es-MX"/>
          </a:p>
        </p:txBody>
      </p:sp>
    </p:spTree>
    <p:extLst>
      <p:ext uri="{BB962C8B-B14F-4D97-AF65-F5344CB8AC3E}">
        <p14:creationId xmlns:p14="http://schemas.microsoft.com/office/powerpoint/2010/main" val="6212016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10"/>
            <a:ext cx="5181600" cy="1000125"/>
          </a:xfrm>
        </p:spPr>
        <p:txBody>
          <a:bodyPr anchor="b"/>
          <a:lstStyle>
            <a:lvl1pPr marL="0" indent="0">
              <a:buNone/>
              <a:defRPr sz="1333">
                <a:solidFill>
                  <a:schemeClr val="tx1">
                    <a:tint val="75000"/>
                  </a:schemeClr>
                </a:solidFill>
              </a:defRPr>
            </a:lvl1pPr>
            <a:lvl2pPr marL="304831" indent="0">
              <a:buNone/>
              <a:defRPr sz="1200">
                <a:solidFill>
                  <a:schemeClr val="tx1">
                    <a:tint val="75000"/>
                  </a:schemeClr>
                </a:solidFill>
              </a:defRPr>
            </a:lvl2pPr>
            <a:lvl3pPr marL="609660" indent="0">
              <a:buNone/>
              <a:defRPr sz="1067">
                <a:solidFill>
                  <a:schemeClr val="tx1">
                    <a:tint val="75000"/>
                  </a:schemeClr>
                </a:solidFill>
              </a:defRPr>
            </a:lvl3pPr>
            <a:lvl4pPr marL="914492" indent="0">
              <a:buNone/>
              <a:defRPr sz="933">
                <a:solidFill>
                  <a:schemeClr val="tx1">
                    <a:tint val="75000"/>
                  </a:schemeClr>
                </a:solidFill>
              </a:defRPr>
            </a:lvl4pPr>
            <a:lvl5pPr marL="1219322" indent="0">
              <a:buNone/>
              <a:defRPr sz="933">
                <a:solidFill>
                  <a:schemeClr val="tx1">
                    <a:tint val="75000"/>
                  </a:schemeClr>
                </a:solidFill>
              </a:defRPr>
            </a:lvl5pPr>
            <a:lvl6pPr marL="1524152" indent="0">
              <a:buNone/>
              <a:defRPr sz="933">
                <a:solidFill>
                  <a:schemeClr val="tx1">
                    <a:tint val="75000"/>
                  </a:schemeClr>
                </a:solidFill>
              </a:defRPr>
            </a:lvl6pPr>
            <a:lvl7pPr marL="1828983" indent="0">
              <a:buNone/>
              <a:defRPr sz="933">
                <a:solidFill>
                  <a:schemeClr val="tx1">
                    <a:tint val="75000"/>
                  </a:schemeClr>
                </a:solidFill>
              </a:defRPr>
            </a:lvl7pPr>
            <a:lvl8pPr marL="2133814" indent="0">
              <a:buNone/>
              <a:defRPr sz="933">
                <a:solidFill>
                  <a:schemeClr val="tx1">
                    <a:tint val="75000"/>
                  </a:schemeClr>
                </a:solidFill>
              </a:defRPr>
            </a:lvl8pPr>
            <a:lvl9pPr marL="2438644" indent="0">
              <a:buNone/>
              <a:defRPr sz="933">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122EDE3-F968-3B88-A841-DE8A6DDCAB09}"/>
              </a:ext>
            </a:extLst>
          </p:cNvPr>
          <p:cNvSpPr>
            <a:spLocks noGrp="1"/>
          </p:cNvSpPr>
          <p:nvPr>
            <p:ph type="dt" sz="half" idx="10"/>
          </p:nvPr>
        </p:nvSpPr>
        <p:spPr/>
        <p:txBody>
          <a:bodyPr/>
          <a:lstStyle>
            <a:lvl1pPr>
              <a:defRPr/>
            </a:lvl1pPr>
          </a:lstStyle>
          <a:p>
            <a:pPr>
              <a:defRPr/>
            </a:pPr>
            <a:fld id="{D27600F4-51BE-4AB5-B5F8-B2E7013D31E1}" type="datetimeFigureOut">
              <a:rPr lang="en-US"/>
              <a:pPr>
                <a:defRPr/>
              </a:pPr>
              <a:t>12/1/2023</a:t>
            </a:fld>
            <a:endParaRPr lang="en-US"/>
          </a:p>
        </p:txBody>
      </p:sp>
      <p:sp>
        <p:nvSpPr>
          <p:cNvPr id="5" name="Footer Placeholder 4">
            <a:extLst>
              <a:ext uri="{FF2B5EF4-FFF2-40B4-BE49-F238E27FC236}">
                <a16:creationId xmlns:a16="http://schemas.microsoft.com/office/drawing/2014/main" id="{7071C884-1D16-1EAE-6377-B22493842B2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32E4A3A-4A1E-0424-2C56-AA955082E43E}"/>
              </a:ext>
            </a:extLst>
          </p:cNvPr>
          <p:cNvSpPr>
            <a:spLocks noGrp="1"/>
          </p:cNvSpPr>
          <p:nvPr>
            <p:ph type="sldNum" sz="quarter" idx="12"/>
          </p:nvPr>
        </p:nvSpPr>
        <p:spPr/>
        <p:txBody>
          <a:bodyPr/>
          <a:lstStyle>
            <a:lvl1pPr>
              <a:defRPr/>
            </a:lvl1pPr>
          </a:lstStyle>
          <a:p>
            <a:pPr>
              <a:defRPr/>
            </a:pPr>
            <a:fld id="{D4A95EA7-1169-4DAF-B31E-C20940628CE7}" type="slidenum">
              <a:rPr lang="en-US"/>
              <a:pPr>
                <a:defRPr/>
              </a:pPr>
              <a:t>‹#›</a:t>
            </a:fld>
            <a:endParaRPr lang="en-US"/>
          </a:p>
        </p:txBody>
      </p:sp>
    </p:spTree>
    <p:extLst>
      <p:ext uri="{BB962C8B-B14F-4D97-AF65-F5344CB8AC3E}">
        <p14:creationId xmlns:p14="http://schemas.microsoft.com/office/powerpoint/2010/main" val="39845005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1"/>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1"/>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1BF81BBE-AED2-BA04-7804-CA324E6624CB}"/>
              </a:ext>
            </a:extLst>
          </p:cNvPr>
          <p:cNvSpPr>
            <a:spLocks noGrp="1"/>
          </p:cNvSpPr>
          <p:nvPr>
            <p:ph type="dt" sz="half" idx="10"/>
          </p:nvPr>
        </p:nvSpPr>
        <p:spPr/>
        <p:txBody>
          <a:bodyPr/>
          <a:lstStyle>
            <a:lvl1pPr>
              <a:defRPr/>
            </a:lvl1pPr>
          </a:lstStyle>
          <a:p>
            <a:pPr>
              <a:defRPr/>
            </a:pPr>
            <a:fld id="{1A0A45E1-1088-493B-9B55-053AF89FDF64}" type="datetimeFigureOut">
              <a:rPr lang="en-US"/>
              <a:pPr>
                <a:defRPr/>
              </a:pPr>
              <a:t>12/1/2023</a:t>
            </a:fld>
            <a:endParaRPr lang="en-US"/>
          </a:p>
        </p:txBody>
      </p:sp>
      <p:sp>
        <p:nvSpPr>
          <p:cNvPr id="6" name="Footer Placeholder 4">
            <a:extLst>
              <a:ext uri="{FF2B5EF4-FFF2-40B4-BE49-F238E27FC236}">
                <a16:creationId xmlns:a16="http://schemas.microsoft.com/office/drawing/2014/main" id="{33DF6B01-2C08-A21B-BEB7-1387A0FE910E}"/>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5EBB7D8-0E68-BA4D-6C08-6DD64AC9B9C6}"/>
              </a:ext>
            </a:extLst>
          </p:cNvPr>
          <p:cNvSpPr>
            <a:spLocks noGrp="1"/>
          </p:cNvSpPr>
          <p:nvPr>
            <p:ph type="sldNum" sz="quarter" idx="12"/>
          </p:nvPr>
        </p:nvSpPr>
        <p:spPr/>
        <p:txBody>
          <a:bodyPr/>
          <a:lstStyle>
            <a:lvl1pPr>
              <a:defRPr/>
            </a:lvl1pPr>
          </a:lstStyle>
          <a:p>
            <a:pPr>
              <a:defRPr/>
            </a:pPr>
            <a:fld id="{8584BCB5-96D6-4B38-8E82-DCDFDCA75F90}" type="slidenum">
              <a:rPr lang="en-US"/>
              <a:pPr>
                <a:defRPr/>
              </a:pPr>
              <a:t>‹#›</a:t>
            </a:fld>
            <a:endParaRPr lang="en-US"/>
          </a:p>
        </p:txBody>
      </p:sp>
    </p:spTree>
    <p:extLst>
      <p:ext uri="{BB962C8B-B14F-4D97-AF65-F5344CB8AC3E}">
        <p14:creationId xmlns:p14="http://schemas.microsoft.com/office/powerpoint/2010/main" val="30813615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1" y="1023409"/>
            <a:ext cx="2693459" cy="426508"/>
          </a:xfrm>
        </p:spPr>
        <p:txBody>
          <a:bodyPr anchor="b"/>
          <a:lstStyle>
            <a:lvl1pPr marL="0" indent="0">
              <a:buNone/>
              <a:defRPr sz="1600" b="1"/>
            </a:lvl1pPr>
            <a:lvl2pPr marL="304831" indent="0">
              <a:buNone/>
              <a:defRPr sz="1333" b="1"/>
            </a:lvl2pPr>
            <a:lvl3pPr marL="609660" indent="0">
              <a:buNone/>
              <a:defRPr sz="1200" b="1"/>
            </a:lvl3pPr>
            <a:lvl4pPr marL="914492" indent="0">
              <a:buNone/>
              <a:defRPr sz="1067" b="1"/>
            </a:lvl4pPr>
            <a:lvl5pPr marL="1219322" indent="0">
              <a:buNone/>
              <a:defRPr sz="1067" b="1"/>
            </a:lvl5pPr>
            <a:lvl6pPr marL="1524152" indent="0">
              <a:buNone/>
              <a:defRPr sz="1067" b="1"/>
            </a:lvl6pPr>
            <a:lvl7pPr marL="1828983" indent="0">
              <a:buNone/>
              <a:defRPr sz="1067" b="1"/>
            </a:lvl7pPr>
            <a:lvl8pPr marL="2133814" indent="0">
              <a:buNone/>
              <a:defRPr sz="1067" b="1"/>
            </a:lvl8pPr>
            <a:lvl9pPr marL="2438644"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1"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5" y="1023409"/>
            <a:ext cx="2694517" cy="426508"/>
          </a:xfrm>
        </p:spPr>
        <p:txBody>
          <a:bodyPr anchor="b"/>
          <a:lstStyle>
            <a:lvl1pPr marL="0" indent="0">
              <a:buNone/>
              <a:defRPr sz="1600" b="1"/>
            </a:lvl1pPr>
            <a:lvl2pPr marL="304831" indent="0">
              <a:buNone/>
              <a:defRPr sz="1333" b="1"/>
            </a:lvl2pPr>
            <a:lvl3pPr marL="609660" indent="0">
              <a:buNone/>
              <a:defRPr sz="1200" b="1"/>
            </a:lvl3pPr>
            <a:lvl4pPr marL="914492" indent="0">
              <a:buNone/>
              <a:defRPr sz="1067" b="1"/>
            </a:lvl4pPr>
            <a:lvl5pPr marL="1219322" indent="0">
              <a:buNone/>
              <a:defRPr sz="1067" b="1"/>
            </a:lvl5pPr>
            <a:lvl6pPr marL="1524152" indent="0">
              <a:buNone/>
              <a:defRPr sz="1067" b="1"/>
            </a:lvl6pPr>
            <a:lvl7pPr marL="1828983" indent="0">
              <a:buNone/>
              <a:defRPr sz="1067" b="1"/>
            </a:lvl7pPr>
            <a:lvl8pPr marL="2133814" indent="0">
              <a:buNone/>
              <a:defRPr sz="1067" b="1"/>
            </a:lvl8pPr>
            <a:lvl9pPr marL="2438644"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5"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9FFBC466-FCE2-5B3A-5E39-D40E3231EC49}"/>
              </a:ext>
            </a:extLst>
          </p:cNvPr>
          <p:cNvSpPr>
            <a:spLocks noGrp="1"/>
          </p:cNvSpPr>
          <p:nvPr>
            <p:ph type="dt" sz="half" idx="10"/>
          </p:nvPr>
        </p:nvSpPr>
        <p:spPr/>
        <p:txBody>
          <a:bodyPr/>
          <a:lstStyle>
            <a:lvl1pPr>
              <a:defRPr/>
            </a:lvl1pPr>
          </a:lstStyle>
          <a:p>
            <a:pPr>
              <a:defRPr/>
            </a:pPr>
            <a:fld id="{01CC9C23-79BC-4AB4-8B41-B01C9727E9E4}" type="datetimeFigureOut">
              <a:rPr lang="en-US"/>
              <a:pPr>
                <a:defRPr/>
              </a:pPr>
              <a:t>12/1/2023</a:t>
            </a:fld>
            <a:endParaRPr lang="en-US"/>
          </a:p>
        </p:txBody>
      </p:sp>
      <p:sp>
        <p:nvSpPr>
          <p:cNvPr id="8" name="Footer Placeholder 4">
            <a:extLst>
              <a:ext uri="{FF2B5EF4-FFF2-40B4-BE49-F238E27FC236}">
                <a16:creationId xmlns:a16="http://schemas.microsoft.com/office/drawing/2014/main" id="{FFF97A99-BD5C-485B-77D8-39672FF7488A}"/>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4CBE2DA5-CDED-D87F-38F1-5DE5D25C30B5}"/>
              </a:ext>
            </a:extLst>
          </p:cNvPr>
          <p:cNvSpPr>
            <a:spLocks noGrp="1"/>
          </p:cNvSpPr>
          <p:nvPr>
            <p:ph type="sldNum" sz="quarter" idx="12"/>
          </p:nvPr>
        </p:nvSpPr>
        <p:spPr/>
        <p:txBody>
          <a:bodyPr/>
          <a:lstStyle>
            <a:lvl1pPr>
              <a:defRPr/>
            </a:lvl1pPr>
          </a:lstStyle>
          <a:p>
            <a:pPr>
              <a:defRPr/>
            </a:pPr>
            <a:fld id="{3BFADD2F-094F-418D-BA2A-1F1384B5F3B1}" type="slidenum">
              <a:rPr lang="en-US"/>
              <a:pPr>
                <a:defRPr/>
              </a:pPr>
              <a:t>‹#›</a:t>
            </a:fld>
            <a:endParaRPr lang="en-US"/>
          </a:p>
        </p:txBody>
      </p:sp>
    </p:spTree>
    <p:extLst>
      <p:ext uri="{BB962C8B-B14F-4D97-AF65-F5344CB8AC3E}">
        <p14:creationId xmlns:p14="http://schemas.microsoft.com/office/powerpoint/2010/main" val="2685220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28E25664-7E6E-9BB8-3187-60A926474D92}"/>
              </a:ext>
            </a:extLst>
          </p:cNvPr>
          <p:cNvSpPr>
            <a:spLocks noGrp="1"/>
          </p:cNvSpPr>
          <p:nvPr>
            <p:ph type="dt" sz="half" idx="10"/>
          </p:nvPr>
        </p:nvSpPr>
        <p:spPr/>
        <p:txBody>
          <a:bodyPr/>
          <a:lstStyle>
            <a:lvl1pPr>
              <a:defRPr/>
            </a:lvl1pPr>
          </a:lstStyle>
          <a:p>
            <a:pPr>
              <a:defRPr/>
            </a:pPr>
            <a:fld id="{73DD4804-120B-4863-B66A-2DB6ACB19188}" type="datetimeFigureOut">
              <a:rPr lang="en-US"/>
              <a:pPr>
                <a:defRPr/>
              </a:pPr>
              <a:t>12/1/2023</a:t>
            </a:fld>
            <a:endParaRPr lang="en-US"/>
          </a:p>
        </p:txBody>
      </p:sp>
      <p:sp>
        <p:nvSpPr>
          <p:cNvPr id="4" name="Footer Placeholder 4">
            <a:extLst>
              <a:ext uri="{FF2B5EF4-FFF2-40B4-BE49-F238E27FC236}">
                <a16:creationId xmlns:a16="http://schemas.microsoft.com/office/drawing/2014/main" id="{A15BB695-526B-CB9F-AFE8-80F2F878170E}"/>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8908D3B4-95D8-F30D-4031-04D581FC3354}"/>
              </a:ext>
            </a:extLst>
          </p:cNvPr>
          <p:cNvSpPr>
            <a:spLocks noGrp="1"/>
          </p:cNvSpPr>
          <p:nvPr>
            <p:ph type="sldNum" sz="quarter" idx="12"/>
          </p:nvPr>
        </p:nvSpPr>
        <p:spPr/>
        <p:txBody>
          <a:bodyPr/>
          <a:lstStyle>
            <a:lvl1pPr>
              <a:defRPr/>
            </a:lvl1pPr>
          </a:lstStyle>
          <a:p>
            <a:pPr>
              <a:defRPr/>
            </a:pPr>
            <a:fld id="{03CA7354-39B6-4FD1-A891-26EA16F88368}" type="slidenum">
              <a:rPr lang="en-US"/>
              <a:pPr>
                <a:defRPr/>
              </a:pPr>
              <a:t>‹#›</a:t>
            </a:fld>
            <a:endParaRPr lang="en-US"/>
          </a:p>
        </p:txBody>
      </p:sp>
    </p:spTree>
    <p:extLst>
      <p:ext uri="{BB962C8B-B14F-4D97-AF65-F5344CB8AC3E}">
        <p14:creationId xmlns:p14="http://schemas.microsoft.com/office/powerpoint/2010/main" val="37626808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2A7124AF-82F2-4940-8D89-B8BC45189309}"/>
              </a:ext>
            </a:extLst>
          </p:cNvPr>
          <p:cNvSpPr>
            <a:spLocks noGrp="1"/>
          </p:cNvSpPr>
          <p:nvPr>
            <p:ph type="dt" sz="half" idx="10"/>
          </p:nvPr>
        </p:nvSpPr>
        <p:spPr/>
        <p:txBody>
          <a:bodyPr/>
          <a:lstStyle>
            <a:lvl1pPr>
              <a:defRPr/>
            </a:lvl1pPr>
          </a:lstStyle>
          <a:p>
            <a:pPr>
              <a:defRPr/>
            </a:pPr>
            <a:fld id="{B2A9DC73-9897-43C2-9078-720FFCE905CD}" type="datetimeFigureOut">
              <a:rPr lang="en-US"/>
              <a:pPr>
                <a:defRPr/>
              </a:pPr>
              <a:t>12/1/2023</a:t>
            </a:fld>
            <a:endParaRPr lang="en-US"/>
          </a:p>
        </p:txBody>
      </p:sp>
      <p:sp>
        <p:nvSpPr>
          <p:cNvPr id="3" name="Footer Placeholder 4">
            <a:extLst>
              <a:ext uri="{FF2B5EF4-FFF2-40B4-BE49-F238E27FC236}">
                <a16:creationId xmlns:a16="http://schemas.microsoft.com/office/drawing/2014/main" id="{B4533028-A6FF-A520-BC35-73A4347E8298}"/>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2F1EF5EA-B297-C5E6-F6FF-0488F200EAAA}"/>
              </a:ext>
            </a:extLst>
          </p:cNvPr>
          <p:cNvSpPr>
            <a:spLocks noGrp="1"/>
          </p:cNvSpPr>
          <p:nvPr>
            <p:ph type="sldNum" sz="quarter" idx="12"/>
          </p:nvPr>
        </p:nvSpPr>
        <p:spPr/>
        <p:txBody>
          <a:bodyPr/>
          <a:lstStyle>
            <a:lvl1pPr>
              <a:defRPr/>
            </a:lvl1pPr>
          </a:lstStyle>
          <a:p>
            <a:pPr>
              <a:defRPr/>
            </a:pPr>
            <a:fld id="{84195A16-04FE-4E3B-9F47-9914DC0C87FC}" type="slidenum">
              <a:rPr lang="en-US"/>
              <a:pPr>
                <a:defRPr/>
              </a:pPr>
              <a:t>‹#›</a:t>
            </a:fld>
            <a:endParaRPr lang="en-US"/>
          </a:p>
        </p:txBody>
      </p:sp>
    </p:spTree>
    <p:extLst>
      <p:ext uri="{BB962C8B-B14F-4D97-AF65-F5344CB8AC3E}">
        <p14:creationId xmlns:p14="http://schemas.microsoft.com/office/powerpoint/2010/main" val="22353156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8" y="182035"/>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5"/>
            <a:ext cx="2005542" cy="3127375"/>
          </a:xfrm>
        </p:spPr>
        <p:txBody>
          <a:bodyPr/>
          <a:lstStyle>
            <a:lvl1pPr marL="0" indent="0">
              <a:buNone/>
              <a:defRPr sz="933"/>
            </a:lvl1pPr>
            <a:lvl2pPr marL="304831" indent="0">
              <a:buNone/>
              <a:defRPr sz="800"/>
            </a:lvl2pPr>
            <a:lvl3pPr marL="609660" indent="0">
              <a:buNone/>
              <a:defRPr sz="667"/>
            </a:lvl3pPr>
            <a:lvl4pPr marL="914492" indent="0">
              <a:buNone/>
              <a:defRPr sz="600"/>
            </a:lvl4pPr>
            <a:lvl5pPr marL="1219322" indent="0">
              <a:buNone/>
              <a:defRPr sz="600"/>
            </a:lvl5pPr>
            <a:lvl6pPr marL="1524152" indent="0">
              <a:buNone/>
              <a:defRPr sz="600"/>
            </a:lvl6pPr>
            <a:lvl7pPr marL="1828983" indent="0">
              <a:buNone/>
              <a:defRPr sz="600"/>
            </a:lvl7pPr>
            <a:lvl8pPr marL="2133814" indent="0">
              <a:buNone/>
              <a:defRPr sz="600"/>
            </a:lvl8pPr>
            <a:lvl9pPr marL="2438644" indent="0">
              <a:buNone/>
              <a:defRPr sz="600"/>
            </a:lvl9pPr>
          </a:lstStyle>
          <a:p>
            <a:pPr lvl="0"/>
            <a:r>
              <a:rPr lang="en-US"/>
              <a:t>Click to edit Master text styles</a:t>
            </a:r>
          </a:p>
        </p:txBody>
      </p:sp>
      <p:sp>
        <p:nvSpPr>
          <p:cNvPr id="5" name="Date Placeholder 3">
            <a:extLst>
              <a:ext uri="{FF2B5EF4-FFF2-40B4-BE49-F238E27FC236}">
                <a16:creationId xmlns:a16="http://schemas.microsoft.com/office/drawing/2014/main" id="{2F685A15-00F8-3C54-25EA-A0911B3DF713}"/>
              </a:ext>
            </a:extLst>
          </p:cNvPr>
          <p:cNvSpPr>
            <a:spLocks noGrp="1"/>
          </p:cNvSpPr>
          <p:nvPr>
            <p:ph type="dt" sz="half" idx="10"/>
          </p:nvPr>
        </p:nvSpPr>
        <p:spPr/>
        <p:txBody>
          <a:bodyPr/>
          <a:lstStyle>
            <a:lvl1pPr>
              <a:defRPr/>
            </a:lvl1pPr>
          </a:lstStyle>
          <a:p>
            <a:pPr>
              <a:defRPr/>
            </a:pPr>
            <a:fld id="{2AC4EF9C-A5CD-46AA-B867-B9101C70AAC4}" type="datetimeFigureOut">
              <a:rPr lang="en-US"/>
              <a:pPr>
                <a:defRPr/>
              </a:pPr>
              <a:t>12/1/2023</a:t>
            </a:fld>
            <a:endParaRPr lang="en-US"/>
          </a:p>
        </p:txBody>
      </p:sp>
      <p:sp>
        <p:nvSpPr>
          <p:cNvPr id="6" name="Footer Placeholder 4">
            <a:extLst>
              <a:ext uri="{FF2B5EF4-FFF2-40B4-BE49-F238E27FC236}">
                <a16:creationId xmlns:a16="http://schemas.microsoft.com/office/drawing/2014/main" id="{FDF73A69-E0E6-6367-5CA7-1CFEC0588D8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47D6F6E8-9E19-E471-64B8-8FB09F1D71A7}"/>
              </a:ext>
            </a:extLst>
          </p:cNvPr>
          <p:cNvSpPr>
            <a:spLocks noGrp="1"/>
          </p:cNvSpPr>
          <p:nvPr>
            <p:ph type="sldNum" sz="quarter" idx="12"/>
          </p:nvPr>
        </p:nvSpPr>
        <p:spPr/>
        <p:txBody>
          <a:bodyPr/>
          <a:lstStyle>
            <a:lvl1pPr>
              <a:defRPr/>
            </a:lvl1pPr>
          </a:lstStyle>
          <a:p>
            <a:pPr>
              <a:defRPr/>
            </a:pPr>
            <a:fld id="{2C2A770E-90F0-4065-979A-AB6C7010F3AC}" type="slidenum">
              <a:rPr lang="en-US"/>
              <a:pPr>
                <a:defRPr/>
              </a:pPr>
              <a:t>‹#›</a:t>
            </a:fld>
            <a:endParaRPr lang="en-US"/>
          </a:p>
        </p:txBody>
      </p:sp>
    </p:spTree>
    <p:extLst>
      <p:ext uri="{BB962C8B-B14F-4D97-AF65-F5344CB8AC3E}">
        <p14:creationId xmlns:p14="http://schemas.microsoft.com/office/powerpoint/2010/main" val="34588092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1"/>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31" indent="0">
              <a:buNone/>
              <a:defRPr sz="1867"/>
            </a:lvl2pPr>
            <a:lvl3pPr marL="609660" indent="0">
              <a:buNone/>
              <a:defRPr sz="1600"/>
            </a:lvl3pPr>
            <a:lvl4pPr marL="914492" indent="0">
              <a:buNone/>
              <a:defRPr sz="1333"/>
            </a:lvl4pPr>
            <a:lvl5pPr marL="1219322" indent="0">
              <a:buNone/>
              <a:defRPr sz="1333"/>
            </a:lvl5pPr>
            <a:lvl6pPr marL="1524152" indent="0">
              <a:buNone/>
              <a:defRPr sz="1333"/>
            </a:lvl6pPr>
            <a:lvl7pPr marL="1828983" indent="0">
              <a:buNone/>
              <a:defRPr sz="1333"/>
            </a:lvl7pPr>
            <a:lvl8pPr marL="2133814" indent="0">
              <a:buNone/>
              <a:defRPr sz="1333"/>
            </a:lvl8pPr>
            <a:lvl9pPr marL="2438644" indent="0">
              <a:buNone/>
              <a:defRPr sz="1333"/>
            </a:lvl9pPr>
          </a:lstStyle>
          <a:p>
            <a:pPr lvl="0"/>
            <a:endParaRPr lang="en-US" noProof="0"/>
          </a:p>
        </p:txBody>
      </p:sp>
      <p:sp>
        <p:nvSpPr>
          <p:cNvPr id="4" name="Text Placeholder 3"/>
          <p:cNvSpPr>
            <a:spLocks noGrp="1"/>
          </p:cNvSpPr>
          <p:nvPr>
            <p:ph type="body" sz="half" idx="2"/>
          </p:nvPr>
        </p:nvSpPr>
        <p:spPr>
          <a:xfrm>
            <a:off x="1194859" y="3578226"/>
            <a:ext cx="3657600" cy="536575"/>
          </a:xfrm>
        </p:spPr>
        <p:txBody>
          <a:bodyPr/>
          <a:lstStyle>
            <a:lvl1pPr marL="0" indent="0">
              <a:buNone/>
              <a:defRPr sz="933"/>
            </a:lvl1pPr>
            <a:lvl2pPr marL="304831" indent="0">
              <a:buNone/>
              <a:defRPr sz="800"/>
            </a:lvl2pPr>
            <a:lvl3pPr marL="609660" indent="0">
              <a:buNone/>
              <a:defRPr sz="667"/>
            </a:lvl3pPr>
            <a:lvl4pPr marL="914492" indent="0">
              <a:buNone/>
              <a:defRPr sz="600"/>
            </a:lvl4pPr>
            <a:lvl5pPr marL="1219322" indent="0">
              <a:buNone/>
              <a:defRPr sz="600"/>
            </a:lvl5pPr>
            <a:lvl6pPr marL="1524152" indent="0">
              <a:buNone/>
              <a:defRPr sz="600"/>
            </a:lvl6pPr>
            <a:lvl7pPr marL="1828983" indent="0">
              <a:buNone/>
              <a:defRPr sz="600"/>
            </a:lvl7pPr>
            <a:lvl8pPr marL="2133814" indent="0">
              <a:buNone/>
              <a:defRPr sz="600"/>
            </a:lvl8pPr>
            <a:lvl9pPr marL="2438644" indent="0">
              <a:buNone/>
              <a:defRPr sz="600"/>
            </a:lvl9pPr>
          </a:lstStyle>
          <a:p>
            <a:pPr lvl="0"/>
            <a:r>
              <a:rPr lang="en-US"/>
              <a:t>Click to edit Master text styles</a:t>
            </a:r>
          </a:p>
        </p:txBody>
      </p:sp>
      <p:sp>
        <p:nvSpPr>
          <p:cNvPr id="5" name="Date Placeholder 3">
            <a:extLst>
              <a:ext uri="{FF2B5EF4-FFF2-40B4-BE49-F238E27FC236}">
                <a16:creationId xmlns:a16="http://schemas.microsoft.com/office/drawing/2014/main" id="{90F4872E-D50C-1FD0-9E56-312136E8E930}"/>
              </a:ext>
            </a:extLst>
          </p:cNvPr>
          <p:cNvSpPr>
            <a:spLocks noGrp="1"/>
          </p:cNvSpPr>
          <p:nvPr>
            <p:ph type="dt" sz="half" idx="10"/>
          </p:nvPr>
        </p:nvSpPr>
        <p:spPr/>
        <p:txBody>
          <a:bodyPr/>
          <a:lstStyle>
            <a:lvl1pPr>
              <a:defRPr/>
            </a:lvl1pPr>
          </a:lstStyle>
          <a:p>
            <a:pPr>
              <a:defRPr/>
            </a:pPr>
            <a:fld id="{B45F2320-BACB-4CF5-BE08-59F6CD964EC8}" type="datetimeFigureOut">
              <a:rPr lang="en-US"/>
              <a:pPr>
                <a:defRPr/>
              </a:pPr>
              <a:t>12/1/2023</a:t>
            </a:fld>
            <a:endParaRPr lang="en-US"/>
          </a:p>
        </p:txBody>
      </p:sp>
      <p:sp>
        <p:nvSpPr>
          <p:cNvPr id="6" name="Footer Placeholder 4">
            <a:extLst>
              <a:ext uri="{FF2B5EF4-FFF2-40B4-BE49-F238E27FC236}">
                <a16:creationId xmlns:a16="http://schemas.microsoft.com/office/drawing/2014/main" id="{27E6514D-EE23-D7A8-2B6E-0384A0FCB52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C2ADB76B-E9C1-C86B-5A43-ED9E9E2F42F6}"/>
              </a:ext>
            </a:extLst>
          </p:cNvPr>
          <p:cNvSpPr>
            <a:spLocks noGrp="1"/>
          </p:cNvSpPr>
          <p:nvPr>
            <p:ph type="sldNum" sz="quarter" idx="12"/>
          </p:nvPr>
        </p:nvSpPr>
        <p:spPr/>
        <p:txBody>
          <a:bodyPr/>
          <a:lstStyle>
            <a:lvl1pPr>
              <a:defRPr/>
            </a:lvl1pPr>
          </a:lstStyle>
          <a:p>
            <a:pPr>
              <a:defRPr/>
            </a:pPr>
            <a:fld id="{4C13F363-0394-4BDE-B269-31B4657F057E}" type="slidenum">
              <a:rPr lang="en-US"/>
              <a:pPr>
                <a:defRPr/>
              </a:pPr>
              <a:t>‹#›</a:t>
            </a:fld>
            <a:endParaRPr lang="en-US"/>
          </a:p>
        </p:txBody>
      </p:sp>
    </p:spTree>
    <p:extLst>
      <p:ext uri="{BB962C8B-B14F-4D97-AF65-F5344CB8AC3E}">
        <p14:creationId xmlns:p14="http://schemas.microsoft.com/office/powerpoint/2010/main" val="35594513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10BB07-8F76-04DD-0C08-4DDBE2DC03B8}"/>
              </a:ext>
            </a:extLst>
          </p:cNvPr>
          <p:cNvSpPr>
            <a:spLocks noGrp="1"/>
          </p:cNvSpPr>
          <p:nvPr>
            <p:ph type="dt" sz="half" idx="10"/>
          </p:nvPr>
        </p:nvSpPr>
        <p:spPr/>
        <p:txBody>
          <a:bodyPr/>
          <a:lstStyle>
            <a:lvl1pPr>
              <a:defRPr/>
            </a:lvl1pPr>
          </a:lstStyle>
          <a:p>
            <a:pPr>
              <a:defRPr/>
            </a:pPr>
            <a:fld id="{489BF2A5-2065-4263-A75F-91E33646EFF9}" type="datetimeFigureOut">
              <a:rPr lang="en-US"/>
              <a:pPr>
                <a:defRPr/>
              </a:pPr>
              <a:t>12/1/2023</a:t>
            </a:fld>
            <a:endParaRPr lang="en-US"/>
          </a:p>
        </p:txBody>
      </p:sp>
      <p:sp>
        <p:nvSpPr>
          <p:cNvPr id="5" name="Footer Placeholder 4">
            <a:extLst>
              <a:ext uri="{FF2B5EF4-FFF2-40B4-BE49-F238E27FC236}">
                <a16:creationId xmlns:a16="http://schemas.microsoft.com/office/drawing/2014/main" id="{4B634E41-9744-B02E-E31B-28EECC0C4EE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B757009-70C3-BC81-4C7C-C71F678353FF}"/>
              </a:ext>
            </a:extLst>
          </p:cNvPr>
          <p:cNvSpPr>
            <a:spLocks noGrp="1"/>
          </p:cNvSpPr>
          <p:nvPr>
            <p:ph type="sldNum" sz="quarter" idx="12"/>
          </p:nvPr>
        </p:nvSpPr>
        <p:spPr/>
        <p:txBody>
          <a:bodyPr/>
          <a:lstStyle>
            <a:lvl1pPr>
              <a:defRPr/>
            </a:lvl1pPr>
          </a:lstStyle>
          <a:p>
            <a:pPr>
              <a:defRPr/>
            </a:pPr>
            <a:fld id="{EC36BDD7-0469-427F-8DFC-CA9DBC8E3E50}" type="slidenum">
              <a:rPr lang="en-US"/>
              <a:pPr>
                <a:defRPr/>
              </a:pPr>
              <a:t>‹#›</a:t>
            </a:fld>
            <a:endParaRPr lang="en-US"/>
          </a:p>
        </p:txBody>
      </p:sp>
    </p:spTree>
    <p:extLst>
      <p:ext uri="{BB962C8B-B14F-4D97-AF65-F5344CB8AC3E}">
        <p14:creationId xmlns:p14="http://schemas.microsoft.com/office/powerpoint/2010/main" val="24807908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3"/>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3"/>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849B8A-1132-D1DA-388C-726A92BBC4DD}"/>
              </a:ext>
            </a:extLst>
          </p:cNvPr>
          <p:cNvSpPr>
            <a:spLocks noGrp="1"/>
          </p:cNvSpPr>
          <p:nvPr>
            <p:ph type="dt" sz="half" idx="10"/>
          </p:nvPr>
        </p:nvSpPr>
        <p:spPr/>
        <p:txBody>
          <a:bodyPr/>
          <a:lstStyle>
            <a:lvl1pPr>
              <a:defRPr/>
            </a:lvl1pPr>
          </a:lstStyle>
          <a:p>
            <a:pPr>
              <a:defRPr/>
            </a:pPr>
            <a:fld id="{E601DE94-CB9D-4F57-B313-C94B495C797A}" type="datetimeFigureOut">
              <a:rPr lang="en-US"/>
              <a:pPr>
                <a:defRPr/>
              </a:pPr>
              <a:t>12/1/2023</a:t>
            </a:fld>
            <a:endParaRPr lang="en-US"/>
          </a:p>
        </p:txBody>
      </p:sp>
      <p:sp>
        <p:nvSpPr>
          <p:cNvPr id="5" name="Footer Placeholder 4">
            <a:extLst>
              <a:ext uri="{FF2B5EF4-FFF2-40B4-BE49-F238E27FC236}">
                <a16:creationId xmlns:a16="http://schemas.microsoft.com/office/drawing/2014/main" id="{0C3A671A-1961-B30B-064C-5C5CF1A1D80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E8CFDD8-C9FF-F8B7-D733-5B56E5F78590}"/>
              </a:ext>
            </a:extLst>
          </p:cNvPr>
          <p:cNvSpPr>
            <a:spLocks noGrp="1"/>
          </p:cNvSpPr>
          <p:nvPr>
            <p:ph type="sldNum" sz="quarter" idx="12"/>
          </p:nvPr>
        </p:nvSpPr>
        <p:spPr/>
        <p:txBody>
          <a:bodyPr/>
          <a:lstStyle>
            <a:lvl1pPr>
              <a:defRPr/>
            </a:lvl1pPr>
          </a:lstStyle>
          <a:p>
            <a:pPr>
              <a:defRPr/>
            </a:pPr>
            <a:fld id="{56456C3F-3D5F-40C1-8C4C-E17C33FEFFEA}" type="slidenum">
              <a:rPr lang="en-US"/>
              <a:pPr>
                <a:defRPr/>
              </a:pPr>
              <a:t>‹#›</a:t>
            </a:fld>
            <a:endParaRPr lang="en-US"/>
          </a:p>
        </p:txBody>
      </p:sp>
    </p:spTree>
    <p:extLst>
      <p:ext uri="{BB962C8B-B14F-4D97-AF65-F5344CB8AC3E}">
        <p14:creationId xmlns:p14="http://schemas.microsoft.com/office/powerpoint/2010/main" val="41080618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99749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161EBB39-BEE5-A7D8-0443-7A60E2D44B95}"/>
              </a:ext>
            </a:extLst>
          </p:cNvPr>
          <p:cNvSpPr>
            <a:spLocks noGrp="1"/>
          </p:cNvSpPr>
          <p:nvPr>
            <p:ph type="dt" sz="half" idx="10"/>
          </p:nvPr>
        </p:nvSpPr>
        <p:spPr/>
        <p:txBody>
          <a:bodyPr/>
          <a:lstStyle>
            <a:lvl1pPr>
              <a:defRPr/>
            </a:lvl1pPr>
          </a:lstStyle>
          <a:p>
            <a:pPr>
              <a:defRPr/>
            </a:pPr>
            <a:fld id="{565F8154-1A37-470A-8CB4-D6ACD3C0B707}" type="datetimeFigureOut">
              <a:rPr lang="es-MX"/>
              <a:pPr>
                <a:defRPr/>
              </a:pPr>
              <a:t>01/12/2023</a:t>
            </a:fld>
            <a:endParaRPr lang="es-MX"/>
          </a:p>
        </p:txBody>
      </p:sp>
      <p:sp>
        <p:nvSpPr>
          <p:cNvPr id="6" name="Footer Placeholder 4">
            <a:extLst>
              <a:ext uri="{FF2B5EF4-FFF2-40B4-BE49-F238E27FC236}">
                <a16:creationId xmlns:a16="http://schemas.microsoft.com/office/drawing/2014/main" id="{B98B5348-0938-77B3-9E51-F9412CC9954F}"/>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FA2CCB45-142F-92C0-DF9C-629719F13EDA}"/>
              </a:ext>
            </a:extLst>
          </p:cNvPr>
          <p:cNvSpPr>
            <a:spLocks noGrp="1"/>
          </p:cNvSpPr>
          <p:nvPr>
            <p:ph type="sldNum" sz="quarter" idx="12"/>
          </p:nvPr>
        </p:nvSpPr>
        <p:spPr/>
        <p:txBody>
          <a:bodyPr/>
          <a:lstStyle>
            <a:lvl1pPr>
              <a:defRPr/>
            </a:lvl1pPr>
          </a:lstStyle>
          <a:p>
            <a:pPr>
              <a:defRPr/>
            </a:pPr>
            <a:fld id="{CAA05F4D-79F3-43BE-BEC8-E45E068A8536}" type="slidenum">
              <a:rPr lang="es-MX"/>
              <a:pPr>
                <a:defRPr/>
              </a:pPr>
              <a:t>‹#›</a:t>
            </a:fld>
            <a:endParaRPr lang="es-MX"/>
          </a:p>
        </p:txBody>
      </p:sp>
    </p:spTree>
    <p:extLst>
      <p:ext uri="{BB962C8B-B14F-4D97-AF65-F5344CB8AC3E}">
        <p14:creationId xmlns:p14="http://schemas.microsoft.com/office/powerpoint/2010/main" val="139049111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5056883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500532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318428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465549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106544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89091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3869071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138075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62996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610287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MX"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5A2EB22D-475A-6016-6D0A-5827137C3175}"/>
              </a:ext>
            </a:extLst>
          </p:cNvPr>
          <p:cNvSpPr>
            <a:spLocks noGrp="1"/>
          </p:cNvSpPr>
          <p:nvPr>
            <p:ph type="dt" sz="half" idx="10"/>
          </p:nvPr>
        </p:nvSpPr>
        <p:spPr/>
        <p:txBody>
          <a:bodyPr/>
          <a:lstStyle>
            <a:lvl1pPr>
              <a:defRPr/>
            </a:lvl1pPr>
          </a:lstStyle>
          <a:p>
            <a:pPr>
              <a:defRPr/>
            </a:pPr>
            <a:fld id="{0A7C256C-799B-49C9-96DB-E109408F36BE}" type="datetimeFigureOut">
              <a:rPr lang="es-MX"/>
              <a:pPr>
                <a:defRPr/>
              </a:pPr>
              <a:t>01/12/2023</a:t>
            </a:fld>
            <a:endParaRPr lang="es-MX"/>
          </a:p>
        </p:txBody>
      </p:sp>
      <p:sp>
        <p:nvSpPr>
          <p:cNvPr id="6" name="Footer Placeholder 4">
            <a:extLst>
              <a:ext uri="{FF2B5EF4-FFF2-40B4-BE49-F238E27FC236}">
                <a16:creationId xmlns:a16="http://schemas.microsoft.com/office/drawing/2014/main" id="{923D936A-61C2-0F37-8302-46FE1CFA252A}"/>
              </a:ext>
            </a:extLst>
          </p:cNvPr>
          <p:cNvSpPr>
            <a:spLocks noGrp="1"/>
          </p:cNvSpPr>
          <p:nvPr>
            <p:ph type="ftr" sz="quarter" idx="11"/>
          </p:nvPr>
        </p:nvSpPr>
        <p:spPr/>
        <p:txBody>
          <a:bodyPr/>
          <a:lstStyle>
            <a:lvl1pPr>
              <a:defRPr/>
            </a:lvl1pPr>
          </a:lstStyle>
          <a:p>
            <a:pPr>
              <a:defRPr/>
            </a:pPr>
            <a:endParaRPr lang="es-MX"/>
          </a:p>
        </p:txBody>
      </p:sp>
      <p:sp>
        <p:nvSpPr>
          <p:cNvPr id="7" name="Slide Number Placeholder 5">
            <a:extLst>
              <a:ext uri="{FF2B5EF4-FFF2-40B4-BE49-F238E27FC236}">
                <a16:creationId xmlns:a16="http://schemas.microsoft.com/office/drawing/2014/main" id="{EF1919C5-855D-7B3E-E7BE-0B33DA5D106E}"/>
              </a:ext>
            </a:extLst>
          </p:cNvPr>
          <p:cNvSpPr>
            <a:spLocks noGrp="1"/>
          </p:cNvSpPr>
          <p:nvPr>
            <p:ph type="sldNum" sz="quarter" idx="12"/>
          </p:nvPr>
        </p:nvSpPr>
        <p:spPr/>
        <p:txBody>
          <a:bodyPr/>
          <a:lstStyle>
            <a:lvl1pPr>
              <a:defRPr/>
            </a:lvl1pPr>
          </a:lstStyle>
          <a:p>
            <a:pPr>
              <a:defRPr/>
            </a:pPr>
            <a:fld id="{C9C821A2-6A56-4826-8CCC-2C85148C6563}" type="slidenum">
              <a:rPr lang="es-MX"/>
              <a:pPr>
                <a:defRPr/>
              </a:pPr>
              <a:t>‹#›</a:t>
            </a:fld>
            <a:endParaRPr lang="es-MX"/>
          </a:p>
        </p:txBody>
      </p:sp>
    </p:spTree>
    <p:extLst>
      <p:ext uri="{BB962C8B-B14F-4D97-AF65-F5344CB8AC3E}">
        <p14:creationId xmlns:p14="http://schemas.microsoft.com/office/powerpoint/2010/main" val="34133521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0BF21371-8334-B06F-8573-3BB755534CD4}"/>
              </a:ext>
            </a:extLst>
          </p:cNvPr>
          <p:cNvSpPr>
            <a:spLocks noGrp="1"/>
          </p:cNvSpPr>
          <p:nvPr>
            <p:ph type="dt" sz="half" idx="10"/>
          </p:nvPr>
        </p:nvSpPr>
        <p:spPr/>
        <p:txBody>
          <a:bodyPr/>
          <a:lstStyle>
            <a:lvl1pPr>
              <a:defRPr/>
            </a:lvl1pPr>
          </a:lstStyle>
          <a:p>
            <a:pPr>
              <a:defRPr/>
            </a:pPr>
            <a:fld id="{40765E01-1362-4C2B-84C3-DF988B7CA472}" type="datetimeFigureOut">
              <a:rPr lang="en-US"/>
              <a:pPr>
                <a:defRPr/>
              </a:pPr>
              <a:t>12/1/2023</a:t>
            </a:fld>
            <a:endParaRPr lang="en-US"/>
          </a:p>
        </p:txBody>
      </p:sp>
      <p:sp>
        <p:nvSpPr>
          <p:cNvPr id="5" name="Footer Placeholder 4">
            <a:extLst>
              <a:ext uri="{FF2B5EF4-FFF2-40B4-BE49-F238E27FC236}">
                <a16:creationId xmlns:a16="http://schemas.microsoft.com/office/drawing/2014/main" id="{6DAE5497-B791-4CDA-57E2-7AF1802E742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4FA50400-3B45-E4A3-22D7-70DD727ED4EF}"/>
              </a:ext>
            </a:extLst>
          </p:cNvPr>
          <p:cNvSpPr>
            <a:spLocks noGrp="1"/>
          </p:cNvSpPr>
          <p:nvPr>
            <p:ph type="sldNum" sz="quarter" idx="12"/>
          </p:nvPr>
        </p:nvSpPr>
        <p:spPr/>
        <p:txBody>
          <a:bodyPr/>
          <a:lstStyle>
            <a:lvl1pPr>
              <a:defRPr/>
            </a:lvl1pPr>
          </a:lstStyle>
          <a:p>
            <a:pPr>
              <a:defRPr/>
            </a:pPr>
            <a:fld id="{9116266A-4215-4A1F-9A15-8EE8CCDA2727}" type="slidenum">
              <a:rPr lang="en-US"/>
              <a:pPr>
                <a:defRPr/>
              </a:pPr>
              <a:t>‹#›</a:t>
            </a:fld>
            <a:endParaRPr lang="en-US"/>
          </a:p>
        </p:txBody>
      </p:sp>
    </p:spTree>
    <p:extLst>
      <p:ext uri="{BB962C8B-B14F-4D97-AF65-F5344CB8AC3E}">
        <p14:creationId xmlns:p14="http://schemas.microsoft.com/office/powerpoint/2010/main" val="23681051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5503C3-1EFC-CB42-8EEB-E726CA675966}"/>
              </a:ext>
            </a:extLst>
          </p:cNvPr>
          <p:cNvSpPr>
            <a:spLocks noGrp="1"/>
          </p:cNvSpPr>
          <p:nvPr>
            <p:ph type="dt" sz="half" idx="10"/>
          </p:nvPr>
        </p:nvSpPr>
        <p:spPr/>
        <p:txBody>
          <a:bodyPr/>
          <a:lstStyle>
            <a:lvl1pPr>
              <a:defRPr/>
            </a:lvl1pPr>
          </a:lstStyle>
          <a:p>
            <a:pPr>
              <a:defRPr/>
            </a:pPr>
            <a:fld id="{F1EE20D4-F5FF-4CF5-A8F5-CCF1968537E7}" type="datetimeFigureOut">
              <a:rPr lang="en-US"/>
              <a:pPr>
                <a:defRPr/>
              </a:pPr>
              <a:t>12/1/2023</a:t>
            </a:fld>
            <a:endParaRPr lang="en-US"/>
          </a:p>
        </p:txBody>
      </p:sp>
      <p:sp>
        <p:nvSpPr>
          <p:cNvPr id="5" name="Footer Placeholder 4">
            <a:extLst>
              <a:ext uri="{FF2B5EF4-FFF2-40B4-BE49-F238E27FC236}">
                <a16:creationId xmlns:a16="http://schemas.microsoft.com/office/drawing/2014/main" id="{3828F6E6-5325-AC61-8355-F2EF32ED8A5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161F402-952B-4E64-ED90-1C0B700AE429}"/>
              </a:ext>
            </a:extLst>
          </p:cNvPr>
          <p:cNvSpPr>
            <a:spLocks noGrp="1"/>
          </p:cNvSpPr>
          <p:nvPr>
            <p:ph type="sldNum" sz="quarter" idx="12"/>
          </p:nvPr>
        </p:nvSpPr>
        <p:spPr/>
        <p:txBody>
          <a:bodyPr/>
          <a:lstStyle>
            <a:lvl1pPr>
              <a:defRPr/>
            </a:lvl1pPr>
          </a:lstStyle>
          <a:p>
            <a:pPr>
              <a:defRPr/>
            </a:pPr>
            <a:fld id="{F5F151A2-3B2B-4CB0-9427-9994622AC835}" type="slidenum">
              <a:rPr lang="en-US"/>
              <a:pPr>
                <a:defRPr/>
              </a:pPr>
              <a:t>‹#›</a:t>
            </a:fld>
            <a:endParaRPr lang="en-US"/>
          </a:p>
        </p:txBody>
      </p:sp>
    </p:spTree>
    <p:extLst>
      <p:ext uri="{BB962C8B-B14F-4D97-AF65-F5344CB8AC3E}">
        <p14:creationId xmlns:p14="http://schemas.microsoft.com/office/powerpoint/2010/main" val="20511098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FAAF85-A6D3-05B4-96C2-40844D51C885}"/>
              </a:ext>
            </a:extLst>
          </p:cNvPr>
          <p:cNvSpPr>
            <a:spLocks noGrp="1"/>
          </p:cNvSpPr>
          <p:nvPr>
            <p:ph type="dt" sz="half" idx="10"/>
          </p:nvPr>
        </p:nvSpPr>
        <p:spPr/>
        <p:txBody>
          <a:bodyPr/>
          <a:lstStyle>
            <a:lvl1pPr>
              <a:defRPr/>
            </a:lvl1pPr>
          </a:lstStyle>
          <a:p>
            <a:pPr>
              <a:defRPr/>
            </a:pPr>
            <a:fld id="{FCA5D750-5479-4CB2-B909-C61B29F6DC6A}" type="datetimeFigureOut">
              <a:rPr lang="en-US"/>
              <a:pPr>
                <a:defRPr/>
              </a:pPr>
              <a:t>12/1/2023</a:t>
            </a:fld>
            <a:endParaRPr lang="en-US"/>
          </a:p>
        </p:txBody>
      </p:sp>
      <p:sp>
        <p:nvSpPr>
          <p:cNvPr id="5" name="Footer Placeholder 4">
            <a:extLst>
              <a:ext uri="{FF2B5EF4-FFF2-40B4-BE49-F238E27FC236}">
                <a16:creationId xmlns:a16="http://schemas.microsoft.com/office/drawing/2014/main" id="{DE076DB1-6410-9A68-E06B-BD6C7F55CB0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8C3001F-1E2B-6406-657B-3F9825B4248C}"/>
              </a:ext>
            </a:extLst>
          </p:cNvPr>
          <p:cNvSpPr>
            <a:spLocks noGrp="1"/>
          </p:cNvSpPr>
          <p:nvPr>
            <p:ph type="sldNum" sz="quarter" idx="12"/>
          </p:nvPr>
        </p:nvSpPr>
        <p:spPr/>
        <p:txBody>
          <a:bodyPr/>
          <a:lstStyle>
            <a:lvl1pPr>
              <a:defRPr/>
            </a:lvl1pPr>
          </a:lstStyle>
          <a:p>
            <a:pPr>
              <a:defRPr/>
            </a:pPr>
            <a:fld id="{EC9808A5-F42D-43C7-AD28-944967BE648B}" type="slidenum">
              <a:rPr lang="en-US"/>
              <a:pPr>
                <a:defRPr/>
              </a:pPr>
              <a:t>‹#›</a:t>
            </a:fld>
            <a:endParaRPr lang="en-US"/>
          </a:p>
        </p:txBody>
      </p:sp>
    </p:spTree>
    <p:extLst>
      <p:ext uri="{BB962C8B-B14F-4D97-AF65-F5344CB8AC3E}">
        <p14:creationId xmlns:p14="http://schemas.microsoft.com/office/powerpoint/2010/main" val="58437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FED0368C-3D9A-1FC8-B5C0-18359BA5F59B}"/>
              </a:ext>
            </a:extLst>
          </p:cNvPr>
          <p:cNvSpPr>
            <a:spLocks noGrp="1"/>
          </p:cNvSpPr>
          <p:nvPr>
            <p:ph type="dt" sz="half" idx="10"/>
          </p:nvPr>
        </p:nvSpPr>
        <p:spPr/>
        <p:txBody>
          <a:bodyPr/>
          <a:lstStyle>
            <a:lvl1pPr>
              <a:defRPr/>
            </a:lvl1pPr>
          </a:lstStyle>
          <a:p>
            <a:pPr>
              <a:defRPr/>
            </a:pPr>
            <a:fld id="{13984392-909D-4234-B409-BF7787981F48}" type="datetimeFigureOut">
              <a:rPr lang="en-US"/>
              <a:pPr>
                <a:defRPr/>
              </a:pPr>
              <a:t>12/1/2023</a:t>
            </a:fld>
            <a:endParaRPr lang="en-US"/>
          </a:p>
        </p:txBody>
      </p:sp>
      <p:sp>
        <p:nvSpPr>
          <p:cNvPr id="6" name="Footer Placeholder 4">
            <a:extLst>
              <a:ext uri="{FF2B5EF4-FFF2-40B4-BE49-F238E27FC236}">
                <a16:creationId xmlns:a16="http://schemas.microsoft.com/office/drawing/2014/main" id="{1E589003-A60E-8F0F-1AA3-E6AB1C5E1C73}"/>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7ED43A2-BF20-1EE4-30E4-C278EF6E925F}"/>
              </a:ext>
            </a:extLst>
          </p:cNvPr>
          <p:cNvSpPr>
            <a:spLocks noGrp="1"/>
          </p:cNvSpPr>
          <p:nvPr>
            <p:ph type="sldNum" sz="quarter" idx="12"/>
          </p:nvPr>
        </p:nvSpPr>
        <p:spPr/>
        <p:txBody>
          <a:bodyPr/>
          <a:lstStyle>
            <a:lvl1pPr>
              <a:defRPr/>
            </a:lvl1pPr>
          </a:lstStyle>
          <a:p>
            <a:pPr>
              <a:defRPr/>
            </a:pPr>
            <a:fld id="{9DE134E5-9818-41FC-8235-F5B099FB214B}" type="slidenum">
              <a:rPr lang="en-US"/>
              <a:pPr>
                <a:defRPr/>
              </a:pPr>
              <a:t>‹#›</a:t>
            </a:fld>
            <a:endParaRPr lang="en-US"/>
          </a:p>
        </p:txBody>
      </p:sp>
    </p:spTree>
    <p:extLst>
      <p:ext uri="{BB962C8B-B14F-4D97-AF65-F5344CB8AC3E}">
        <p14:creationId xmlns:p14="http://schemas.microsoft.com/office/powerpoint/2010/main" val="21370670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9F454D45-68D5-737A-04AE-5F620B04D7D9}"/>
              </a:ext>
            </a:extLst>
          </p:cNvPr>
          <p:cNvSpPr>
            <a:spLocks noGrp="1"/>
          </p:cNvSpPr>
          <p:nvPr>
            <p:ph type="dt" sz="half" idx="10"/>
          </p:nvPr>
        </p:nvSpPr>
        <p:spPr/>
        <p:txBody>
          <a:bodyPr/>
          <a:lstStyle>
            <a:lvl1pPr>
              <a:defRPr/>
            </a:lvl1pPr>
          </a:lstStyle>
          <a:p>
            <a:pPr>
              <a:defRPr/>
            </a:pPr>
            <a:fld id="{29072F62-FE3E-4663-AA78-5E66635F3EBB}" type="datetimeFigureOut">
              <a:rPr lang="en-US"/>
              <a:pPr>
                <a:defRPr/>
              </a:pPr>
              <a:t>12/1/2023</a:t>
            </a:fld>
            <a:endParaRPr lang="en-US"/>
          </a:p>
        </p:txBody>
      </p:sp>
      <p:sp>
        <p:nvSpPr>
          <p:cNvPr id="8" name="Footer Placeholder 4">
            <a:extLst>
              <a:ext uri="{FF2B5EF4-FFF2-40B4-BE49-F238E27FC236}">
                <a16:creationId xmlns:a16="http://schemas.microsoft.com/office/drawing/2014/main" id="{6E3DD8C7-221E-DFF7-36FB-9A5DF98205F2}"/>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8858C103-E50F-4009-EC1D-D51F70B3F253}"/>
              </a:ext>
            </a:extLst>
          </p:cNvPr>
          <p:cNvSpPr>
            <a:spLocks noGrp="1"/>
          </p:cNvSpPr>
          <p:nvPr>
            <p:ph type="sldNum" sz="quarter" idx="12"/>
          </p:nvPr>
        </p:nvSpPr>
        <p:spPr/>
        <p:txBody>
          <a:bodyPr/>
          <a:lstStyle>
            <a:lvl1pPr>
              <a:defRPr/>
            </a:lvl1pPr>
          </a:lstStyle>
          <a:p>
            <a:pPr>
              <a:defRPr/>
            </a:pPr>
            <a:fld id="{254C01FC-CD6F-4219-B8CE-E5FF57DE41F8}" type="slidenum">
              <a:rPr lang="en-US"/>
              <a:pPr>
                <a:defRPr/>
              </a:pPr>
              <a:t>‹#›</a:t>
            </a:fld>
            <a:endParaRPr lang="en-US"/>
          </a:p>
        </p:txBody>
      </p:sp>
    </p:spTree>
    <p:extLst>
      <p:ext uri="{BB962C8B-B14F-4D97-AF65-F5344CB8AC3E}">
        <p14:creationId xmlns:p14="http://schemas.microsoft.com/office/powerpoint/2010/main" val="320641793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C6A15684-643E-954F-C661-DA755380AB6A}"/>
              </a:ext>
            </a:extLst>
          </p:cNvPr>
          <p:cNvSpPr>
            <a:spLocks noGrp="1"/>
          </p:cNvSpPr>
          <p:nvPr>
            <p:ph type="dt" sz="half" idx="10"/>
          </p:nvPr>
        </p:nvSpPr>
        <p:spPr/>
        <p:txBody>
          <a:bodyPr/>
          <a:lstStyle>
            <a:lvl1pPr>
              <a:defRPr/>
            </a:lvl1pPr>
          </a:lstStyle>
          <a:p>
            <a:pPr>
              <a:defRPr/>
            </a:pPr>
            <a:fld id="{92973D7B-57EA-442B-A7CA-0621E33145FA}" type="datetimeFigureOut">
              <a:rPr lang="en-US"/>
              <a:pPr>
                <a:defRPr/>
              </a:pPr>
              <a:t>12/1/2023</a:t>
            </a:fld>
            <a:endParaRPr lang="en-US"/>
          </a:p>
        </p:txBody>
      </p:sp>
      <p:sp>
        <p:nvSpPr>
          <p:cNvPr id="4" name="Footer Placeholder 4">
            <a:extLst>
              <a:ext uri="{FF2B5EF4-FFF2-40B4-BE49-F238E27FC236}">
                <a16:creationId xmlns:a16="http://schemas.microsoft.com/office/drawing/2014/main" id="{D6CD650A-CD9B-7754-6281-AE5B83B8D311}"/>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22541332-1024-8F2E-1118-457E54340C83}"/>
              </a:ext>
            </a:extLst>
          </p:cNvPr>
          <p:cNvSpPr>
            <a:spLocks noGrp="1"/>
          </p:cNvSpPr>
          <p:nvPr>
            <p:ph type="sldNum" sz="quarter" idx="12"/>
          </p:nvPr>
        </p:nvSpPr>
        <p:spPr/>
        <p:txBody>
          <a:bodyPr/>
          <a:lstStyle>
            <a:lvl1pPr>
              <a:defRPr/>
            </a:lvl1pPr>
          </a:lstStyle>
          <a:p>
            <a:pPr>
              <a:defRPr/>
            </a:pPr>
            <a:fld id="{70B9615D-1C75-4664-AC87-17DDE10E4CCA}" type="slidenum">
              <a:rPr lang="en-US"/>
              <a:pPr>
                <a:defRPr/>
              </a:pPr>
              <a:t>‹#›</a:t>
            </a:fld>
            <a:endParaRPr lang="en-US"/>
          </a:p>
        </p:txBody>
      </p:sp>
    </p:spTree>
    <p:extLst>
      <p:ext uri="{BB962C8B-B14F-4D97-AF65-F5344CB8AC3E}">
        <p14:creationId xmlns:p14="http://schemas.microsoft.com/office/powerpoint/2010/main" val="1224731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116A79DC-63BE-F5FE-8BAC-E0F9D16969E8}"/>
              </a:ext>
            </a:extLst>
          </p:cNvPr>
          <p:cNvSpPr>
            <a:spLocks noGrp="1"/>
          </p:cNvSpPr>
          <p:nvPr>
            <p:ph type="dt" sz="half" idx="10"/>
          </p:nvPr>
        </p:nvSpPr>
        <p:spPr/>
        <p:txBody>
          <a:bodyPr/>
          <a:lstStyle>
            <a:lvl1pPr>
              <a:defRPr/>
            </a:lvl1pPr>
          </a:lstStyle>
          <a:p>
            <a:pPr>
              <a:defRPr/>
            </a:pPr>
            <a:fld id="{38863DF7-CEC4-4C80-82B4-677ED6658D4B}" type="datetimeFigureOut">
              <a:rPr lang="en-US"/>
              <a:pPr>
                <a:defRPr/>
              </a:pPr>
              <a:t>12/1/2023</a:t>
            </a:fld>
            <a:endParaRPr lang="en-US"/>
          </a:p>
        </p:txBody>
      </p:sp>
      <p:sp>
        <p:nvSpPr>
          <p:cNvPr id="3" name="Footer Placeholder 4">
            <a:extLst>
              <a:ext uri="{FF2B5EF4-FFF2-40B4-BE49-F238E27FC236}">
                <a16:creationId xmlns:a16="http://schemas.microsoft.com/office/drawing/2014/main" id="{81C0C8A2-FF01-FB00-30FE-E3B24DA1E4A2}"/>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29E28DB1-245E-0D09-9DC6-31660E7C6A60}"/>
              </a:ext>
            </a:extLst>
          </p:cNvPr>
          <p:cNvSpPr>
            <a:spLocks noGrp="1"/>
          </p:cNvSpPr>
          <p:nvPr>
            <p:ph type="sldNum" sz="quarter" idx="12"/>
          </p:nvPr>
        </p:nvSpPr>
        <p:spPr/>
        <p:txBody>
          <a:bodyPr/>
          <a:lstStyle>
            <a:lvl1pPr>
              <a:defRPr/>
            </a:lvl1pPr>
          </a:lstStyle>
          <a:p>
            <a:pPr>
              <a:defRPr/>
            </a:pPr>
            <a:fld id="{F60F18D4-3CA4-4FBC-AB3A-B4DD0D760731}" type="slidenum">
              <a:rPr lang="en-US"/>
              <a:pPr>
                <a:defRPr/>
              </a:pPr>
              <a:t>‹#›</a:t>
            </a:fld>
            <a:endParaRPr lang="en-US"/>
          </a:p>
        </p:txBody>
      </p:sp>
    </p:spTree>
    <p:extLst>
      <p:ext uri="{BB962C8B-B14F-4D97-AF65-F5344CB8AC3E}">
        <p14:creationId xmlns:p14="http://schemas.microsoft.com/office/powerpoint/2010/main" val="37720830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3">
            <a:extLst>
              <a:ext uri="{FF2B5EF4-FFF2-40B4-BE49-F238E27FC236}">
                <a16:creationId xmlns:a16="http://schemas.microsoft.com/office/drawing/2014/main" id="{20FC6CFD-8D3C-1ADE-5C4E-C6384D8D26EF}"/>
              </a:ext>
            </a:extLst>
          </p:cNvPr>
          <p:cNvSpPr>
            <a:spLocks noGrp="1"/>
          </p:cNvSpPr>
          <p:nvPr>
            <p:ph type="dt" sz="half" idx="10"/>
          </p:nvPr>
        </p:nvSpPr>
        <p:spPr/>
        <p:txBody>
          <a:bodyPr/>
          <a:lstStyle>
            <a:lvl1pPr>
              <a:defRPr/>
            </a:lvl1pPr>
          </a:lstStyle>
          <a:p>
            <a:pPr>
              <a:defRPr/>
            </a:pPr>
            <a:fld id="{132639D1-9BFD-49A2-B974-876606C3FEC7}" type="datetimeFigureOut">
              <a:rPr lang="en-US"/>
              <a:pPr>
                <a:defRPr/>
              </a:pPr>
              <a:t>12/1/2023</a:t>
            </a:fld>
            <a:endParaRPr lang="en-US"/>
          </a:p>
        </p:txBody>
      </p:sp>
      <p:sp>
        <p:nvSpPr>
          <p:cNvPr id="6" name="Footer Placeholder 4">
            <a:extLst>
              <a:ext uri="{FF2B5EF4-FFF2-40B4-BE49-F238E27FC236}">
                <a16:creationId xmlns:a16="http://schemas.microsoft.com/office/drawing/2014/main" id="{9AE4509D-83BB-CB66-7407-D504AA717D6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858CF1B6-9C9F-CEAB-CE94-17DF12CFC179}"/>
              </a:ext>
            </a:extLst>
          </p:cNvPr>
          <p:cNvSpPr>
            <a:spLocks noGrp="1"/>
          </p:cNvSpPr>
          <p:nvPr>
            <p:ph type="sldNum" sz="quarter" idx="12"/>
          </p:nvPr>
        </p:nvSpPr>
        <p:spPr/>
        <p:txBody>
          <a:bodyPr/>
          <a:lstStyle>
            <a:lvl1pPr>
              <a:defRPr/>
            </a:lvl1pPr>
          </a:lstStyle>
          <a:p>
            <a:pPr>
              <a:defRPr/>
            </a:pPr>
            <a:fld id="{A2741D5C-3161-437D-9D49-B2538F88C1F8}" type="slidenum">
              <a:rPr lang="en-US"/>
              <a:pPr>
                <a:defRPr/>
              </a:pPr>
              <a:t>‹#›</a:t>
            </a:fld>
            <a:endParaRPr lang="en-US"/>
          </a:p>
        </p:txBody>
      </p:sp>
    </p:spTree>
    <p:extLst>
      <p:ext uri="{BB962C8B-B14F-4D97-AF65-F5344CB8AC3E}">
        <p14:creationId xmlns:p14="http://schemas.microsoft.com/office/powerpoint/2010/main" val="2305673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rtlCol="0">
            <a:normAutofit/>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pPr lvl="0"/>
            <a:endParaRPr lang="en-US" noProof="0"/>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3">
            <a:extLst>
              <a:ext uri="{FF2B5EF4-FFF2-40B4-BE49-F238E27FC236}">
                <a16:creationId xmlns:a16="http://schemas.microsoft.com/office/drawing/2014/main" id="{AD647FBC-4BC3-8CDA-669F-5A24BED0BD5A}"/>
              </a:ext>
            </a:extLst>
          </p:cNvPr>
          <p:cNvSpPr>
            <a:spLocks noGrp="1"/>
          </p:cNvSpPr>
          <p:nvPr>
            <p:ph type="dt" sz="half" idx="10"/>
          </p:nvPr>
        </p:nvSpPr>
        <p:spPr/>
        <p:txBody>
          <a:bodyPr/>
          <a:lstStyle>
            <a:lvl1pPr>
              <a:defRPr/>
            </a:lvl1pPr>
          </a:lstStyle>
          <a:p>
            <a:pPr>
              <a:defRPr/>
            </a:pPr>
            <a:fld id="{0A3C34FE-2A45-4B97-A3CA-91834F0193EE}" type="datetimeFigureOut">
              <a:rPr lang="en-US"/>
              <a:pPr>
                <a:defRPr/>
              </a:pPr>
              <a:t>12/1/2023</a:t>
            </a:fld>
            <a:endParaRPr lang="en-US"/>
          </a:p>
        </p:txBody>
      </p:sp>
      <p:sp>
        <p:nvSpPr>
          <p:cNvPr id="6" name="Footer Placeholder 4">
            <a:extLst>
              <a:ext uri="{FF2B5EF4-FFF2-40B4-BE49-F238E27FC236}">
                <a16:creationId xmlns:a16="http://schemas.microsoft.com/office/drawing/2014/main" id="{F9B1E070-BF8A-DAD9-27A5-262DFDE4E13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A04408B-EA07-5BEA-0151-8ADFBF83888D}"/>
              </a:ext>
            </a:extLst>
          </p:cNvPr>
          <p:cNvSpPr>
            <a:spLocks noGrp="1"/>
          </p:cNvSpPr>
          <p:nvPr>
            <p:ph type="sldNum" sz="quarter" idx="12"/>
          </p:nvPr>
        </p:nvSpPr>
        <p:spPr/>
        <p:txBody>
          <a:bodyPr/>
          <a:lstStyle>
            <a:lvl1pPr>
              <a:defRPr/>
            </a:lvl1pPr>
          </a:lstStyle>
          <a:p>
            <a:pPr>
              <a:defRPr/>
            </a:pPr>
            <a:fld id="{1CF50C56-92F6-4035-8448-802795269DE6}" type="slidenum">
              <a:rPr lang="en-US"/>
              <a:pPr>
                <a:defRPr/>
              </a:pPr>
              <a:t>‹#›</a:t>
            </a:fld>
            <a:endParaRPr lang="en-US"/>
          </a:p>
        </p:txBody>
      </p:sp>
    </p:spTree>
    <p:extLst>
      <p:ext uri="{BB962C8B-B14F-4D97-AF65-F5344CB8AC3E}">
        <p14:creationId xmlns:p14="http://schemas.microsoft.com/office/powerpoint/2010/main" val="13096673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2EF041-9A2B-F751-D9AA-1EA5D6286EEC}"/>
              </a:ext>
            </a:extLst>
          </p:cNvPr>
          <p:cNvSpPr>
            <a:spLocks noGrp="1"/>
          </p:cNvSpPr>
          <p:nvPr>
            <p:ph type="dt" sz="half" idx="10"/>
          </p:nvPr>
        </p:nvSpPr>
        <p:spPr/>
        <p:txBody>
          <a:bodyPr/>
          <a:lstStyle>
            <a:lvl1pPr>
              <a:defRPr/>
            </a:lvl1pPr>
          </a:lstStyle>
          <a:p>
            <a:pPr>
              <a:defRPr/>
            </a:pPr>
            <a:fld id="{A0EBCD5E-BB73-4901-93E5-CFDE4290D794}" type="datetimeFigureOut">
              <a:rPr lang="en-US"/>
              <a:pPr>
                <a:defRPr/>
              </a:pPr>
              <a:t>12/1/2023</a:t>
            </a:fld>
            <a:endParaRPr lang="en-US"/>
          </a:p>
        </p:txBody>
      </p:sp>
      <p:sp>
        <p:nvSpPr>
          <p:cNvPr id="5" name="Footer Placeholder 4">
            <a:extLst>
              <a:ext uri="{FF2B5EF4-FFF2-40B4-BE49-F238E27FC236}">
                <a16:creationId xmlns:a16="http://schemas.microsoft.com/office/drawing/2014/main" id="{B6C397D9-17CD-5363-F14B-04F2F7D06EE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4BB67E0D-EED0-8A38-776F-333F92ACD3F9}"/>
              </a:ext>
            </a:extLst>
          </p:cNvPr>
          <p:cNvSpPr>
            <a:spLocks noGrp="1"/>
          </p:cNvSpPr>
          <p:nvPr>
            <p:ph type="sldNum" sz="quarter" idx="12"/>
          </p:nvPr>
        </p:nvSpPr>
        <p:spPr/>
        <p:txBody>
          <a:bodyPr/>
          <a:lstStyle>
            <a:lvl1pPr>
              <a:defRPr/>
            </a:lvl1pPr>
          </a:lstStyle>
          <a:p>
            <a:pPr>
              <a:defRPr/>
            </a:pPr>
            <a:fld id="{E591C704-8284-4156-84F0-C42E7D57667E}" type="slidenum">
              <a:rPr lang="en-US"/>
              <a:pPr>
                <a:defRPr/>
              </a:pPr>
              <a:t>‹#›</a:t>
            </a:fld>
            <a:endParaRPr lang="en-US"/>
          </a:p>
        </p:txBody>
      </p:sp>
    </p:spTree>
    <p:extLst>
      <p:ext uri="{BB962C8B-B14F-4D97-AF65-F5344CB8AC3E}">
        <p14:creationId xmlns:p14="http://schemas.microsoft.com/office/powerpoint/2010/main" val="189951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slideLayout" Target="../slideLayouts/slideLayout139.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slideLayout" Target="../slideLayouts/slideLayout142.xml"/><Relationship Id="rId47" Type="http://schemas.openxmlformats.org/officeDocument/2006/relationships/slideLayout" Target="../slideLayouts/slideLayout147.xml"/><Relationship Id="rId50" Type="http://schemas.openxmlformats.org/officeDocument/2006/relationships/slideLayout" Target="../slideLayouts/slideLayout150.xml"/><Relationship Id="rId55" Type="http://schemas.openxmlformats.org/officeDocument/2006/relationships/slideLayout" Target="../slideLayouts/slideLayout155.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9" Type="http://schemas.openxmlformats.org/officeDocument/2006/relationships/slideLayout" Target="../slideLayouts/slideLayout129.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45" Type="http://schemas.openxmlformats.org/officeDocument/2006/relationships/slideLayout" Target="../slideLayouts/slideLayout145.xml"/><Relationship Id="rId53" Type="http://schemas.openxmlformats.org/officeDocument/2006/relationships/slideLayout" Target="../slideLayouts/slideLayout153.xml"/><Relationship Id="rId58" Type="http://schemas.openxmlformats.org/officeDocument/2006/relationships/oleObject" Target="../embeddings/oleObject1.bin"/><Relationship Id="rId5" Type="http://schemas.openxmlformats.org/officeDocument/2006/relationships/slideLayout" Target="../slideLayouts/slideLayout105.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slideLayout" Target="../slideLayouts/slideLayout143.xml"/><Relationship Id="rId48" Type="http://schemas.openxmlformats.org/officeDocument/2006/relationships/slideLayout" Target="../slideLayouts/slideLayout148.xml"/><Relationship Id="rId56" Type="http://schemas.openxmlformats.org/officeDocument/2006/relationships/theme" Target="../theme/theme10.xml"/><Relationship Id="rId8" Type="http://schemas.openxmlformats.org/officeDocument/2006/relationships/slideLayout" Target="../slideLayouts/slideLayout108.xml"/><Relationship Id="rId51" Type="http://schemas.openxmlformats.org/officeDocument/2006/relationships/slideLayout" Target="../slideLayouts/slideLayout151.xml"/><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 Id="rId46" Type="http://schemas.openxmlformats.org/officeDocument/2006/relationships/slideLayout" Target="../slideLayouts/slideLayout146.xml"/><Relationship Id="rId59" Type="http://schemas.openxmlformats.org/officeDocument/2006/relationships/image" Target="../media/image1.emf"/><Relationship Id="rId20" Type="http://schemas.openxmlformats.org/officeDocument/2006/relationships/slideLayout" Target="../slideLayouts/slideLayout120.xml"/><Relationship Id="rId41" Type="http://schemas.openxmlformats.org/officeDocument/2006/relationships/slideLayout" Target="../slideLayouts/slideLayout141.xml"/><Relationship Id="rId54" Type="http://schemas.openxmlformats.org/officeDocument/2006/relationships/slideLayout" Target="../slideLayouts/slideLayout154.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49" Type="http://schemas.openxmlformats.org/officeDocument/2006/relationships/slideLayout" Target="../slideLayouts/slideLayout149.xml"/><Relationship Id="rId57" Type="http://schemas.openxmlformats.org/officeDocument/2006/relationships/tags" Target="../tags/tag1.xml"/><Relationship Id="rId10" Type="http://schemas.openxmlformats.org/officeDocument/2006/relationships/slideLayout" Target="../slideLayouts/slideLayout110.xml"/><Relationship Id="rId31" Type="http://schemas.openxmlformats.org/officeDocument/2006/relationships/slideLayout" Target="../slideLayouts/slideLayout131.xml"/><Relationship Id="rId44" Type="http://schemas.openxmlformats.org/officeDocument/2006/relationships/slideLayout" Target="../slideLayouts/slideLayout144.xml"/><Relationship Id="rId52" Type="http://schemas.openxmlformats.org/officeDocument/2006/relationships/slideLayout" Target="../slideLayouts/slideLayout15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theme" Target="../theme/theme11.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4.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theme" Target="../theme/theme12.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7926BED6-5C48-A0C6-57E7-5F147E14AE95}"/>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s-MX" altLang="en-US"/>
          </a:p>
        </p:txBody>
      </p:sp>
      <p:sp>
        <p:nvSpPr>
          <p:cNvPr id="1027" name="Text Placeholder 2">
            <a:extLst>
              <a:ext uri="{FF2B5EF4-FFF2-40B4-BE49-F238E27FC236}">
                <a16:creationId xmlns:a16="http://schemas.microsoft.com/office/drawing/2014/main" id="{A7882CB1-6317-49C2-9FFF-0D0118E204C4}"/>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s-MX" altLang="en-US"/>
          </a:p>
        </p:txBody>
      </p:sp>
      <p:sp>
        <p:nvSpPr>
          <p:cNvPr id="4" name="Date Placeholder 3">
            <a:extLst>
              <a:ext uri="{FF2B5EF4-FFF2-40B4-BE49-F238E27FC236}">
                <a16:creationId xmlns:a16="http://schemas.microsoft.com/office/drawing/2014/main" id="{22BB70DE-1B3D-F18D-9F87-27FB69CF09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EA347D79-E176-40F8-92A4-284BBD22A1B0}" type="datetimeFigureOut">
              <a:rPr lang="es-MX"/>
              <a:pPr>
                <a:defRPr/>
              </a:pPr>
              <a:t>01/12/2023</a:t>
            </a:fld>
            <a:endParaRPr lang="es-MX"/>
          </a:p>
        </p:txBody>
      </p:sp>
      <p:sp>
        <p:nvSpPr>
          <p:cNvPr id="5" name="Footer Placeholder 4">
            <a:extLst>
              <a:ext uri="{FF2B5EF4-FFF2-40B4-BE49-F238E27FC236}">
                <a16:creationId xmlns:a16="http://schemas.microsoft.com/office/drawing/2014/main" id="{CB36E46A-A355-EC9F-B8ED-A658CADD636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MX"/>
          </a:p>
        </p:txBody>
      </p:sp>
      <p:sp>
        <p:nvSpPr>
          <p:cNvPr id="6" name="Slide Number Placeholder 5">
            <a:extLst>
              <a:ext uri="{FF2B5EF4-FFF2-40B4-BE49-F238E27FC236}">
                <a16:creationId xmlns:a16="http://schemas.microsoft.com/office/drawing/2014/main" id="{CD221F7E-EB88-9552-B74E-41F2D9AA797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D8D9930A-E185-4D59-9B9B-B2761311DD05}" type="slidenum">
              <a:rPr lang="es-MX"/>
              <a:pPr>
                <a:defRPr/>
              </a:pPr>
              <a:t>‹#›</a:t>
            </a:fld>
            <a:endParaRPr lang="es-MX"/>
          </a:p>
        </p:txBody>
      </p:sp>
    </p:spTree>
  </p:cSld>
  <p:clrMap bg1="lt1" tx1="dk1" bg2="lt2" tx2="dk2" accent1="accent1" accent2="accent2" accent3="accent3" accent4="accent4" accent5="accent5" accent6="accent6" hlink="hlink" folHlink="folHlink"/>
  <p:sldLayoutIdLst>
    <p:sldLayoutId id="2147485047" r:id="rId1"/>
    <p:sldLayoutId id="2147485048" r:id="rId2"/>
    <p:sldLayoutId id="2147485049" r:id="rId3"/>
    <p:sldLayoutId id="2147485050" r:id="rId4"/>
    <p:sldLayoutId id="2147485051" r:id="rId5"/>
    <p:sldLayoutId id="2147485052" r:id="rId6"/>
    <p:sldLayoutId id="2147485053" r:id="rId7"/>
    <p:sldLayoutId id="2147485054" r:id="rId8"/>
    <p:sldLayoutId id="2147485055" r:id="rId9"/>
    <p:sldLayoutId id="2147485056" r:id="rId10"/>
    <p:sldLayoutId id="2147485057"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Box 14"/>
          <p:cNvSpPr txBox="1"/>
          <p:nvPr/>
        </p:nvSpPr>
        <p:spPr>
          <a:xfrm>
            <a:off x="6335184" y="6477001"/>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Espacio TI | Propuesta </a:t>
            </a:r>
            <a:r>
              <a:rPr lang="en-US" sz="900" noProof="0" err="1">
                <a:solidFill>
                  <a:schemeClr val="tx1"/>
                </a:solidFill>
                <a:latin typeface="Calibri" panose="020F0502020204030204" pitchFamily="34" charset="0"/>
                <a:cs typeface="Calibri" panose="020F0502020204030204" pitchFamily="34" charset="0"/>
              </a:rPr>
              <a:t>dinámica</a:t>
            </a:r>
            <a:r>
              <a:rPr lang="en-US" sz="900" noProof="0">
                <a:solidFill>
                  <a:schemeClr val="tx1"/>
                </a:solidFill>
                <a:latin typeface="Calibri" panose="020F0502020204030204" pitchFamily="34" charset="0"/>
                <a:cs typeface="Calibri" panose="020F0502020204030204" pitchFamily="34" charset="0"/>
              </a:rPr>
              <a:t> de </a:t>
            </a:r>
            <a:r>
              <a:rPr lang="en-US" sz="900" noProof="0" err="1">
                <a:solidFill>
                  <a:schemeClr val="tx1"/>
                </a:solidFill>
                <a:latin typeface="Calibri" panose="020F0502020204030204" pitchFamily="34" charset="0"/>
                <a:cs typeface="Calibri" panose="020F0502020204030204" pitchFamily="34" charset="0"/>
              </a:rPr>
              <a:t>cierre</a:t>
            </a:r>
            <a:r>
              <a:rPr lang="en-US" sz="900" noProof="0">
                <a:solidFill>
                  <a:schemeClr val="tx1"/>
                </a:solidFill>
                <a:latin typeface="Calibri" panose="020F0502020204030204" pitchFamily="34" charset="0"/>
                <a:cs typeface="Calibri" panose="020F0502020204030204" pitchFamily="34" charset="0"/>
              </a:rPr>
              <a:t> </a:t>
            </a:r>
          </a:p>
        </p:txBody>
      </p:sp>
      <p:graphicFrame>
        <p:nvGraphicFramePr>
          <p:cNvPr id="4" name="Object 3" hidden="1"/>
          <p:cNvGraphicFramePr>
            <a:graphicFrameLocks noChangeAspect="1"/>
          </p:cNvGraphicFramePr>
          <p:nvPr>
            <p:custDataLst>
              <p:tags r:id="rId57"/>
            </p:custDataLst>
            <p:extLst>
              <p:ext uri="{D42A27DB-BD31-4B8C-83A1-F6EECF244321}">
                <p14:modId xmlns:p14="http://schemas.microsoft.com/office/powerpoint/2010/main" val="36365733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4" name="Object 3" hidden="1"/>
                      <p:cNvPicPr/>
                      <p:nvPr/>
                    </p:nvPicPr>
                    <p:blipFill>
                      <a:blip r:embed="rId5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34C6CC86-C6EF-476D-2A87-8CE893E77D46}"/>
              </a:ext>
            </a:extLst>
          </p:cNvPr>
          <p:cNvSpPr txBox="1"/>
          <p:nvPr userDrawn="1"/>
        </p:nvSpPr>
        <p:spPr>
          <a:xfrm>
            <a:off x="376237" y="6477001"/>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3 Deloitte Spanish Latin America</a:t>
            </a:r>
          </a:p>
        </p:txBody>
      </p:sp>
    </p:spTree>
    <p:extLst>
      <p:ext uri="{BB962C8B-B14F-4D97-AF65-F5344CB8AC3E}">
        <p14:creationId xmlns:p14="http://schemas.microsoft.com/office/powerpoint/2010/main" val="1083578680"/>
      </p:ext>
    </p:extLst>
  </p:cSld>
  <p:clrMap bg1="lt1" tx1="dk1" bg2="lt2" tx2="dk2" accent1="accent1" accent2="accent2" accent3="accent3" accent4="accent4" accent5="accent5" accent6="accent6" hlink="hlink" folHlink="folHlink"/>
  <p:sldLayoutIdLst>
    <p:sldLayoutId id="2147485209" r:id="rId1"/>
    <p:sldLayoutId id="2147485210" r:id="rId2"/>
    <p:sldLayoutId id="2147485211" r:id="rId3"/>
    <p:sldLayoutId id="2147485212" r:id="rId4"/>
    <p:sldLayoutId id="2147485213" r:id="rId5"/>
    <p:sldLayoutId id="2147485214" r:id="rId6"/>
    <p:sldLayoutId id="2147485215" r:id="rId7"/>
    <p:sldLayoutId id="2147485216" r:id="rId8"/>
    <p:sldLayoutId id="2147485217" r:id="rId9"/>
    <p:sldLayoutId id="2147485218" r:id="rId10"/>
    <p:sldLayoutId id="2147485219" r:id="rId11"/>
    <p:sldLayoutId id="2147485220" r:id="rId12"/>
    <p:sldLayoutId id="2147485221" r:id="rId13"/>
    <p:sldLayoutId id="2147485222" r:id="rId14"/>
    <p:sldLayoutId id="2147485223" r:id="rId15"/>
    <p:sldLayoutId id="2147485224" r:id="rId16"/>
    <p:sldLayoutId id="2147485225" r:id="rId17"/>
    <p:sldLayoutId id="2147485226" r:id="rId18"/>
    <p:sldLayoutId id="2147485227" r:id="rId19"/>
    <p:sldLayoutId id="2147485228" r:id="rId20"/>
    <p:sldLayoutId id="2147485229" r:id="rId21"/>
    <p:sldLayoutId id="2147485230" r:id="rId22"/>
    <p:sldLayoutId id="2147485231" r:id="rId23"/>
    <p:sldLayoutId id="2147485232" r:id="rId24"/>
    <p:sldLayoutId id="2147485233" r:id="rId25"/>
    <p:sldLayoutId id="2147485234" r:id="rId26"/>
    <p:sldLayoutId id="2147485235" r:id="rId27"/>
    <p:sldLayoutId id="2147485236" r:id="rId28"/>
    <p:sldLayoutId id="2147485237" r:id="rId29"/>
    <p:sldLayoutId id="2147485238" r:id="rId30"/>
    <p:sldLayoutId id="2147485239" r:id="rId31"/>
    <p:sldLayoutId id="2147485240" r:id="rId32"/>
    <p:sldLayoutId id="2147485241" r:id="rId33"/>
    <p:sldLayoutId id="2147485242" r:id="rId34"/>
    <p:sldLayoutId id="2147485243" r:id="rId35"/>
    <p:sldLayoutId id="2147485244" r:id="rId36"/>
    <p:sldLayoutId id="2147485245" r:id="rId37"/>
    <p:sldLayoutId id="2147485246" r:id="rId38"/>
    <p:sldLayoutId id="2147485247" r:id="rId39"/>
    <p:sldLayoutId id="2147485248" r:id="rId40"/>
    <p:sldLayoutId id="2147485249" r:id="rId41"/>
    <p:sldLayoutId id="2147485250" r:id="rId42"/>
    <p:sldLayoutId id="2147485251" r:id="rId43"/>
    <p:sldLayoutId id="2147485252" r:id="rId44"/>
    <p:sldLayoutId id="2147485253" r:id="rId45"/>
    <p:sldLayoutId id="2147485254" r:id="rId46"/>
    <p:sldLayoutId id="2147485255" r:id="rId47"/>
    <p:sldLayoutId id="2147485256" r:id="rId48"/>
    <p:sldLayoutId id="2147485257" r:id="rId49"/>
    <p:sldLayoutId id="2147485258" r:id="rId50"/>
    <p:sldLayoutId id="2147485259" r:id="rId51"/>
    <p:sldLayoutId id="2147485260" r:id="rId52"/>
    <p:sldLayoutId id="2147485261" r:id="rId53"/>
    <p:sldLayoutId id="2147485262" r:id="rId54"/>
    <p:sldLayoutId id="2147485264" r:id="rId55"/>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B4BB057C-2348-AB40-BC01-783AF167A6B3}"/>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AC3095B8-6660-36D2-C8E2-9BEE745DAED5}"/>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D5C7D68F-D141-F26C-C795-DC16CF1F492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F06B6E89-E462-4EEE-836E-8D40D274F2B1}" type="datetimeFigureOut">
              <a:rPr lang="en-US"/>
              <a:pPr>
                <a:defRPr/>
              </a:pPr>
              <a:t>12/1/2023</a:t>
            </a:fld>
            <a:endParaRPr lang="en-US"/>
          </a:p>
        </p:txBody>
      </p:sp>
      <p:sp>
        <p:nvSpPr>
          <p:cNvPr id="5" name="Footer Placeholder 4">
            <a:extLst>
              <a:ext uri="{FF2B5EF4-FFF2-40B4-BE49-F238E27FC236}">
                <a16:creationId xmlns:a16="http://schemas.microsoft.com/office/drawing/2014/main" id="{6BB05D09-F016-5852-F7DF-556ACA04C1A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E044C680-8032-DE41-430B-F3151759F2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75430AD5-AEC7-4A56-9E59-6CF9486387E3}" type="slidenum">
              <a:rPr lang="en-US"/>
              <a:pPr>
                <a:defRPr/>
              </a:pPr>
              <a:t>‹#›</a:t>
            </a:fld>
            <a:endParaRPr lang="en-US"/>
          </a:p>
        </p:txBody>
      </p:sp>
    </p:spTree>
    <p:extLst>
      <p:ext uri="{BB962C8B-B14F-4D97-AF65-F5344CB8AC3E}">
        <p14:creationId xmlns:p14="http://schemas.microsoft.com/office/powerpoint/2010/main" val="2249505706"/>
      </p:ext>
    </p:extLst>
  </p:cSld>
  <p:clrMap bg1="dk1" tx1="lt1" bg2="dk2" tx2="lt2" accent1="accent1" accent2="accent2" accent3="accent3" accent4="accent4" accent5="accent5" accent6="accent6" hlink="hlink" folHlink="folHlink"/>
  <p:sldLayoutIdLst>
    <p:sldLayoutId id="2147485266" r:id="rId1"/>
    <p:sldLayoutId id="2147485267" r:id="rId2"/>
    <p:sldLayoutId id="2147485268" r:id="rId3"/>
    <p:sldLayoutId id="2147485269" r:id="rId4"/>
    <p:sldLayoutId id="2147485270" r:id="rId5"/>
    <p:sldLayoutId id="2147485271" r:id="rId6"/>
    <p:sldLayoutId id="2147485272" r:id="rId7"/>
    <p:sldLayoutId id="2147485273" r:id="rId8"/>
    <p:sldLayoutId id="2147485274" r:id="rId9"/>
    <p:sldLayoutId id="2147485275" r:id="rId10"/>
    <p:sldLayoutId id="2147485276" r:id="rId11"/>
  </p:sldLayoutIdLst>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Calibri Light" panose="020F0302020204030204" pitchFamily="34" charset="0"/>
        </a:defRPr>
      </a:lvl2pPr>
      <a:lvl3pPr algn="l" rtl="0" fontAlgn="base">
        <a:lnSpc>
          <a:spcPct val="90000"/>
        </a:lnSpc>
        <a:spcBef>
          <a:spcPct val="0"/>
        </a:spcBef>
        <a:spcAft>
          <a:spcPct val="0"/>
        </a:spcAft>
        <a:defRPr sz="4400">
          <a:solidFill>
            <a:schemeClr val="tx1"/>
          </a:solidFill>
          <a:latin typeface="Calibri Light" panose="020F0302020204030204" pitchFamily="34" charset="0"/>
        </a:defRPr>
      </a:lvl3pPr>
      <a:lvl4pPr algn="l" rtl="0" fontAlgn="base">
        <a:lnSpc>
          <a:spcPct val="90000"/>
        </a:lnSpc>
        <a:spcBef>
          <a:spcPct val="0"/>
        </a:spcBef>
        <a:spcAft>
          <a:spcPct val="0"/>
        </a:spcAft>
        <a:defRPr sz="4400">
          <a:solidFill>
            <a:schemeClr val="tx1"/>
          </a:solidFill>
          <a:latin typeface="Calibri Light" panose="020F0302020204030204" pitchFamily="34" charset="0"/>
        </a:defRPr>
      </a:lvl4pPr>
      <a:lvl5pPr algn="l" rtl="0" fontAlgn="base">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89C2EF64-3099-7DCE-F80B-76C501CA503A}"/>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s-MX"/>
              <a:t>Click to edit Master title style</a:t>
            </a:r>
            <a:endParaRPr lang="es-MX" altLang="es-MX"/>
          </a:p>
        </p:txBody>
      </p:sp>
      <p:sp>
        <p:nvSpPr>
          <p:cNvPr id="2051" name="Text Placeholder 2">
            <a:extLst>
              <a:ext uri="{FF2B5EF4-FFF2-40B4-BE49-F238E27FC236}">
                <a16:creationId xmlns:a16="http://schemas.microsoft.com/office/drawing/2014/main" id="{A7D20632-977E-9FED-96F8-AA8AF7C629DC}"/>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endParaRPr lang="es-MX" altLang="es-MX"/>
          </a:p>
        </p:txBody>
      </p:sp>
      <p:sp>
        <p:nvSpPr>
          <p:cNvPr id="4" name="Date Placeholder 3">
            <a:extLst>
              <a:ext uri="{FF2B5EF4-FFF2-40B4-BE49-F238E27FC236}">
                <a16:creationId xmlns:a16="http://schemas.microsoft.com/office/drawing/2014/main" id="{70093039-EB19-A3CB-08B4-865B043DF05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2F5963CA-3E91-41BC-BE2C-917509345C25}" type="datetimeFigureOut">
              <a:rPr lang="es-MX"/>
              <a:pPr>
                <a:defRPr/>
              </a:pPr>
              <a:t>01/12/2023</a:t>
            </a:fld>
            <a:endParaRPr lang="es-MX"/>
          </a:p>
        </p:txBody>
      </p:sp>
      <p:sp>
        <p:nvSpPr>
          <p:cNvPr id="5" name="Footer Placeholder 4">
            <a:extLst>
              <a:ext uri="{FF2B5EF4-FFF2-40B4-BE49-F238E27FC236}">
                <a16:creationId xmlns:a16="http://schemas.microsoft.com/office/drawing/2014/main" id="{4CC059A9-D357-81E8-58E8-2A25DF1FEEC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MX"/>
          </a:p>
        </p:txBody>
      </p:sp>
      <p:sp>
        <p:nvSpPr>
          <p:cNvPr id="6" name="Slide Number Placeholder 5">
            <a:extLst>
              <a:ext uri="{FF2B5EF4-FFF2-40B4-BE49-F238E27FC236}">
                <a16:creationId xmlns:a16="http://schemas.microsoft.com/office/drawing/2014/main" id="{0C942C16-AB55-BC08-373D-E599D4B476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B40C8BE9-B777-417C-84D1-C84A77754E14}" type="slidenum">
              <a:rPr lang="es-MX"/>
              <a:pPr>
                <a:defRPr/>
              </a:pPr>
              <a:t>‹#›</a:t>
            </a:fld>
            <a:endParaRPr lang="es-MX"/>
          </a:p>
        </p:txBody>
      </p:sp>
    </p:spTree>
    <p:extLst>
      <p:ext uri="{BB962C8B-B14F-4D97-AF65-F5344CB8AC3E}">
        <p14:creationId xmlns:p14="http://schemas.microsoft.com/office/powerpoint/2010/main" val="1041153888"/>
      </p:ext>
    </p:extLst>
  </p:cSld>
  <p:clrMap bg1="lt1" tx1="dk1" bg2="lt2" tx2="dk2" accent1="accent1" accent2="accent2" accent3="accent3" accent4="accent4" accent5="accent5" accent6="accent6" hlink="hlink" folHlink="folHlink"/>
  <p:sldLayoutIdLst>
    <p:sldLayoutId id="2147485290" r:id="rId1"/>
    <p:sldLayoutId id="2147485291" r:id="rId2"/>
    <p:sldLayoutId id="2147485292" r:id="rId3"/>
    <p:sldLayoutId id="2147485293" r:id="rId4"/>
    <p:sldLayoutId id="2147485294" r:id="rId5"/>
    <p:sldLayoutId id="2147485295" r:id="rId6"/>
    <p:sldLayoutId id="2147485296" r:id="rId7"/>
    <p:sldLayoutId id="2147485297" r:id="rId8"/>
    <p:sldLayoutId id="2147485298" r:id="rId9"/>
    <p:sldLayoutId id="2147485299" r:id="rId10"/>
    <p:sldLayoutId id="2147485300"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70D3A45A-9B34-B817-EB93-4BFD5028AF76}"/>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a:extLst>
              <a:ext uri="{FF2B5EF4-FFF2-40B4-BE49-F238E27FC236}">
                <a16:creationId xmlns:a16="http://schemas.microsoft.com/office/drawing/2014/main" id="{F579C468-F2D9-F9E1-1DEA-366482FDC706}"/>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F06EA77C-1486-58FD-CA1F-93870F5E61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48FF07B6-EE46-4EF2-9D8F-C554F3E8A18B}" type="datetimeFigureOut">
              <a:rPr lang="en-US"/>
              <a:pPr>
                <a:defRPr/>
              </a:pPr>
              <a:t>12/1/2023</a:t>
            </a:fld>
            <a:endParaRPr lang="en-US"/>
          </a:p>
        </p:txBody>
      </p:sp>
      <p:sp>
        <p:nvSpPr>
          <p:cNvPr id="5" name="Footer Placeholder 4">
            <a:extLst>
              <a:ext uri="{FF2B5EF4-FFF2-40B4-BE49-F238E27FC236}">
                <a16:creationId xmlns:a16="http://schemas.microsoft.com/office/drawing/2014/main" id="{D71682BA-6043-FD02-7D39-5F28A26CA8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C805388C-EFF7-3529-7C0E-87D3DC2795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15C6429B-51D5-44BC-AD5E-DF02C1920C7A}"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5058" r:id="rId1"/>
    <p:sldLayoutId id="2147485059" r:id="rId2"/>
    <p:sldLayoutId id="2147485060" r:id="rId3"/>
    <p:sldLayoutId id="2147485061" r:id="rId4"/>
    <p:sldLayoutId id="2147485062" r:id="rId5"/>
    <p:sldLayoutId id="2147485063" r:id="rId6"/>
    <p:sldLayoutId id="2147485064" r:id="rId7"/>
    <p:sldLayoutId id="2147485065" r:id="rId8"/>
    <p:sldLayoutId id="2147485066" r:id="rId9"/>
    <p:sldLayoutId id="2147485067" r:id="rId10"/>
    <p:sldLayoutId id="2147485068"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Title Placeholder 1">
            <a:extLst>
              <a:ext uri="{FF2B5EF4-FFF2-40B4-BE49-F238E27FC236}">
                <a16:creationId xmlns:a16="http://schemas.microsoft.com/office/drawing/2014/main" id="{D1B3A1AA-BED0-56EE-F9C6-4BDDD0568FC7}"/>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s-MX" altLang="en-US"/>
          </a:p>
        </p:txBody>
      </p:sp>
      <p:sp>
        <p:nvSpPr>
          <p:cNvPr id="8195" name="Text Placeholder 2">
            <a:extLst>
              <a:ext uri="{FF2B5EF4-FFF2-40B4-BE49-F238E27FC236}">
                <a16:creationId xmlns:a16="http://schemas.microsoft.com/office/drawing/2014/main" id="{22965C8D-F8DC-4057-B325-E500B88DD1A0}"/>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s-MX" altLang="en-US"/>
          </a:p>
        </p:txBody>
      </p:sp>
      <p:sp>
        <p:nvSpPr>
          <p:cNvPr id="4" name="Date Placeholder 3">
            <a:extLst>
              <a:ext uri="{FF2B5EF4-FFF2-40B4-BE49-F238E27FC236}">
                <a16:creationId xmlns:a16="http://schemas.microsoft.com/office/drawing/2014/main" id="{86F3D308-7698-1CB2-48BF-7A89129750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76462F37-BEAE-4BD7-B510-E1513F0D9262}" type="datetimeFigureOut">
              <a:rPr lang="es-MX"/>
              <a:pPr>
                <a:defRPr/>
              </a:pPr>
              <a:t>01/12/2023</a:t>
            </a:fld>
            <a:endParaRPr lang="es-MX"/>
          </a:p>
        </p:txBody>
      </p:sp>
      <p:sp>
        <p:nvSpPr>
          <p:cNvPr id="5" name="Footer Placeholder 4">
            <a:extLst>
              <a:ext uri="{FF2B5EF4-FFF2-40B4-BE49-F238E27FC236}">
                <a16:creationId xmlns:a16="http://schemas.microsoft.com/office/drawing/2014/main" id="{A555B362-D1C4-42E2-9CE0-94F63F99DC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MX"/>
          </a:p>
        </p:txBody>
      </p:sp>
      <p:sp>
        <p:nvSpPr>
          <p:cNvPr id="6" name="Slide Number Placeholder 5">
            <a:extLst>
              <a:ext uri="{FF2B5EF4-FFF2-40B4-BE49-F238E27FC236}">
                <a16:creationId xmlns:a16="http://schemas.microsoft.com/office/drawing/2014/main" id="{02D3AD17-4D5A-EEFA-A0CC-09FFD205BD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7DEF13CB-53DA-40FF-B06F-7009A4FB573A}" type="slidenum">
              <a:rPr lang="es-MX"/>
              <a:pPr>
                <a:defRPr/>
              </a:pPr>
              <a:t>‹#›</a:t>
            </a:fld>
            <a:endParaRPr lang="es-MX"/>
          </a:p>
        </p:txBody>
      </p:sp>
    </p:spTree>
  </p:cSld>
  <p:clrMap bg1="lt1" tx1="dk1" bg2="lt2" tx2="dk2" accent1="accent1" accent2="accent2" accent3="accent3" accent4="accent4" accent5="accent5" accent6="accent6" hlink="hlink" folHlink="folHlink"/>
  <p:sldLayoutIdLst>
    <p:sldLayoutId id="2147485124" r:id="rId1"/>
    <p:sldLayoutId id="2147485125" r:id="rId2"/>
    <p:sldLayoutId id="2147485126" r:id="rId3"/>
    <p:sldLayoutId id="2147485127" r:id="rId4"/>
    <p:sldLayoutId id="2147485128" r:id="rId5"/>
    <p:sldLayoutId id="2147485129" r:id="rId6"/>
    <p:sldLayoutId id="2147485130" r:id="rId7"/>
    <p:sldLayoutId id="2147485131" r:id="rId8"/>
    <p:sldLayoutId id="2147485132" r:id="rId9"/>
    <p:sldLayoutId id="2147485133" r:id="rId10"/>
    <p:sldLayoutId id="2147485134"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994CC29D-8517-32A6-C04F-03D6660ADAF7}"/>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s-MX"/>
              <a:t>Click to edit Master title style</a:t>
            </a:r>
            <a:endParaRPr lang="es-MX" altLang="es-MX"/>
          </a:p>
        </p:txBody>
      </p:sp>
      <p:sp>
        <p:nvSpPr>
          <p:cNvPr id="3075" name="Text Placeholder 2">
            <a:extLst>
              <a:ext uri="{FF2B5EF4-FFF2-40B4-BE49-F238E27FC236}">
                <a16:creationId xmlns:a16="http://schemas.microsoft.com/office/drawing/2014/main" id="{6DC12161-86D0-8DFA-89D8-9584C6938D2A}"/>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endParaRPr lang="es-MX" altLang="es-MX"/>
          </a:p>
        </p:txBody>
      </p:sp>
      <p:sp>
        <p:nvSpPr>
          <p:cNvPr id="4" name="Date Placeholder 3">
            <a:extLst>
              <a:ext uri="{FF2B5EF4-FFF2-40B4-BE49-F238E27FC236}">
                <a16:creationId xmlns:a16="http://schemas.microsoft.com/office/drawing/2014/main" id="{C8AD3D02-38AE-B468-85CB-9413777AE0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5FCB2BA3-2F6D-4BF4-9EF5-D415DDB3B483}" type="datetimeFigureOut">
              <a:rPr lang="es-MX"/>
              <a:pPr>
                <a:defRPr/>
              </a:pPr>
              <a:t>01/12/2023</a:t>
            </a:fld>
            <a:endParaRPr lang="es-MX"/>
          </a:p>
        </p:txBody>
      </p:sp>
      <p:sp>
        <p:nvSpPr>
          <p:cNvPr id="5" name="Footer Placeholder 4">
            <a:extLst>
              <a:ext uri="{FF2B5EF4-FFF2-40B4-BE49-F238E27FC236}">
                <a16:creationId xmlns:a16="http://schemas.microsoft.com/office/drawing/2014/main" id="{FE6F0B41-91C1-2867-6140-F9494B0AB15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MX"/>
          </a:p>
        </p:txBody>
      </p:sp>
      <p:sp>
        <p:nvSpPr>
          <p:cNvPr id="6" name="Slide Number Placeholder 5">
            <a:extLst>
              <a:ext uri="{FF2B5EF4-FFF2-40B4-BE49-F238E27FC236}">
                <a16:creationId xmlns:a16="http://schemas.microsoft.com/office/drawing/2014/main" id="{C1EAB41E-C754-FA91-E6A9-081410B3A2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E8C7C67E-BD6E-442C-A53B-0AF24EFA1C2B}" type="slidenum">
              <a:rPr lang="es-MX"/>
              <a:pPr>
                <a:defRPr/>
              </a:pPr>
              <a:t>‹#›</a:t>
            </a:fld>
            <a:endParaRPr lang="es-MX"/>
          </a:p>
        </p:txBody>
      </p:sp>
    </p:spTree>
    <p:extLst>
      <p:ext uri="{BB962C8B-B14F-4D97-AF65-F5344CB8AC3E}">
        <p14:creationId xmlns:p14="http://schemas.microsoft.com/office/powerpoint/2010/main" val="3508629362"/>
      </p:ext>
    </p:extLst>
  </p:cSld>
  <p:clrMap bg1="lt1" tx1="dk1" bg2="lt2" tx2="dk2" accent1="accent1" accent2="accent2" accent3="accent3" accent4="accent4" accent5="accent5" accent6="accent6" hlink="hlink" folHlink="folHlink"/>
  <p:sldLayoutIdLst>
    <p:sldLayoutId id="2147485136" r:id="rId1"/>
    <p:sldLayoutId id="2147485137" r:id="rId2"/>
    <p:sldLayoutId id="2147485138" r:id="rId3"/>
    <p:sldLayoutId id="2147485139" r:id="rId4"/>
    <p:sldLayoutId id="2147485140" r:id="rId5"/>
    <p:sldLayoutId id="2147485141" r:id="rId6"/>
    <p:sldLayoutId id="2147485142" r:id="rId7"/>
    <p:sldLayoutId id="2147485143" r:id="rId8"/>
    <p:sldLayoutId id="2147485144" r:id="rId9"/>
    <p:sldLayoutId id="2147485145" r:id="rId10"/>
    <p:sldLayoutId id="2147485146" r:id="rId11"/>
    <p:sldLayoutId id="2147485147" r:id="rId12"/>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23"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46"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69"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91"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7605AE6B-C230-9F9B-7FD5-EDAF6F9F1213}"/>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s-MX"/>
              <a:t>Click to edit Master title style</a:t>
            </a:r>
            <a:endParaRPr lang="es-MX" altLang="es-MX"/>
          </a:p>
        </p:txBody>
      </p:sp>
      <p:sp>
        <p:nvSpPr>
          <p:cNvPr id="2051" name="Text Placeholder 2">
            <a:extLst>
              <a:ext uri="{FF2B5EF4-FFF2-40B4-BE49-F238E27FC236}">
                <a16:creationId xmlns:a16="http://schemas.microsoft.com/office/drawing/2014/main" id="{282DACA7-74F3-D7FD-EB51-D8EA21D26F0C}"/>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endParaRPr lang="es-MX" altLang="es-MX"/>
          </a:p>
        </p:txBody>
      </p:sp>
      <p:sp>
        <p:nvSpPr>
          <p:cNvPr id="4" name="Date Placeholder 3">
            <a:extLst>
              <a:ext uri="{FF2B5EF4-FFF2-40B4-BE49-F238E27FC236}">
                <a16:creationId xmlns:a16="http://schemas.microsoft.com/office/drawing/2014/main" id="{A0A4027C-B110-B323-8D83-5E18B0E0FBD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9DC60E2A-202F-4395-AB4A-0739AB278512}" type="datetimeFigureOut">
              <a:rPr lang="es-MX"/>
              <a:pPr>
                <a:defRPr/>
              </a:pPr>
              <a:t>01/12/2023</a:t>
            </a:fld>
            <a:endParaRPr lang="es-MX"/>
          </a:p>
        </p:txBody>
      </p:sp>
      <p:sp>
        <p:nvSpPr>
          <p:cNvPr id="5" name="Footer Placeholder 4">
            <a:extLst>
              <a:ext uri="{FF2B5EF4-FFF2-40B4-BE49-F238E27FC236}">
                <a16:creationId xmlns:a16="http://schemas.microsoft.com/office/drawing/2014/main" id="{F3F5100E-4B21-3EB1-1860-4E4307C62A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MX"/>
          </a:p>
        </p:txBody>
      </p:sp>
      <p:sp>
        <p:nvSpPr>
          <p:cNvPr id="6" name="Slide Number Placeholder 5">
            <a:extLst>
              <a:ext uri="{FF2B5EF4-FFF2-40B4-BE49-F238E27FC236}">
                <a16:creationId xmlns:a16="http://schemas.microsoft.com/office/drawing/2014/main" id="{82477A79-8E5E-489F-1B1B-1E05E2D48A6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CE08CC22-7A06-4D8A-82C6-3E5251507057}" type="slidenum">
              <a:rPr lang="es-MX"/>
              <a:pPr>
                <a:defRPr/>
              </a:pPr>
              <a:t>‹#›</a:t>
            </a:fld>
            <a:endParaRPr lang="es-MX"/>
          </a:p>
        </p:txBody>
      </p:sp>
    </p:spTree>
    <p:extLst>
      <p:ext uri="{BB962C8B-B14F-4D97-AF65-F5344CB8AC3E}">
        <p14:creationId xmlns:p14="http://schemas.microsoft.com/office/powerpoint/2010/main" val="2476484929"/>
      </p:ext>
    </p:extLst>
  </p:cSld>
  <p:clrMap bg1="lt1" tx1="dk1" bg2="lt2" tx2="dk2" accent1="accent1" accent2="accent2" accent3="accent3" accent4="accent4" accent5="accent5" accent6="accent6" hlink="hlink" folHlink="folHlink"/>
  <p:sldLayoutIdLst>
    <p:sldLayoutId id="2147485149" r:id="rId1"/>
    <p:sldLayoutId id="2147485150" r:id="rId2"/>
    <p:sldLayoutId id="2147485151" r:id="rId3"/>
    <p:sldLayoutId id="2147485152" r:id="rId4"/>
    <p:sldLayoutId id="2147485153" r:id="rId5"/>
    <p:sldLayoutId id="2147485154" r:id="rId6"/>
    <p:sldLayoutId id="2147485155" r:id="rId7"/>
    <p:sldLayoutId id="2147485156" r:id="rId8"/>
    <p:sldLayoutId id="2147485157" r:id="rId9"/>
    <p:sldLayoutId id="2147485158" r:id="rId10"/>
    <p:sldLayoutId id="2147485159"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39AB6FF-7BCA-AD4F-FD99-6522AD291FA7}"/>
              </a:ext>
            </a:extLst>
          </p:cNvPr>
          <p:cNvSpPr>
            <a:spLocks noGrp="1"/>
          </p:cNvSpPr>
          <p:nvPr>
            <p:ph type="title"/>
          </p:nvPr>
        </p:nvSpPr>
        <p:spPr>
          <a:xfrm>
            <a:off x="304800" y="182563"/>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2F2798F-AD15-2DE2-6509-94000AC5D9D9}"/>
              </a:ext>
            </a:extLst>
          </p:cNvPr>
          <p:cNvSpPr>
            <a:spLocks noGrp="1"/>
          </p:cNvSpPr>
          <p:nvPr>
            <p:ph type="body" idx="1"/>
          </p:nvPr>
        </p:nvSpPr>
        <p:spPr>
          <a:xfrm>
            <a:off x="304800" y="1066800"/>
            <a:ext cx="5486400" cy="30178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C9DE34-F39C-9C2C-B9AC-C9417D344DFF}"/>
              </a:ext>
            </a:extLst>
          </p:cNvPr>
          <p:cNvSpPr>
            <a:spLocks noGrp="1"/>
          </p:cNvSpPr>
          <p:nvPr>
            <p:ph type="dt" sz="half" idx="2"/>
          </p:nvPr>
        </p:nvSpPr>
        <p:spPr>
          <a:xfrm>
            <a:off x="304800" y="4237038"/>
            <a:ext cx="1422400" cy="244475"/>
          </a:xfrm>
          <a:prstGeom prst="rect">
            <a:avLst/>
          </a:prstGeom>
        </p:spPr>
        <p:txBody>
          <a:bodyPr vert="horz" lIns="91440" tIns="45720" rIns="91440" bIns="45720" rtlCol="0" anchor="ctr"/>
          <a:lstStyle>
            <a:lvl1pPr algn="l">
              <a:defRPr sz="800" smtClean="0">
                <a:solidFill>
                  <a:schemeClr val="tx1">
                    <a:tint val="75000"/>
                  </a:schemeClr>
                </a:solidFill>
              </a:defRPr>
            </a:lvl1pPr>
          </a:lstStyle>
          <a:p>
            <a:pPr>
              <a:defRPr/>
            </a:pPr>
            <a:fld id="{AAAE93CE-6750-4F7A-8E05-574B448BF93B}" type="datetimeFigureOut">
              <a:rPr lang="en-US"/>
              <a:pPr>
                <a:defRPr/>
              </a:pPr>
              <a:t>12/1/2023</a:t>
            </a:fld>
            <a:endParaRPr lang="en-US"/>
          </a:p>
        </p:txBody>
      </p:sp>
      <p:sp>
        <p:nvSpPr>
          <p:cNvPr id="5" name="Footer Placeholder 4">
            <a:extLst>
              <a:ext uri="{FF2B5EF4-FFF2-40B4-BE49-F238E27FC236}">
                <a16:creationId xmlns:a16="http://schemas.microsoft.com/office/drawing/2014/main" id="{092ADC78-90DD-4DBC-D25C-7CE9C73E907D}"/>
              </a:ext>
            </a:extLst>
          </p:cNvPr>
          <p:cNvSpPr>
            <a:spLocks noGrp="1"/>
          </p:cNvSpPr>
          <p:nvPr>
            <p:ph type="ftr" sz="quarter" idx="3"/>
          </p:nvPr>
        </p:nvSpPr>
        <p:spPr>
          <a:xfrm>
            <a:off x="2082800" y="4237038"/>
            <a:ext cx="1930400" cy="244475"/>
          </a:xfrm>
          <a:prstGeom prst="rect">
            <a:avLst/>
          </a:prstGeom>
        </p:spPr>
        <p:txBody>
          <a:bodyPr vert="horz" lIns="91440" tIns="45720" rIns="91440" bIns="45720" rtlCol="0" anchor="ctr"/>
          <a:lstStyle>
            <a:lvl1pPr algn="ctr">
              <a:defRPr sz="800">
                <a:solidFill>
                  <a:schemeClr val="tx1">
                    <a:tint val="75000"/>
                  </a:schemeClr>
                </a:solidFill>
              </a:defRPr>
            </a:lvl1pPr>
          </a:lstStyle>
          <a:p>
            <a:pPr>
              <a:defRPr/>
            </a:pPr>
            <a:endParaRPr lang="en-US"/>
          </a:p>
        </p:txBody>
      </p:sp>
      <p:sp>
        <p:nvSpPr>
          <p:cNvPr id="6" name="Slide Number Placeholder 5">
            <a:extLst>
              <a:ext uri="{FF2B5EF4-FFF2-40B4-BE49-F238E27FC236}">
                <a16:creationId xmlns:a16="http://schemas.microsoft.com/office/drawing/2014/main" id="{8F3FC349-71AD-891A-EBEA-CF4F901E9821}"/>
              </a:ext>
            </a:extLst>
          </p:cNvPr>
          <p:cNvSpPr>
            <a:spLocks noGrp="1"/>
          </p:cNvSpPr>
          <p:nvPr>
            <p:ph type="sldNum" sz="quarter" idx="4"/>
          </p:nvPr>
        </p:nvSpPr>
        <p:spPr>
          <a:xfrm>
            <a:off x="4368800" y="4237038"/>
            <a:ext cx="1422400" cy="244475"/>
          </a:xfrm>
          <a:prstGeom prst="rect">
            <a:avLst/>
          </a:prstGeom>
        </p:spPr>
        <p:txBody>
          <a:bodyPr vert="horz" lIns="91440" tIns="45720" rIns="91440" bIns="45720" rtlCol="0" anchor="ctr"/>
          <a:lstStyle>
            <a:lvl1pPr algn="r">
              <a:defRPr sz="800" smtClean="0">
                <a:solidFill>
                  <a:schemeClr val="tx1">
                    <a:tint val="75000"/>
                  </a:schemeClr>
                </a:solidFill>
              </a:defRPr>
            </a:lvl1pPr>
          </a:lstStyle>
          <a:p>
            <a:pPr>
              <a:defRPr/>
            </a:pPr>
            <a:fld id="{4F4E3000-AAED-4248-99A1-99ECEFF124A0}" type="slidenum">
              <a:rPr lang="en-US"/>
              <a:pPr>
                <a:defRPr/>
              </a:pPr>
              <a:t>‹#›</a:t>
            </a:fld>
            <a:endParaRPr lang="en-US"/>
          </a:p>
        </p:txBody>
      </p:sp>
    </p:spTree>
    <p:extLst>
      <p:ext uri="{BB962C8B-B14F-4D97-AF65-F5344CB8AC3E}">
        <p14:creationId xmlns:p14="http://schemas.microsoft.com/office/powerpoint/2010/main" val="4100699886"/>
      </p:ext>
    </p:extLst>
  </p:cSld>
  <p:clrMap bg1="lt1" tx1="dk1" bg2="lt2" tx2="dk2" accent1="accent1" accent2="accent2" accent3="accent3" accent4="accent4" accent5="accent5" accent6="accent6" hlink="hlink" folHlink="folHlink"/>
  <p:sldLayoutIdLst>
    <p:sldLayoutId id="2147485161" r:id="rId1"/>
    <p:sldLayoutId id="2147485162" r:id="rId2"/>
    <p:sldLayoutId id="2147485163" r:id="rId3"/>
    <p:sldLayoutId id="2147485164" r:id="rId4"/>
    <p:sldLayoutId id="2147485165" r:id="rId5"/>
    <p:sldLayoutId id="2147485166" r:id="rId6"/>
    <p:sldLayoutId id="2147485167" r:id="rId7"/>
    <p:sldLayoutId id="2147485168" r:id="rId8"/>
    <p:sldLayoutId id="2147485169" r:id="rId9"/>
    <p:sldLayoutId id="2147485170" r:id="rId10"/>
    <p:sldLayoutId id="2147485171" r:id="rId11"/>
  </p:sldLayoutIdLst>
  <p:txStyles>
    <p:titleStyle>
      <a:lvl1pPr algn="ctr" defTabSz="609600" rtl="0" fontAlgn="base">
        <a:spcBef>
          <a:spcPct val="0"/>
        </a:spcBef>
        <a:spcAft>
          <a:spcPct val="0"/>
        </a:spcAft>
        <a:defRPr sz="2900" kern="1200">
          <a:solidFill>
            <a:schemeClr val="tx1"/>
          </a:solidFill>
          <a:latin typeface="+mj-lt"/>
          <a:ea typeface="+mj-ea"/>
          <a:cs typeface="+mj-cs"/>
        </a:defRPr>
      </a:lvl1pPr>
      <a:lvl2pPr algn="ctr" defTabSz="609600" rtl="0" fontAlgn="base">
        <a:spcBef>
          <a:spcPct val="0"/>
        </a:spcBef>
        <a:spcAft>
          <a:spcPct val="0"/>
        </a:spcAft>
        <a:defRPr sz="2900">
          <a:solidFill>
            <a:schemeClr val="tx1"/>
          </a:solidFill>
          <a:latin typeface="Calibri" panose="020F0502020204030204" pitchFamily="34" charset="0"/>
        </a:defRPr>
      </a:lvl2pPr>
      <a:lvl3pPr algn="ctr" defTabSz="609600" rtl="0" fontAlgn="base">
        <a:spcBef>
          <a:spcPct val="0"/>
        </a:spcBef>
        <a:spcAft>
          <a:spcPct val="0"/>
        </a:spcAft>
        <a:defRPr sz="2900">
          <a:solidFill>
            <a:schemeClr val="tx1"/>
          </a:solidFill>
          <a:latin typeface="Calibri" panose="020F0502020204030204" pitchFamily="34" charset="0"/>
        </a:defRPr>
      </a:lvl3pPr>
      <a:lvl4pPr algn="ctr" defTabSz="609600" rtl="0" fontAlgn="base">
        <a:spcBef>
          <a:spcPct val="0"/>
        </a:spcBef>
        <a:spcAft>
          <a:spcPct val="0"/>
        </a:spcAft>
        <a:defRPr sz="2900">
          <a:solidFill>
            <a:schemeClr val="tx1"/>
          </a:solidFill>
          <a:latin typeface="Calibri" panose="020F0502020204030204" pitchFamily="34" charset="0"/>
        </a:defRPr>
      </a:lvl4pPr>
      <a:lvl5pPr algn="ctr" defTabSz="609600" rtl="0" fontAlgn="base">
        <a:spcBef>
          <a:spcPct val="0"/>
        </a:spcBef>
        <a:spcAft>
          <a:spcPct val="0"/>
        </a:spcAft>
        <a:defRPr sz="2900">
          <a:solidFill>
            <a:schemeClr val="tx1"/>
          </a:solidFill>
          <a:latin typeface="Calibri" panose="020F0502020204030204" pitchFamily="34" charset="0"/>
        </a:defRPr>
      </a:lvl5pPr>
      <a:lvl6pPr marL="457200" algn="ctr" defTabSz="609600" rtl="0" fontAlgn="base">
        <a:spcBef>
          <a:spcPct val="0"/>
        </a:spcBef>
        <a:spcAft>
          <a:spcPct val="0"/>
        </a:spcAft>
        <a:defRPr sz="2900">
          <a:solidFill>
            <a:schemeClr val="tx1"/>
          </a:solidFill>
          <a:latin typeface="Calibri" panose="020F0502020204030204" pitchFamily="34" charset="0"/>
        </a:defRPr>
      </a:lvl6pPr>
      <a:lvl7pPr marL="914400" algn="ctr" defTabSz="609600" rtl="0" fontAlgn="base">
        <a:spcBef>
          <a:spcPct val="0"/>
        </a:spcBef>
        <a:spcAft>
          <a:spcPct val="0"/>
        </a:spcAft>
        <a:defRPr sz="2900">
          <a:solidFill>
            <a:schemeClr val="tx1"/>
          </a:solidFill>
          <a:latin typeface="Calibri" panose="020F0502020204030204" pitchFamily="34" charset="0"/>
        </a:defRPr>
      </a:lvl7pPr>
      <a:lvl8pPr marL="1371600" algn="ctr" defTabSz="609600" rtl="0" fontAlgn="base">
        <a:spcBef>
          <a:spcPct val="0"/>
        </a:spcBef>
        <a:spcAft>
          <a:spcPct val="0"/>
        </a:spcAft>
        <a:defRPr sz="2900">
          <a:solidFill>
            <a:schemeClr val="tx1"/>
          </a:solidFill>
          <a:latin typeface="Calibri" panose="020F0502020204030204" pitchFamily="34" charset="0"/>
        </a:defRPr>
      </a:lvl8pPr>
      <a:lvl9pPr marL="1828800" algn="ctr" defTabSz="609600" rtl="0" fontAlgn="base">
        <a:spcBef>
          <a:spcPct val="0"/>
        </a:spcBef>
        <a:spcAft>
          <a:spcPct val="0"/>
        </a:spcAft>
        <a:defRPr sz="2900">
          <a:solidFill>
            <a:schemeClr val="tx1"/>
          </a:solidFill>
          <a:latin typeface="Calibri" panose="020F0502020204030204" pitchFamily="34" charset="0"/>
        </a:defRPr>
      </a:lvl9pPr>
    </p:titleStyle>
    <p:bodyStyle>
      <a:lvl1pPr marL="228600" indent="-228600" algn="l" defTabSz="609600" rtl="0" fontAlgn="base">
        <a:spcBef>
          <a:spcPct val="20000"/>
        </a:spcBef>
        <a:spcAft>
          <a:spcPct val="0"/>
        </a:spcAft>
        <a:buFont typeface="Arial" panose="020B0604020202020204" pitchFamily="34" charset="0"/>
        <a:buChar char="•"/>
        <a:defRPr sz="2100" kern="1200">
          <a:solidFill>
            <a:schemeClr val="tx1"/>
          </a:solidFill>
          <a:latin typeface="+mn-lt"/>
          <a:ea typeface="+mn-ea"/>
          <a:cs typeface="+mn-cs"/>
        </a:defRPr>
      </a:lvl1pPr>
      <a:lvl2pPr marL="495300" indent="-190500" algn="l" defTabSz="609600" rtl="0" fontAlgn="base">
        <a:spcBef>
          <a:spcPct val="20000"/>
        </a:spcBef>
        <a:spcAft>
          <a:spcPct val="0"/>
        </a:spcAft>
        <a:buFont typeface="Arial" panose="020B0604020202020204" pitchFamily="34" charset="0"/>
        <a:buChar char="–"/>
        <a:defRPr kern="1200">
          <a:solidFill>
            <a:schemeClr val="tx1"/>
          </a:solidFill>
          <a:latin typeface="+mn-lt"/>
          <a:ea typeface="+mn-ea"/>
          <a:cs typeface="+mn-cs"/>
        </a:defRPr>
      </a:lvl2pPr>
      <a:lvl3pPr marL="762000" indent="-152400" algn="l" defTabSz="609600" rtl="0" fontAlgn="base">
        <a:spcBef>
          <a:spcPct val="20000"/>
        </a:spcBef>
        <a:spcAft>
          <a:spcPct val="0"/>
        </a:spcAft>
        <a:buFont typeface="Arial" panose="020B0604020202020204" pitchFamily="34" charset="0"/>
        <a:buChar char="•"/>
        <a:defRPr sz="1600" kern="1200">
          <a:solidFill>
            <a:schemeClr val="tx1"/>
          </a:solidFill>
          <a:latin typeface="+mn-lt"/>
          <a:ea typeface="+mn-ea"/>
          <a:cs typeface="+mn-cs"/>
        </a:defRPr>
      </a:lvl3pPr>
      <a:lvl4pPr marL="1066800" indent="-152400" algn="l" defTabSz="609600" rtl="0" fontAlgn="base">
        <a:spcBef>
          <a:spcPct val="20000"/>
        </a:spcBef>
        <a:spcAft>
          <a:spcPct val="0"/>
        </a:spcAft>
        <a:buFont typeface="Arial" panose="020B0604020202020204" pitchFamily="34" charset="0"/>
        <a:buChar char="–"/>
        <a:defRPr sz="1300" kern="1200">
          <a:solidFill>
            <a:schemeClr val="tx1"/>
          </a:solidFill>
          <a:latin typeface="+mn-lt"/>
          <a:ea typeface="+mn-ea"/>
          <a:cs typeface="+mn-cs"/>
        </a:defRPr>
      </a:lvl4pPr>
      <a:lvl5pPr marL="1371600" indent="-152400" algn="l" defTabSz="609600" rtl="0" fontAlgn="base">
        <a:spcBef>
          <a:spcPct val="20000"/>
        </a:spcBef>
        <a:spcAft>
          <a:spcPct val="0"/>
        </a:spcAft>
        <a:buFont typeface="Arial" panose="020B0604020202020204" pitchFamily="34" charset="0"/>
        <a:buChar char="»"/>
        <a:defRPr sz="1300"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496634D-7C50-C57E-95A6-E72B671AC2DD}"/>
              </a:ext>
            </a:extLst>
          </p:cNvPr>
          <p:cNvSpPr>
            <a:spLocks noGrp="1"/>
          </p:cNvSpPr>
          <p:nvPr>
            <p:ph type="title"/>
          </p:nvPr>
        </p:nvSpPr>
        <p:spPr>
          <a:xfrm>
            <a:off x="304800" y="182563"/>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FE57351-C41C-029F-E101-B738FF981420}"/>
              </a:ext>
            </a:extLst>
          </p:cNvPr>
          <p:cNvSpPr>
            <a:spLocks noGrp="1"/>
          </p:cNvSpPr>
          <p:nvPr>
            <p:ph type="body" idx="1"/>
          </p:nvPr>
        </p:nvSpPr>
        <p:spPr>
          <a:xfrm>
            <a:off x="304800" y="1066800"/>
            <a:ext cx="5486400" cy="30178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EF9022-088B-6622-752D-76C1D4E17D0F}"/>
              </a:ext>
            </a:extLst>
          </p:cNvPr>
          <p:cNvSpPr>
            <a:spLocks noGrp="1"/>
          </p:cNvSpPr>
          <p:nvPr>
            <p:ph type="dt" sz="half" idx="2"/>
          </p:nvPr>
        </p:nvSpPr>
        <p:spPr>
          <a:xfrm>
            <a:off x="304800" y="4237039"/>
            <a:ext cx="1422400" cy="244475"/>
          </a:xfrm>
          <a:prstGeom prst="rect">
            <a:avLst/>
          </a:prstGeom>
        </p:spPr>
        <p:txBody>
          <a:bodyPr vert="horz" lIns="91440" tIns="45720" rIns="91440" bIns="45720" rtlCol="0" anchor="ctr"/>
          <a:lstStyle>
            <a:lvl1pPr algn="l" eaLnBrk="1" fontAlgn="auto" hangingPunct="1">
              <a:spcBef>
                <a:spcPts val="0"/>
              </a:spcBef>
              <a:spcAft>
                <a:spcPts val="0"/>
              </a:spcAft>
              <a:defRPr sz="800" smtClean="0">
                <a:solidFill>
                  <a:schemeClr val="tx1">
                    <a:tint val="75000"/>
                  </a:schemeClr>
                </a:solidFill>
                <a:latin typeface="+mn-lt"/>
              </a:defRPr>
            </a:lvl1pPr>
          </a:lstStyle>
          <a:p>
            <a:pPr>
              <a:defRPr/>
            </a:pPr>
            <a:fld id="{1BB72343-F91D-4259-8622-2398317641C8}" type="datetimeFigureOut">
              <a:rPr lang="en-US"/>
              <a:pPr>
                <a:defRPr/>
              </a:pPr>
              <a:t>12/1/2023</a:t>
            </a:fld>
            <a:endParaRPr lang="en-US"/>
          </a:p>
        </p:txBody>
      </p:sp>
      <p:sp>
        <p:nvSpPr>
          <p:cNvPr id="5" name="Footer Placeholder 4">
            <a:extLst>
              <a:ext uri="{FF2B5EF4-FFF2-40B4-BE49-F238E27FC236}">
                <a16:creationId xmlns:a16="http://schemas.microsoft.com/office/drawing/2014/main" id="{60691BD4-BD4F-B84C-2289-6C4A657F1990}"/>
              </a:ext>
            </a:extLst>
          </p:cNvPr>
          <p:cNvSpPr>
            <a:spLocks noGrp="1"/>
          </p:cNvSpPr>
          <p:nvPr>
            <p:ph type="ftr" sz="quarter" idx="3"/>
          </p:nvPr>
        </p:nvSpPr>
        <p:spPr>
          <a:xfrm>
            <a:off x="2082800" y="4237039"/>
            <a:ext cx="1930400" cy="244475"/>
          </a:xfrm>
          <a:prstGeom prst="rect">
            <a:avLst/>
          </a:prstGeom>
        </p:spPr>
        <p:txBody>
          <a:bodyPr vert="horz" lIns="91440" tIns="45720" rIns="91440" bIns="45720" rtlCol="0" anchor="ctr"/>
          <a:lstStyle>
            <a:lvl1pPr algn="ctr" eaLnBrk="1" fontAlgn="auto" hangingPunct="1">
              <a:spcBef>
                <a:spcPts val="0"/>
              </a:spcBef>
              <a:spcAft>
                <a:spcPts val="0"/>
              </a:spcAft>
              <a:defRPr sz="8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59EA625D-F442-13F3-FBA8-BA427B5E5D56}"/>
              </a:ext>
            </a:extLst>
          </p:cNvPr>
          <p:cNvSpPr>
            <a:spLocks noGrp="1"/>
          </p:cNvSpPr>
          <p:nvPr>
            <p:ph type="sldNum" sz="quarter" idx="4"/>
          </p:nvPr>
        </p:nvSpPr>
        <p:spPr>
          <a:xfrm>
            <a:off x="4368800" y="4237039"/>
            <a:ext cx="1422400" cy="244475"/>
          </a:xfrm>
          <a:prstGeom prst="rect">
            <a:avLst/>
          </a:prstGeom>
        </p:spPr>
        <p:txBody>
          <a:bodyPr vert="horz" lIns="91440" tIns="45720" rIns="91440" bIns="45720" rtlCol="0" anchor="ctr"/>
          <a:lstStyle>
            <a:lvl1pPr algn="r" eaLnBrk="1" fontAlgn="auto" hangingPunct="1">
              <a:spcBef>
                <a:spcPts val="0"/>
              </a:spcBef>
              <a:spcAft>
                <a:spcPts val="0"/>
              </a:spcAft>
              <a:defRPr sz="800" smtClean="0">
                <a:solidFill>
                  <a:schemeClr val="tx1">
                    <a:tint val="75000"/>
                  </a:schemeClr>
                </a:solidFill>
                <a:latin typeface="+mn-lt"/>
              </a:defRPr>
            </a:lvl1pPr>
          </a:lstStyle>
          <a:p>
            <a:pPr>
              <a:defRPr/>
            </a:pPr>
            <a:fld id="{CBE57354-EF51-4D39-9020-8F04D5DDCE27}" type="slidenum">
              <a:rPr lang="en-US"/>
              <a:pPr>
                <a:defRPr/>
              </a:pPr>
              <a:t>‹#›</a:t>
            </a:fld>
            <a:endParaRPr lang="en-US"/>
          </a:p>
        </p:txBody>
      </p:sp>
    </p:spTree>
    <p:extLst>
      <p:ext uri="{BB962C8B-B14F-4D97-AF65-F5344CB8AC3E}">
        <p14:creationId xmlns:p14="http://schemas.microsoft.com/office/powerpoint/2010/main" val="1279682994"/>
      </p:ext>
    </p:extLst>
  </p:cSld>
  <p:clrMap bg1="lt1" tx1="dk1" bg2="lt2" tx2="dk2" accent1="accent1" accent2="accent2" accent3="accent3" accent4="accent4" accent5="accent5" accent6="accent6" hlink="hlink" folHlink="folHlink"/>
  <p:sldLayoutIdLst>
    <p:sldLayoutId id="2147485173" r:id="rId1"/>
    <p:sldLayoutId id="2147485174" r:id="rId2"/>
    <p:sldLayoutId id="2147485175" r:id="rId3"/>
    <p:sldLayoutId id="2147485176" r:id="rId4"/>
    <p:sldLayoutId id="2147485177" r:id="rId5"/>
    <p:sldLayoutId id="2147485178" r:id="rId6"/>
    <p:sldLayoutId id="2147485179" r:id="rId7"/>
    <p:sldLayoutId id="2147485180" r:id="rId8"/>
    <p:sldLayoutId id="2147485181" r:id="rId9"/>
    <p:sldLayoutId id="2147485182" r:id="rId10"/>
    <p:sldLayoutId id="2147485183" r:id="rId11"/>
  </p:sldLayoutIdLst>
  <p:txStyles>
    <p:titleStyle>
      <a:lvl1pPr algn="ctr" defTabSz="609630" rtl="0" fontAlgn="base">
        <a:spcBef>
          <a:spcPct val="0"/>
        </a:spcBef>
        <a:spcAft>
          <a:spcPct val="0"/>
        </a:spcAft>
        <a:defRPr sz="2900" kern="1200">
          <a:solidFill>
            <a:schemeClr val="tx1"/>
          </a:solidFill>
          <a:latin typeface="+mj-lt"/>
          <a:ea typeface="+mj-ea"/>
          <a:cs typeface="+mj-cs"/>
        </a:defRPr>
      </a:lvl1pPr>
      <a:lvl2pPr algn="ctr" defTabSz="609630" rtl="0" fontAlgn="base">
        <a:spcBef>
          <a:spcPct val="0"/>
        </a:spcBef>
        <a:spcAft>
          <a:spcPct val="0"/>
        </a:spcAft>
        <a:defRPr sz="2900">
          <a:solidFill>
            <a:schemeClr val="tx1"/>
          </a:solidFill>
          <a:latin typeface="Calibri" panose="020F0502020204030204" pitchFamily="34" charset="0"/>
        </a:defRPr>
      </a:lvl2pPr>
      <a:lvl3pPr algn="ctr" defTabSz="609630" rtl="0" fontAlgn="base">
        <a:spcBef>
          <a:spcPct val="0"/>
        </a:spcBef>
        <a:spcAft>
          <a:spcPct val="0"/>
        </a:spcAft>
        <a:defRPr sz="2900">
          <a:solidFill>
            <a:schemeClr val="tx1"/>
          </a:solidFill>
          <a:latin typeface="Calibri" panose="020F0502020204030204" pitchFamily="34" charset="0"/>
        </a:defRPr>
      </a:lvl3pPr>
      <a:lvl4pPr algn="ctr" defTabSz="609630" rtl="0" fontAlgn="base">
        <a:spcBef>
          <a:spcPct val="0"/>
        </a:spcBef>
        <a:spcAft>
          <a:spcPct val="0"/>
        </a:spcAft>
        <a:defRPr sz="2900">
          <a:solidFill>
            <a:schemeClr val="tx1"/>
          </a:solidFill>
          <a:latin typeface="Calibri" panose="020F0502020204030204" pitchFamily="34" charset="0"/>
        </a:defRPr>
      </a:lvl4pPr>
      <a:lvl5pPr algn="ctr" defTabSz="609630" rtl="0" fontAlgn="base">
        <a:spcBef>
          <a:spcPct val="0"/>
        </a:spcBef>
        <a:spcAft>
          <a:spcPct val="0"/>
        </a:spcAft>
        <a:defRPr sz="2900">
          <a:solidFill>
            <a:schemeClr val="tx1"/>
          </a:solidFill>
          <a:latin typeface="Calibri" panose="020F0502020204030204" pitchFamily="34" charset="0"/>
        </a:defRPr>
      </a:lvl5pPr>
      <a:lvl6pPr marL="457223" algn="ctr" defTabSz="609630" rtl="0" fontAlgn="base">
        <a:spcBef>
          <a:spcPct val="0"/>
        </a:spcBef>
        <a:spcAft>
          <a:spcPct val="0"/>
        </a:spcAft>
        <a:defRPr sz="2900">
          <a:solidFill>
            <a:schemeClr val="tx1"/>
          </a:solidFill>
          <a:latin typeface="Calibri" panose="020F0502020204030204" pitchFamily="34" charset="0"/>
        </a:defRPr>
      </a:lvl6pPr>
      <a:lvl7pPr marL="914446" algn="ctr" defTabSz="609630" rtl="0" fontAlgn="base">
        <a:spcBef>
          <a:spcPct val="0"/>
        </a:spcBef>
        <a:spcAft>
          <a:spcPct val="0"/>
        </a:spcAft>
        <a:defRPr sz="2900">
          <a:solidFill>
            <a:schemeClr val="tx1"/>
          </a:solidFill>
          <a:latin typeface="Calibri" panose="020F0502020204030204" pitchFamily="34" charset="0"/>
        </a:defRPr>
      </a:lvl7pPr>
      <a:lvl8pPr marL="1371669" algn="ctr" defTabSz="609630" rtl="0" fontAlgn="base">
        <a:spcBef>
          <a:spcPct val="0"/>
        </a:spcBef>
        <a:spcAft>
          <a:spcPct val="0"/>
        </a:spcAft>
        <a:defRPr sz="2900">
          <a:solidFill>
            <a:schemeClr val="tx1"/>
          </a:solidFill>
          <a:latin typeface="Calibri" panose="020F0502020204030204" pitchFamily="34" charset="0"/>
        </a:defRPr>
      </a:lvl8pPr>
      <a:lvl9pPr marL="1828891" algn="ctr" defTabSz="609630" rtl="0" fontAlgn="base">
        <a:spcBef>
          <a:spcPct val="0"/>
        </a:spcBef>
        <a:spcAft>
          <a:spcPct val="0"/>
        </a:spcAft>
        <a:defRPr sz="2900">
          <a:solidFill>
            <a:schemeClr val="tx1"/>
          </a:solidFill>
          <a:latin typeface="Calibri" panose="020F0502020204030204" pitchFamily="34" charset="0"/>
        </a:defRPr>
      </a:lvl9pPr>
    </p:titleStyle>
    <p:bodyStyle>
      <a:lvl1pPr marL="228611" indent="-228611" algn="l" defTabSz="609630" rtl="0" fontAlgn="base">
        <a:spcBef>
          <a:spcPct val="20000"/>
        </a:spcBef>
        <a:spcAft>
          <a:spcPct val="0"/>
        </a:spcAft>
        <a:buFont typeface="Arial" panose="020B0604020202020204" pitchFamily="34" charset="0"/>
        <a:buChar char="•"/>
        <a:defRPr sz="2100" kern="1200">
          <a:solidFill>
            <a:schemeClr val="tx1"/>
          </a:solidFill>
          <a:latin typeface="+mn-lt"/>
          <a:ea typeface="+mn-ea"/>
          <a:cs typeface="+mn-cs"/>
        </a:defRPr>
      </a:lvl1pPr>
      <a:lvl2pPr marL="495325" indent="-190510" algn="l" defTabSz="609630" rtl="0" fontAlgn="base">
        <a:spcBef>
          <a:spcPct val="20000"/>
        </a:spcBef>
        <a:spcAft>
          <a:spcPct val="0"/>
        </a:spcAft>
        <a:buFont typeface="Arial" panose="020B0604020202020204" pitchFamily="34" charset="0"/>
        <a:buChar char="–"/>
        <a:defRPr kern="1200">
          <a:solidFill>
            <a:schemeClr val="tx1"/>
          </a:solidFill>
          <a:latin typeface="+mn-lt"/>
          <a:ea typeface="+mn-ea"/>
          <a:cs typeface="+mn-cs"/>
        </a:defRPr>
      </a:lvl2pPr>
      <a:lvl3pPr marL="762038" indent="-152408" algn="l" defTabSz="609630" rtl="0" fontAlgn="base">
        <a:spcBef>
          <a:spcPct val="20000"/>
        </a:spcBef>
        <a:spcAft>
          <a:spcPct val="0"/>
        </a:spcAft>
        <a:buFont typeface="Arial" panose="020B0604020202020204" pitchFamily="34" charset="0"/>
        <a:buChar char="•"/>
        <a:defRPr sz="1600" kern="1200">
          <a:solidFill>
            <a:schemeClr val="tx1"/>
          </a:solidFill>
          <a:latin typeface="+mn-lt"/>
          <a:ea typeface="+mn-ea"/>
          <a:cs typeface="+mn-cs"/>
        </a:defRPr>
      </a:lvl3pPr>
      <a:lvl4pPr marL="1066853" indent="-152408" algn="l" defTabSz="609630" rtl="0" fontAlgn="base">
        <a:spcBef>
          <a:spcPct val="20000"/>
        </a:spcBef>
        <a:spcAft>
          <a:spcPct val="0"/>
        </a:spcAft>
        <a:buFont typeface="Arial" panose="020B0604020202020204" pitchFamily="34" charset="0"/>
        <a:buChar char="–"/>
        <a:defRPr sz="1300" kern="1200">
          <a:solidFill>
            <a:schemeClr val="tx1"/>
          </a:solidFill>
          <a:latin typeface="+mn-lt"/>
          <a:ea typeface="+mn-ea"/>
          <a:cs typeface="+mn-cs"/>
        </a:defRPr>
      </a:lvl4pPr>
      <a:lvl5pPr marL="1371669" indent="-152408" algn="l" defTabSz="609630" rtl="0" fontAlgn="base">
        <a:spcBef>
          <a:spcPct val="20000"/>
        </a:spcBef>
        <a:spcAft>
          <a:spcPct val="0"/>
        </a:spcAft>
        <a:buFont typeface="Arial" panose="020B0604020202020204" pitchFamily="34" charset="0"/>
        <a:buChar char="»"/>
        <a:defRPr sz="1300" kern="1200">
          <a:solidFill>
            <a:schemeClr val="tx1"/>
          </a:solidFill>
          <a:latin typeface="+mn-lt"/>
          <a:ea typeface="+mn-ea"/>
          <a:cs typeface="+mn-cs"/>
        </a:defRPr>
      </a:lvl5pPr>
      <a:lvl6pPr marL="1676568" indent="-152416" algn="l" defTabSz="60966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398" indent="-152416" algn="l" defTabSz="60966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228" indent="-152416" algn="l" defTabSz="60966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1060" indent="-152416" algn="l" defTabSz="60966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60" rtl="0" eaLnBrk="1" latinLnBrk="0" hangingPunct="1">
        <a:defRPr sz="1200" kern="1200">
          <a:solidFill>
            <a:schemeClr val="tx1"/>
          </a:solidFill>
          <a:latin typeface="+mn-lt"/>
          <a:ea typeface="+mn-ea"/>
          <a:cs typeface="+mn-cs"/>
        </a:defRPr>
      </a:lvl1pPr>
      <a:lvl2pPr marL="304831" algn="l" defTabSz="609660" rtl="0" eaLnBrk="1" latinLnBrk="0" hangingPunct="1">
        <a:defRPr sz="1200" kern="1200">
          <a:solidFill>
            <a:schemeClr val="tx1"/>
          </a:solidFill>
          <a:latin typeface="+mn-lt"/>
          <a:ea typeface="+mn-ea"/>
          <a:cs typeface="+mn-cs"/>
        </a:defRPr>
      </a:lvl2pPr>
      <a:lvl3pPr marL="609660" algn="l" defTabSz="609660" rtl="0" eaLnBrk="1" latinLnBrk="0" hangingPunct="1">
        <a:defRPr sz="1200" kern="1200">
          <a:solidFill>
            <a:schemeClr val="tx1"/>
          </a:solidFill>
          <a:latin typeface="+mn-lt"/>
          <a:ea typeface="+mn-ea"/>
          <a:cs typeface="+mn-cs"/>
        </a:defRPr>
      </a:lvl3pPr>
      <a:lvl4pPr marL="914492" algn="l" defTabSz="609660" rtl="0" eaLnBrk="1" latinLnBrk="0" hangingPunct="1">
        <a:defRPr sz="1200" kern="1200">
          <a:solidFill>
            <a:schemeClr val="tx1"/>
          </a:solidFill>
          <a:latin typeface="+mn-lt"/>
          <a:ea typeface="+mn-ea"/>
          <a:cs typeface="+mn-cs"/>
        </a:defRPr>
      </a:lvl4pPr>
      <a:lvl5pPr marL="1219322" algn="l" defTabSz="609660" rtl="0" eaLnBrk="1" latinLnBrk="0" hangingPunct="1">
        <a:defRPr sz="1200" kern="1200">
          <a:solidFill>
            <a:schemeClr val="tx1"/>
          </a:solidFill>
          <a:latin typeface="+mn-lt"/>
          <a:ea typeface="+mn-ea"/>
          <a:cs typeface="+mn-cs"/>
        </a:defRPr>
      </a:lvl5pPr>
      <a:lvl6pPr marL="1524152" algn="l" defTabSz="609660" rtl="0" eaLnBrk="1" latinLnBrk="0" hangingPunct="1">
        <a:defRPr sz="1200" kern="1200">
          <a:solidFill>
            <a:schemeClr val="tx1"/>
          </a:solidFill>
          <a:latin typeface="+mn-lt"/>
          <a:ea typeface="+mn-ea"/>
          <a:cs typeface="+mn-cs"/>
        </a:defRPr>
      </a:lvl6pPr>
      <a:lvl7pPr marL="1828983" algn="l" defTabSz="609660" rtl="0" eaLnBrk="1" latinLnBrk="0" hangingPunct="1">
        <a:defRPr sz="1200" kern="1200">
          <a:solidFill>
            <a:schemeClr val="tx1"/>
          </a:solidFill>
          <a:latin typeface="+mn-lt"/>
          <a:ea typeface="+mn-ea"/>
          <a:cs typeface="+mn-cs"/>
        </a:defRPr>
      </a:lvl7pPr>
      <a:lvl8pPr marL="2133814" algn="l" defTabSz="609660" rtl="0" eaLnBrk="1" latinLnBrk="0" hangingPunct="1">
        <a:defRPr sz="1200" kern="1200">
          <a:solidFill>
            <a:schemeClr val="tx1"/>
          </a:solidFill>
          <a:latin typeface="+mn-lt"/>
          <a:ea typeface="+mn-ea"/>
          <a:cs typeface="+mn-cs"/>
        </a:defRPr>
      </a:lvl8pPr>
      <a:lvl9pPr marL="2438644" algn="l" defTabSz="609660" rtl="0" eaLnBrk="1" latinLnBrk="0" hangingPunct="1">
        <a:defRPr sz="1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2/1/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313308146"/>
      </p:ext>
    </p:extLst>
  </p:cSld>
  <p:clrMap bg1="lt1" tx1="dk1" bg2="lt2" tx2="dk2" accent1="accent1" accent2="accent2" accent3="accent3" accent4="accent4" accent5="accent5" accent6="accent6" hlink="hlink" folHlink="folHlink"/>
  <p:sldLayoutIdLst>
    <p:sldLayoutId id="2147485185" r:id="rId1"/>
    <p:sldLayoutId id="2147485186" r:id="rId2"/>
    <p:sldLayoutId id="2147485187" r:id="rId3"/>
    <p:sldLayoutId id="2147485188" r:id="rId4"/>
    <p:sldLayoutId id="2147485189" r:id="rId5"/>
    <p:sldLayoutId id="2147485190" r:id="rId6"/>
    <p:sldLayoutId id="2147485191" r:id="rId7"/>
    <p:sldLayoutId id="2147485192" r:id="rId8"/>
    <p:sldLayoutId id="2147485193" r:id="rId9"/>
    <p:sldLayoutId id="2147485194" r:id="rId10"/>
    <p:sldLayoutId id="2147485195"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Title Placeholder 1">
            <a:extLst>
              <a:ext uri="{FF2B5EF4-FFF2-40B4-BE49-F238E27FC236}">
                <a16:creationId xmlns:a16="http://schemas.microsoft.com/office/drawing/2014/main" id="{CF4075E2-BCEE-3048-52EE-0835630E3792}"/>
              </a:ext>
            </a:extLst>
          </p:cNvPr>
          <p:cNvSpPr>
            <a:spLocks noGrp="1" noChangeArrowheads="1"/>
          </p:cNvSpPr>
          <p:nvPr>
            <p:ph type="title"/>
          </p:nvPr>
        </p:nvSpPr>
        <p:spPr bwMode="auto">
          <a:xfrm>
            <a:off x="304800" y="182563"/>
            <a:ext cx="54864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7171" name="Text Placeholder 2">
            <a:extLst>
              <a:ext uri="{FF2B5EF4-FFF2-40B4-BE49-F238E27FC236}">
                <a16:creationId xmlns:a16="http://schemas.microsoft.com/office/drawing/2014/main" id="{070DFE9C-B16A-1B43-D9AC-E6DFADB07C05}"/>
              </a:ext>
            </a:extLst>
          </p:cNvPr>
          <p:cNvSpPr>
            <a:spLocks noGrp="1" noChangeArrowheads="1"/>
          </p:cNvSpPr>
          <p:nvPr>
            <p:ph type="body" idx="1"/>
          </p:nvPr>
        </p:nvSpPr>
        <p:spPr bwMode="auto">
          <a:xfrm>
            <a:off x="304800" y="1066800"/>
            <a:ext cx="5486400" cy="301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47550BCB-BA91-30EA-2DCC-FDD7D281839E}"/>
              </a:ext>
            </a:extLst>
          </p:cNvPr>
          <p:cNvSpPr>
            <a:spLocks noGrp="1"/>
          </p:cNvSpPr>
          <p:nvPr>
            <p:ph type="dt" sz="half" idx="2"/>
          </p:nvPr>
        </p:nvSpPr>
        <p:spPr>
          <a:xfrm>
            <a:off x="304800" y="4237038"/>
            <a:ext cx="1422400" cy="244475"/>
          </a:xfrm>
          <a:prstGeom prst="rect">
            <a:avLst/>
          </a:prstGeom>
        </p:spPr>
        <p:txBody>
          <a:bodyPr vert="horz" lIns="91440" tIns="45720" rIns="91440" bIns="45720" rtlCol="0" anchor="ctr"/>
          <a:lstStyle>
            <a:lvl1pPr algn="l">
              <a:defRPr sz="800">
                <a:solidFill>
                  <a:schemeClr val="tx1">
                    <a:tint val="75000"/>
                  </a:schemeClr>
                </a:solidFill>
              </a:defRPr>
            </a:lvl1pPr>
          </a:lstStyle>
          <a:p>
            <a:pPr>
              <a:defRPr/>
            </a:pPr>
            <a:fld id="{83A11E24-C58B-4C11-AC87-F94880F4C1A2}" type="datetimeFigureOut">
              <a:rPr lang="en-US"/>
              <a:pPr>
                <a:defRPr/>
              </a:pPr>
              <a:t>12/1/2023</a:t>
            </a:fld>
            <a:endParaRPr lang="en-US"/>
          </a:p>
        </p:txBody>
      </p:sp>
      <p:sp>
        <p:nvSpPr>
          <p:cNvPr id="5" name="Footer Placeholder 4">
            <a:extLst>
              <a:ext uri="{FF2B5EF4-FFF2-40B4-BE49-F238E27FC236}">
                <a16:creationId xmlns:a16="http://schemas.microsoft.com/office/drawing/2014/main" id="{14B7BD48-5DBA-AD84-E46D-3BD366AA9048}"/>
              </a:ext>
            </a:extLst>
          </p:cNvPr>
          <p:cNvSpPr>
            <a:spLocks noGrp="1"/>
          </p:cNvSpPr>
          <p:nvPr>
            <p:ph type="ftr" sz="quarter" idx="3"/>
          </p:nvPr>
        </p:nvSpPr>
        <p:spPr>
          <a:xfrm>
            <a:off x="2082800" y="4237038"/>
            <a:ext cx="1930400" cy="244475"/>
          </a:xfrm>
          <a:prstGeom prst="rect">
            <a:avLst/>
          </a:prstGeom>
        </p:spPr>
        <p:txBody>
          <a:bodyPr vert="horz" lIns="91440" tIns="45720" rIns="91440" bIns="45720" rtlCol="0" anchor="ctr"/>
          <a:lstStyle>
            <a:lvl1pPr algn="ctr">
              <a:defRPr sz="800">
                <a:solidFill>
                  <a:schemeClr val="tx1">
                    <a:tint val="75000"/>
                  </a:schemeClr>
                </a:solidFill>
              </a:defRPr>
            </a:lvl1pPr>
          </a:lstStyle>
          <a:p>
            <a:pPr>
              <a:defRPr/>
            </a:pPr>
            <a:endParaRPr lang="en-US"/>
          </a:p>
        </p:txBody>
      </p:sp>
      <p:sp>
        <p:nvSpPr>
          <p:cNvPr id="6" name="Slide Number Placeholder 5">
            <a:extLst>
              <a:ext uri="{FF2B5EF4-FFF2-40B4-BE49-F238E27FC236}">
                <a16:creationId xmlns:a16="http://schemas.microsoft.com/office/drawing/2014/main" id="{9985C389-4EB4-8AEF-4169-24C8F7CD91E9}"/>
              </a:ext>
            </a:extLst>
          </p:cNvPr>
          <p:cNvSpPr>
            <a:spLocks noGrp="1"/>
          </p:cNvSpPr>
          <p:nvPr>
            <p:ph type="sldNum" sz="quarter" idx="4"/>
          </p:nvPr>
        </p:nvSpPr>
        <p:spPr>
          <a:xfrm>
            <a:off x="4368800" y="4237038"/>
            <a:ext cx="1422400" cy="244475"/>
          </a:xfrm>
          <a:prstGeom prst="rect">
            <a:avLst/>
          </a:prstGeom>
        </p:spPr>
        <p:txBody>
          <a:bodyPr vert="horz" lIns="91440" tIns="45720" rIns="91440" bIns="45720" rtlCol="0" anchor="ctr"/>
          <a:lstStyle>
            <a:lvl1pPr algn="r">
              <a:defRPr sz="800">
                <a:solidFill>
                  <a:schemeClr val="tx1">
                    <a:tint val="75000"/>
                  </a:schemeClr>
                </a:solidFill>
              </a:defRPr>
            </a:lvl1pPr>
          </a:lstStyle>
          <a:p>
            <a:pPr>
              <a:defRPr/>
            </a:pPr>
            <a:fld id="{BAA160FA-C202-40F2-B519-AC1A73C1B7E6}" type="slidenum">
              <a:rPr lang="en-US"/>
              <a:pPr>
                <a:defRPr/>
              </a:pPr>
              <a:t>‹#›</a:t>
            </a:fld>
            <a:endParaRPr lang="en-US"/>
          </a:p>
        </p:txBody>
      </p:sp>
    </p:spTree>
    <p:extLst>
      <p:ext uri="{BB962C8B-B14F-4D97-AF65-F5344CB8AC3E}">
        <p14:creationId xmlns:p14="http://schemas.microsoft.com/office/powerpoint/2010/main" val="3860013845"/>
      </p:ext>
    </p:extLst>
  </p:cSld>
  <p:clrMap bg1="lt1" tx1="dk1" bg2="lt2" tx2="dk2" accent1="accent1" accent2="accent2" accent3="accent3" accent4="accent4" accent5="accent5" accent6="accent6" hlink="hlink" folHlink="folHlink"/>
  <p:sldLayoutIdLst>
    <p:sldLayoutId id="2147485197" r:id="rId1"/>
    <p:sldLayoutId id="2147485198" r:id="rId2"/>
    <p:sldLayoutId id="2147485199" r:id="rId3"/>
    <p:sldLayoutId id="2147485200" r:id="rId4"/>
    <p:sldLayoutId id="2147485201" r:id="rId5"/>
    <p:sldLayoutId id="2147485202" r:id="rId6"/>
    <p:sldLayoutId id="2147485203" r:id="rId7"/>
    <p:sldLayoutId id="2147485204" r:id="rId8"/>
    <p:sldLayoutId id="2147485205" r:id="rId9"/>
    <p:sldLayoutId id="2147485206" r:id="rId10"/>
    <p:sldLayoutId id="2147485207" r:id="rId11"/>
  </p:sldLayoutIdLst>
  <p:txStyles>
    <p:titleStyle>
      <a:lvl1pPr algn="ctr" defTabSz="609600" rtl="0" eaLnBrk="0" fontAlgn="base" hangingPunct="0">
        <a:spcBef>
          <a:spcPct val="0"/>
        </a:spcBef>
        <a:spcAft>
          <a:spcPct val="0"/>
        </a:spcAft>
        <a:defRPr sz="2900" kern="1200">
          <a:solidFill>
            <a:schemeClr val="tx1"/>
          </a:solidFill>
          <a:latin typeface="+mj-lt"/>
          <a:ea typeface="+mj-ea"/>
          <a:cs typeface="+mj-cs"/>
        </a:defRPr>
      </a:lvl1pPr>
      <a:lvl2pPr algn="ctr" defTabSz="609600" rtl="0" eaLnBrk="0" fontAlgn="base" hangingPunct="0">
        <a:spcBef>
          <a:spcPct val="0"/>
        </a:spcBef>
        <a:spcAft>
          <a:spcPct val="0"/>
        </a:spcAft>
        <a:defRPr sz="2900">
          <a:solidFill>
            <a:schemeClr val="tx1"/>
          </a:solidFill>
          <a:latin typeface="Calibri" panose="020F0502020204030204" pitchFamily="34" charset="0"/>
        </a:defRPr>
      </a:lvl2pPr>
      <a:lvl3pPr algn="ctr" defTabSz="609600" rtl="0" eaLnBrk="0" fontAlgn="base" hangingPunct="0">
        <a:spcBef>
          <a:spcPct val="0"/>
        </a:spcBef>
        <a:spcAft>
          <a:spcPct val="0"/>
        </a:spcAft>
        <a:defRPr sz="2900">
          <a:solidFill>
            <a:schemeClr val="tx1"/>
          </a:solidFill>
          <a:latin typeface="Calibri" panose="020F0502020204030204" pitchFamily="34" charset="0"/>
        </a:defRPr>
      </a:lvl3pPr>
      <a:lvl4pPr algn="ctr" defTabSz="609600" rtl="0" eaLnBrk="0" fontAlgn="base" hangingPunct="0">
        <a:spcBef>
          <a:spcPct val="0"/>
        </a:spcBef>
        <a:spcAft>
          <a:spcPct val="0"/>
        </a:spcAft>
        <a:defRPr sz="2900">
          <a:solidFill>
            <a:schemeClr val="tx1"/>
          </a:solidFill>
          <a:latin typeface="Calibri" panose="020F0502020204030204" pitchFamily="34" charset="0"/>
        </a:defRPr>
      </a:lvl4pPr>
      <a:lvl5pPr algn="ctr" defTabSz="609600" rtl="0" eaLnBrk="0" fontAlgn="base" hangingPunct="0">
        <a:spcBef>
          <a:spcPct val="0"/>
        </a:spcBef>
        <a:spcAft>
          <a:spcPct val="0"/>
        </a:spcAft>
        <a:defRPr sz="2900">
          <a:solidFill>
            <a:schemeClr val="tx1"/>
          </a:solidFill>
          <a:latin typeface="Calibri" panose="020F0502020204030204" pitchFamily="34" charset="0"/>
        </a:defRPr>
      </a:lvl5pPr>
      <a:lvl6pPr marL="457200" algn="ctr" defTabSz="609600" rtl="0" fontAlgn="base">
        <a:spcBef>
          <a:spcPct val="0"/>
        </a:spcBef>
        <a:spcAft>
          <a:spcPct val="0"/>
        </a:spcAft>
        <a:defRPr sz="2900">
          <a:solidFill>
            <a:schemeClr val="tx1"/>
          </a:solidFill>
          <a:latin typeface="Calibri" panose="020F0502020204030204" pitchFamily="34" charset="0"/>
        </a:defRPr>
      </a:lvl6pPr>
      <a:lvl7pPr marL="914400" algn="ctr" defTabSz="609600" rtl="0" fontAlgn="base">
        <a:spcBef>
          <a:spcPct val="0"/>
        </a:spcBef>
        <a:spcAft>
          <a:spcPct val="0"/>
        </a:spcAft>
        <a:defRPr sz="2900">
          <a:solidFill>
            <a:schemeClr val="tx1"/>
          </a:solidFill>
          <a:latin typeface="Calibri" panose="020F0502020204030204" pitchFamily="34" charset="0"/>
        </a:defRPr>
      </a:lvl7pPr>
      <a:lvl8pPr marL="1371600" algn="ctr" defTabSz="609600" rtl="0" fontAlgn="base">
        <a:spcBef>
          <a:spcPct val="0"/>
        </a:spcBef>
        <a:spcAft>
          <a:spcPct val="0"/>
        </a:spcAft>
        <a:defRPr sz="2900">
          <a:solidFill>
            <a:schemeClr val="tx1"/>
          </a:solidFill>
          <a:latin typeface="Calibri" panose="020F0502020204030204" pitchFamily="34" charset="0"/>
        </a:defRPr>
      </a:lvl8pPr>
      <a:lvl9pPr marL="1828800" algn="ctr" defTabSz="609600" rtl="0" fontAlgn="base">
        <a:spcBef>
          <a:spcPct val="0"/>
        </a:spcBef>
        <a:spcAft>
          <a:spcPct val="0"/>
        </a:spcAft>
        <a:defRPr sz="2900">
          <a:solidFill>
            <a:schemeClr val="tx1"/>
          </a:solidFill>
          <a:latin typeface="Calibri" panose="020F0502020204030204" pitchFamily="34" charset="0"/>
        </a:defRPr>
      </a:lvl9pPr>
    </p:titleStyle>
    <p:bodyStyle>
      <a:lvl1pPr marL="228600" indent="-228600" algn="l" defTabSz="609600"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1pPr>
      <a:lvl2pPr marL="495300" indent="-190500" algn="l" defTabSz="609600"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2pPr>
      <a:lvl3pPr marL="762000" indent="-152400" algn="l" defTabSz="609600"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3pPr>
      <a:lvl4pPr marL="1066800" indent="-152400" algn="l" defTabSz="609600" rtl="0" eaLnBrk="0" fontAlgn="base" hangingPunct="0">
        <a:spcBef>
          <a:spcPct val="20000"/>
        </a:spcBef>
        <a:spcAft>
          <a:spcPct val="0"/>
        </a:spcAft>
        <a:buFont typeface="Arial" panose="020B0604020202020204" pitchFamily="34" charset="0"/>
        <a:buChar char="–"/>
        <a:defRPr sz="1300" kern="1200">
          <a:solidFill>
            <a:schemeClr val="tx1"/>
          </a:solidFill>
          <a:latin typeface="+mn-lt"/>
          <a:ea typeface="+mn-ea"/>
          <a:cs typeface="+mn-cs"/>
        </a:defRPr>
      </a:lvl4pPr>
      <a:lvl5pPr marL="1371600" indent="-152400" algn="l" defTabSz="609600" rtl="0" eaLnBrk="0" fontAlgn="base" hangingPunct="0">
        <a:spcBef>
          <a:spcPct val="20000"/>
        </a:spcBef>
        <a:spcAft>
          <a:spcPct val="0"/>
        </a:spcAft>
        <a:buFont typeface="Arial" panose="020B0604020202020204" pitchFamily="34" charset="0"/>
        <a:buChar char="»"/>
        <a:defRPr sz="1300"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hyperlink" Target="https://www.flickr.com/photos/152824664@N07/30212411048" TargetMode="External"/><Relationship Id="rId2" Type="http://schemas.openxmlformats.org/officeDocument/2006/relationships/image" Target="../media/image14.jpe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png"/><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png"/><Relationship Id="rId3" Type="http://schemas.openxmlformats.org/officeDocument/2006/relationships/image" Target="../media/image19.jpe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74.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jpeg"/></Relationships>
</file>

<file path=ppt/slides/_rels/slide1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85.xml"/><Relationship Id="rId5" Type="http://schemas.microsoft.com/office/2007/relationships/hdphoto" Target="../media/hdphoto1.wdp"/><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85.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image" Target="../media/image34.png"/><Relationship Id="rId1" Type="http://schemas.openxmlformats.org/officeDocument/2006/relationships/slideLayout" Target="../slideLayouts/slideLayout85.xml"/><Relationship Id="rId6" Type="http://schemas.openxmlformats.org/officeDocument/2006/relationships/image" Target="../media/image33.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0.png"/></Relationships>
</file>

<file path=ppt/slides/_rels/slide1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8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33.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8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33.png"/></Relationships>
</file>

<file path=ppt/slides/_rels/slide2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85.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85.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85.xml"/><Relationship Id="rId5" Type="http://schemas.openxmlformats.org/officeDocument/2006/relationships/image" Target="../media/image43.jpeg"/><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6.xml"/></Relationships>
</file>

<file path=ppt/slides/_rels/slide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5.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85.xml"/><Relationship Id="rId6" Type="http://schemas.openxmlformats.org/officeDocument/2006/relationships/image" Target="../media/image49.png"/><Relationship Id="rId5" Type="http://schemas.openxmlformats.org/officeDocument/2006/relationships/image" Target="../media/image48.png"/><Relationship Id="rId4" Type="http://schemas.microsoft.com/office/2007/relationships/hdphoto" Target="../media/hdphoto3.wdp"/></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8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2.xml"/><Relationship Id="rId1" Type="http://schemas.openxmlformats.org/officeDocument/2006/relationships/slideLayout" Target="../slideLayouts/slideLayout80.xml"/></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85.xml"/><Relationship Id="rId4" Type="http://schemas.microsoft.com/office/2007/relationships/hdphoto" Target="../media/hdphoto4.wdp"/></Relationships>
</file>

<file path=ppt/slides/_rels/slide33.xml.rels><?xml version="1.0" encoding="UTF-8" standalone="yes"?>
<Relationships xmlns="http://schemas.openxmlformats.org/package/2006/relationships"><Relationship Id="rId3" Type="http://schemas.openxmlformats.org/officeDocument/2006/relationships/hyperlink" Target="https://www.publicdomainpictures.net/view-image.php?image=165759&amp;picture=handshaking" TargetMode="External"/><Relationship Id="rId2" Type="http://schemas.openxmlformats.org/officeDocument/2006/relationships/image" Target="../media/image54.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6.jpe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image" Target="../media/image55.png"/><Relationship Id="rId1" Type="http://schemas.openxmlformats.org/officeDocument/2006/relationships/slideLayout" Target="../slideLayouts/slideLayout162.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jpeg"/><Relationship Id="rId10" Type="http://schemas.openxmlformats.org/officeDocument/2006/relationships/image" Target="../media/image63.jpeg"/><Relationship Id="rId4" Type="http://schemas.openxmlformats.org/officeDocument/2006/relationships/image" Target="../media/image57.jpeg"/><Relationship Id="rId9" Type="http://schemas.openxmlformats.org/officeDocument/2006/relationships/image" Target="../media/image62.jpeg"/></Relationships>
</file>

<file path=ppt/slides/_rels/slide35.xml.rels><?xml version="1.0" encoding="UTF-8" standalone="yes"?>
<Relationships xmlns="http://schemas.openxmlformats.org/package/2006/relationships"><Relationship Id="rId3" Type="http://schemas.openxmlformats.org/officeDocument/2006/relationships/hyperlink" Target="https://creativecommons.org/licenses/by-nc-nd/3.0/" TargetMode="External"/><Relationship Id="rId2" Type="http://schemas.openxmlformats.org/officeDocument/2006/relationships/hyperlink" Target="https://culturacientifica.com/2019/03/12/reflexion-y-refraccion-de-la-luz/" TargetMode="External"/><Relationship Id="rId1" Type="http://schemas.openxmlformats.org/officeDocument/2006/relationships/slideLayout" Target="../slideLayouts/slideLayout2.xml"/><Relationship Id="rId4" Type="http://schemas.openxmlformats.org/officeDocument/2006/relationships/image" Target="../media/image66.jpeg"/></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xml"/><Relationship Id="rId4" Type="http://schemas.openxmlformats.org/officeDocument/2006/relationships/image" Target="../media/image69.png"/></Relationships>
</file>

<file path=ppt/slides/_rels/slide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7.png"/><Relationship Id="rId1" Type="http://schemas.openxmlformats.org/officeDocument/2006/relationships/slideLayout" Target="../slideLayouts/slideLayout2.xml"/><Relationship Id="rId5" Type="http://schemas.openxmlformats.org/officeDocument/2006/relationships/image" Target="../media/image69.png"/><Relationship Id="rId4" Type="http://schemas.openxmlformats.org/officeDocument/2006/relationships/image" Target="../media/image68.png"/></Relationships>
</file>

<file path=ppt/slides/_rels/slide3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7.png"/><Relationship Id="rId1" Type="http://schemas.openxmlformats.org/officeDocument/2006/relationships/slideLayout" Target="../slideLayouts/slideLayout2.xml"/><Relationship Id="rId4" Type="http://schemas.openxmlformats.org/officeDocument/2006/relationships/image" Target="../media/image69.png"/></Relationships>
</file>

<file path=ppt/slides/_rels/slide3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1.jpeg"/><Relationship Id="rId1" Type="http://schemas.openxmlformats.org/officeDocument/2006/relationships/slideLayout" Target="../slideLayouts/slideLayout2.xml"/><Relationship Id="rId5" Type="http://schemas.openxmlformats.org/officeDocument/2006/relationships/image" Target="../media/image69.png"/><Relationship Id="rId4" Type="http://schemas.openxmlformats.org/officeDocument/2006/relationships/image" Target="../media/image68.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1.jpeg"/><Relationship Id="rId1" Type="http://schemas.openxmlformats.org/officeDocument/2006/relationships/slideLayout" Target="../slideLayouts/slideLayout2.xml"/><Relationship Id="rId4" Type="http://schemas.openxmlformats.org/officeDocument/2006/relationships/image" Target="../media/image69.png"/></Relationships>
</file>

<file path=ppt/slides/_rels/slide4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2.jpeg"/><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70.png"/></Relationships>
</file>

<file path=ppt/slides/_rels/slide4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2.jpeg"/><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70.png"/></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2.jpeg"/><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70.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0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09.xml"/></Relationships>
</file>

<file path=ppt/slides/_rels/slide58.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jpeg"/><Relationship Id="rId1" Type="http://schemas.openxmlformats.org/officeDocument/2006/relationships/slideLayout" Target="../slideLayouts/slideLayout2.xml"/><Relationship Id="rId4" Type="http://schemas.openxmlformats.org/officeDocument/2006/relationships/image" Target="../media/image84.jpeg"/></Relationships>
</file>

<file path=ppt/slides/_rels/slide6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68.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344FD-3703-DD18-DC0E-5EA7885CA83A}"/>
              </a:ext>
            </a:extLst>
          </p:cNvPr>
          <p:cNvSpPr>
            <a:spLocks noGrp="1"/>
          </p:cNvSpPr>
          <p:nvPr>
            <p:ph type="title"/>
          </p:nvPr>
        </p:nvSpPr>
        <p:spPr/>
        <p:txBody>
          <a:bodyPr/>
          <a:lstStyle/>
          <a:p>
            <a:endParaRPr lang="en-US"/>
          </a:p>
        </p:txBody>
      </p:sp>
      <p:pic>
        <p:nvPicPr>
          <p:cNvPr id="4" name="vf_reglas_EspacioTI">
            <a:hlinkClick r:id="" action="ppaction://media"/>
            <a:extLst>
              <a:ext uri="{FF2B5EF4-FFF2-40B4-BE49-F238E27FC236}">
                <a16:creationId xmlns:a16="http://schemas.microsoft.com/office/drawing/2014/main" id="{FFAA89A5-DD89-212B-83D5-F4EE7918562B}"/>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7845"/>
          </a:xfrm>
        </p:spPr>
      </p:pic>
    </p:spTree>
    <p:extLst>
      <p:ext uri="{BB962C8B-B14F-4D97-AF65-F5344CB8AC3E}">
        <p14:creationId xmlns:p14="http://schemas.microsoft.com/office/powerpoint/2010/main" val="108517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14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useBgFill="1">
        <p:nvSpPr>
          <p:cNvPr id="10" name="Rectangle 9" descr="&quot;&quot;">
            <a:extLst>
              <a:ext uri="{FF2B5EF4-FFF2-40B4-BE49-F238E27FC236}">
                <a16:creationId xmlns:a16="http://schemas.microsoft.com/office/drawing/2014/main" id="{4C197619-E2B0-19C2-8D55-BF809058CE78}"/>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2" name="Rectangle 11">
            <a:extLst>
              <a:ext uri="{FF2B5EF4-FFF2-40B4-BE49-F238E27FC236}">
                <a16:creationId xmlns:a16="http://schemas.microsoft.com/office/drawing/2014/main" id="{D6A2271C-B90F-D3D8-5673-A0EDBB3A0C9E}"/>
              </a:ext>
            </a:extLst>
          </p:cNvPr>
          <p:cNvSpPr>
            <a:spLocks noGrp="1" noRot="1" noChangeAspect="1" noMove="1" noResize="1" noEditPoints="1" noAdjustHandles="1" noChangeArrowheads="1" noChangeShapeType="1" noTextEdit="1"/>
          </p:cNvSpPr>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7414" name="Title 1">
            <a:extLst>
              <a:ext uri="{FF2B5EF4-FFF2-40B4-BE49-F238E27FC236}">
                <a16:creationId xmlns:a16="http://schemas.microsoft.com/office/drawing/2014/main" id="{8DC5B455-DB46-4971-1E5B-77B1172BBF0F}"/>
              </a:ext>
            </a:extLst>
          </p:cNvPr>
          <p:cNvSpPr>
            <a:spLocks noGrp="1" noChangeArrowheads="1"/>
          </p:cNvSpPr>
          <p:nvPr>
            <p:ph type="title"/>
          </p:nvPr>
        </p:nvSpPr>
        <p:spPr>
          <a:xfrm>
            <a:off x="477838" y="1122363"/>
            <a:ext cx="4022725" cy="3203575"/>
          </a:xfrm>
        </p:spPr>
        <p:txBody>
          <a:bodyPr anchor="b"/>
          <a:lstStyle/>
          <a:p>
            <a:pPr eaLnBrk="1" hangingPunct="1"/>
            <a:r>
              <a:rPr lang="es-MX" altLang="en-US" sz="4800"/>
              <a:t>Foros TI</a:t>
            </a:r>
          </a:p>
        </p:txBody>
      </p:sp>
      <p:sp>
        <p:nvSpPr>
          <p:cNvPr id="16" name="Rectangle 15" descr="&quot;&quot;">
            <a:extLst>
              <a:ext uri="{FF2B5EF4-FFF2-40B4-BE49-F238E27FC236}">
                <a16:creationId xmlns:a16="http://schemas.microsoft.com/office/drawing/2014/main" id="{692E5C81-A943-741D-188C-681DD789E646}"/>
              </a:ext>
            </a:extLst>
          </p:cNvPr>
          <p:cNvSpPr>
            <a:spLocks noGrp="1" noRot="1" noChangeAspect="1" noMove="1" noResize="1" noEditPoints="1" noAdjustHandles="1" noChangeArrowheads="1" noChangeShapeType="1" noTextEdit="1"/>
          </p:cNvSpPr>
          <p:nvPr/>
        </p:nvSpPr>
        <p:spPr>
          <a:xfrm>
            <a:off x="481013" y="4546600"/>
            <a:ext cx="3978275" cy="19050"/>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grpSp>
        <p:nvGrpSpPr>
          <p:cNvPr id="7" name="Group 6">
            <a:extLst>
              <a:ext uri="{FF2B5EF4-FFF2-40B4-BE49-F238E27FC236}">
                <a16:creationId xmlns:a16="http://schemas.microsoft.com/office/drawing/2014/main" id="{A6857C40-C07F-D32F-E7C9-676B70120A8F}"/>
              </a:ext>
            </a:extLst>
          </p:cNvPr>
          <p:cNvGrpSpPr/>
          <p:nvPr/>
        </p:nvGrpSpPr>
        <p:grpSpPr>
          <a:xfrm>
            <a:off x="5825196" y="690182"/>
            <a:ext cx="5295600" cy="5302800"/>
            <a:chOff x="6523696" y="1007665"/>
            <a:chExt cx="4914900" cy="4948238"/>
          </a:xfrm>
        </p:grpSpPr>
        <p:sp>
          <p:nvSpPr>
            <p:cNvPr id="6" name="Oval 5">
              <a:extLst>
                <a:ext uri="{FF2B5EF4-FFF2-40B4-BE49-F238E27FC236}">
                  <a16:creationId xmlns:a16="http://schemas.microsoft.com/office/drawing/2014/main" id="{41D1AE31-D421-5608-3DDA-860BD0254F6F}"/>
                </a:ext>
              </a:extLst>
            </p:cNvPr>
            <p:cNvSpPr/>
            <p:nvPr/>
          </p:nvSpPr>
          <p:spPr>
            <a:xfrm>
              <a:off x="6523696" y="1007665"/>
              <a:ext cx="4914900" cy="494823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a:p>
          </p:txBody>
        </p:sp>
        <p:pic>
          <p:nvPicPr>
            <p:cNvPr id="3" name="Picture 2" descr="A robot thinking in front of a blackboard with math formulas&#10;&#10;Description automatically generated">
              <a:extLst>
                <a:ext uri="{FF2B5EF4-FFF2-40B4-BE49-F238E27FC236}">
                  <a16:creationId xmlns:a16="http://schemas.microsoft.com/office/drawing/2014/main" id="{734B28CE-5521-9790-D150-9A56C4A710C9}"/>
                </a:ext>
              </a:extLst>
            </p:cNvPr>
            <p:cNvPicPr>
              <a:picLocks noChangeAspect="1"/>
            </p:cNvPicPr>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3728"/>
            <a:stretch/>
          </p:blipFill>
          <p:spPr>
            <a:xfrm>
              <a:off x="6619710" y="1147691"/>
              <a:ext cx="4722872" cy="4668185"/>
            </a:xfrm>
            <a:prstGeom prst="ellipse">
              <a:avLst/>
            </a:prstGeom>
          </p:spPr>
        </p:pic>
      </p:grpSp>
    </p:spTree>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218" name="TextBox 5">
            <a:extLst>
              <a:ext uri="{FF2B5EF4-FFF2-40B4-BE49-F238E27FC236}">
                <a16:creationId xmlns:a16="http://schemas.microsoft.com/office/drawing/2014/main" id="{D98E1D48-561C-290F-F001-CA6988943085}"/>
              </a:ext>
            </a:extLst>
          </p:cNvPr>
          <p:cNvSpPr txBox="1">
            <a:spLocks noChangeArrowheads="1"/>
          </p:cNvSpPr>
          <p:nvPr/>
        </p:nvSpPr>
        <p:spPr bwMode="auto">
          <a:xfrm>
            <a:off x="473075" y="4927600"/>
            <a:ext cx="4125913"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s-MX" altLang="es-MX" sz="3200" b="1" i="0" u="none" strike="noStrike" kern="1200" cap="none" spc="0" normalizeH="0" baseline="0" noProof="0">
                <a:ln>
                  <a:noFill/>
                </a:ln>
                <a:solidFill>
                  <a:srgbClr val="0097A9"/>
                </a:solidFill>
                <a:effectLst/>
                <a:uLnTx/>
                <a:uFillTx/>
                <a:latin typeface="Calibri" panose="020F0502020204030204" pitchFamily="34" charset="0"/>
                <a:ea typeface="+mn-ea"/>
                <a:cs typeface="+mn-cs"/>
              </a:rPr>
              <a:t>Entendiendo a la IA</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s-MX" altLang="es-MX"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Nicolás Chávez</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s-MX" altLang="es-MX" sz="20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Diciembre 2023</a:t>
            </a:r>
          </a:p>
        </p:txBody>
      </p:sp>
      <p:pic>
        <p:nvPicPr>
          <p:cNvPr id="9219" name="Picture 7" descr="A picture containing text, clipart&#10;&#10;Description automatically generated">
            <a:extLst>
              <a:ext uri="{FF2B5EF4-FFF2-40B4-BE49-F238E27FC236}">
                <a16:creationId xmlns:a16="http://schemas.microsoft.com/office/drawing/2014/main" id="{B806983B-82BF-C36B-974F-06E291E2FB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3075" y="471488"/>
            <a:ext cx="2614613"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reeform 5">
            <a:extLst>
              <a:ext uri="{FF2B5EF4-FFF2-40B4-BE49-F238E27FC236}">
                <a16:creationId xmlns:a16="http://schemas.microsoft.com/office/drawing/2014/main" id="{8CD63A23-E514-4FBF-EE0A-6C26DD0F2E0E}"/>
              </a:ext>
            </a:extLst>
          </p:cNvPr>
          <p:cNvSpPr/>
          <p:nvPr/>
        </p:nvSpPr>
        <p:spPr>
          <a:xfrm>
            <a:off x="6613585" y="0"/>
            <a:ext cx="5566913" cy="6858000"/>
          </a:xfrm>
          <a:custGeom>
            <a:avLst/>
            <a:gdLst/>
            <a:ahLst/>
            <a:cxnLst/>
            <a:rect l="l" t="t" r="r" b="b"/>
            <a:pathLst>
              <a:path w="19318310" h="10287000">
                <a:moveTo>
                  <a:pt x="0" y="0"/>
                </a:moveTo>
                <a:lnTo>
                  <a:pt x="19318310" y="0"/>
                </a:lnTo>
                <a:lnTo>
                  <a:pt x="19318310" y="10287000"/>
                </a:lnTo>
                <a:lnTo>
                  <a:pt x="0" y="10287000"/>
                </a:lnTo>
                <a:lnTo>
                  <a:pt x="0" y="0"/>
                </a:lnTo>
                <a:close/>
              </a:path>
            </a:pathLst>
          </a:custGeom>
          <a:blipFill>
            <a:blip r:embed="rId3"/>
            <a:stretch>
              <a:fillRect l="-66842" t="-1165" r="-78912" b="1165"/>
            </a:stretch>
          </a:blipFill>
          <a:effectLst/>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42" name="Freeform 3">
            <a:extLst>
              <a:ext uri="{FF2B5EF4-FFF2-40B4-BE49-F238E27FC236}">
                <a16:creationId xmlns:a16="http://schemas.microsoft.com/office/drawing/2014/main" id="{EAEC7E37-9110-1BC1-7990-5DD2EA9A843F}"/>
              </a:ext>
            </a:extLst>
          </p:cNvPr>
          <p:cNvSpPr>
            <a:spLocks/>
          </p:cNvSpPr>
          <p:nvPr/>
        </p:nvSpPr>
        <p:spPr bwMode="auto">
          <a:xfrm>
            <a:off x="479426" y="3590925"/>
            <a:ext cx="5775324" cy="1354138"/>
          </a:xfrm>
          <a:custGeom>
            <a:avLst/>
            <a:gdLst>
              <a:gd name="T0" fmla="*/ 0 w 1937386"/>
              <a:gd name="T1" fmla="*/ 0 h 1173630"/>
              <a:gd name="T2" fmla="*/ 1937386 w 1937386"/>
              <a:gd name="T3" fmla="*/ 0 h 1173630"/>
              <a:gd name="T4" fmla="*/ 1937386 w 1937386"/>
              <a:gd name="T5" fmla="*/ 1173630 h 1173630"/>
              <a:gd name="T6" fmla="*/ 0 w 1937386"/>
              <a:gd name="T7" fmla="*/ 1173630 h 1173630"/>
              <a:gd name="T8" fmla="*/ 0 w 1937386"/>
              <a:gd name="T9" fmla="*/ 0 h 1173630"/>
            </a:gdLst>
            <a:ahLst/>
            <a:cxnLst>
              <a:cxn ang="0">
                <a:pos x="T0" y="T1"/>
              </a:cxn>
              <a:cxn ang="0">
                <a:pos x="T2" y="T3"/>
              </a:cxn>
              <a:cxn ang="0">
                <a:pos x="T4" y="T5"/>
              </a:cxn>
              <a:cxn ang="0">
                <a:pos x="T6" y="T7"/>
              </a:cxn>
              <a:cxn ang="0">
                <a:pos x="T8" y="T9"/>
              </a:cxn>
            </a:cxnLst>
            <a:rect l="0" t="0" r="r" b="b"/>
            <a:pathLst>
              <a:path w="1937386" h="1173630">
                <a:moveTo>
                  <a:pt x="0" y="0"/>
                </a:moveTo>
                <a:lnTo>
                  <a:pt x="1937386" y="0"/>
                </a:lnTo>
                <a:lnTo>
                  <a:pt x="1937386" y="1173630"/>
                </a:lnTo>
                <a:lnTo>
                  <a:pt x="0" y="1173630"/>
                </a:lnTo>
                <a:lnTo>
                  <a:pt x="0" y="0"/>
                </a:lnTo>
              </a:path>
            </a:pathLst>
          </a:custGeom>
          <a:solidFill>
            <a:srgbClr val="070707"/>
          </a:solidFill>
          <a:ln w="9525">
            <a:solidFill>
              <a:srgbClr val="6FC2B4"/>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0243" name="Title 1">
            <a:extLst>
              <a:ext uri="{FF2B5EF4-FFF2-40B4-BE49-F238E27FC236}">
                <a16:creationId xmlns:a16="http://schemas.microsoft.com/office/drawing/2014/main" id="{F992ECF7-E3F2-2F66-A35A-BFD0BE52D56F}"/>
              </a:ext>
            </a:extLst>
          </p:cNvPr>
          <p:cNvSpPr>
            <a:spLocks noGrp="1" noChangeArrowheads="1"/>
          </p:cNvSpPr>
          <p:nvPr>
            <p:ph type="title"/>
          </p:nvPr>
        </p:nvSpPr>
        <p:spPr>
          <a:xfrm>
            <a:off x="369888" y="479425"/>
            <a:ext cx="7007225" cy="601663"/>
          </a:xfrm>
        </p:spPr>
        <p:txBody>
          <a:bodyPr/>
          <a:lstStyle/>
          <a:p>
            <a:pPr eaLnBrk="1" hangingPunct="1"/>
            <a:r>
              <a:rPr lang="es-MX" altLang="es-MX" sz="2800" b="1">
                <a:solidFill>
                  <a:srgbClr val="0097A9"/>
                </a:solidFill>
              </a:rPr>
              <a:t>Para empezar, ¿qué es una IA?</a:t>
            </a:r>
          </a:p>
        </p:txBody>
      </p:sp>
      <p:sp>
        <p:nvSpPr>
          <p:cNvPr id="6" name="TextBox 4">
            <a:extLst>
              <a:ext uri="{FF2B5EF4-FFF2-40B4-BE49-F238E27FC236}">
                <a16:creationId xmlns:a16="http://schemas.microsoft.com/office/drawing/2014/main" id="{0E06FBCC-D136-6AB4-082B-BABBE0327565}"/>
              </a:ext>
            </a:extLst>
          </p:cNvPr>
          <p:cNvSpPr txBox="1"/>
          <p:nvPr/>
        </p:nvSpPr>
        <p:spPr>
          <a:xfrm>
            <a:off x="555625" y="3749148"/>
            <a:ext cx="5699125" cy="1354138"/>
          </a:xfrm>
          <a:prstGeom prst="rect">
            <a:avLst/>
          </a:prstGeom>
        </p:spPr>
        <p:txBody>
          <a:bodyPr lIns="254000" tIns="254000" rIns="254000" bIns="254000" anchor="ctr"/>
          <a:lstStyle/>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s-MX" sz="2000" b="0" i="0" u="none" strike="noStrike" kern="1200" cap="none" spc="0" normalizeH="0" baseline="0" noProof="0">
              <a:ln>
                <a:noFill/>
              </a:ln>
              <a:solidFill>
                <a:srgbClr val="D1D5DB"/>
              </a:solidFill>
              <a:effectLst/>
              <a:uLnTx/>
              <a:uFillTx/>
              <a:latin typeface="Calibri" panose="020F0502020204030204"/>
              <a:ea typeface="+mn-ea"/>
              <a:cs typeface="+mn-cs"/>
            </a:endParaRP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La IA</a:t>
            </a: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 </a:t>
            </a:r>
            <a:r>
              <a:rPr kumimoji="0" lang="en-US" sz="2200" b="1" i="0" u="none" strike="noStrike" kern="1200" cap="none" spc="0" normalizeH="0" baseline="0" noProof="0">
                <a:ln>
                  <a:noFill/>
                </a:ln>
                <a:solidFill>
                  <a:srgbClr val="0097A9"/>
                </a:solidFill>
                <a:effectLst/>
                <a:uLnTx/>
                <a:uFillTx/>
                <a:latin typeface="Calibri" panose="020F0502020204030204"/>
                <a:ea typeface="+mn-ea"/>
                <a:cs typeface="+mn-cs"/>
              </a:rPr>
              <a:t>no </a:t>
            </a:r>
            <a:r>
              <a:rPr kumimoji="0" lang="en-US" sz="2200" b="1" i="0" u="none" strike="noStrike" kern="1200" cap="none" spc="0" normalizeH="0" baseline="0" noProof="0" err="1">
                <a:ln>
                  <a:noFill/>
                </a:ln>
                <a:solidFill>
                  <a:srgbClr val="0097A9"/>
                </a:solidFill>
                <a:effectLst/>
                <a:uLnTx/>
                <a:uFillTx/>
                <a:latin typeface="Calibri" panose="020F0502020204030204"/>
                <a:ea typeface="+mn-ea"/>
                <a:cs typeface="+mn-cs"/>
              </a:rPr>
              <a:t>tiene</a:t>
            </a:r>
            <a:r>
              <a:rPr kumimoji="0" lang="en-US" sz="2200" b="1" i="0" u="none" strike="noStrike" kern="1200" cap="none" spc="0" normalizeH="0" baseline="0" noProof="0">
                <a:ln>
                  <a:noFill/>
                </a:ln>
                <a:solidFill>
                  <a:srgbClr val="0097A9"/>
                </a:solidFill>
                <a:effectLst/>
                <a:uLnTx/>
                <a:uFillTx/>
                <a:latin typeface="Calibri" panose="020F0502020204030204"/>
                <a:ea typeface="+mn-ea"/>
                <a:cs typeface="+mn-cs"/>
              </a:rPr>
              <a:t> </a:t>
            </a:r>
            <a:r>
              <a:rPr kumimoji="0" lang="en-US" sz="2200" b="1" i="0" u="none" strike="noStrike" kern="1200" cap="none" spc="0" normalizeH="0" baseline="0" noProof="0" err="1">
                <a:ln>
                  <a:noFill/>
                </a:ln>
                <a:solidFill>
                  <a:srgbClr val="0097A9"/>
                </a:solidFill>
                <a:effectLst/>
                <a:uLnTx/>
                <a:uFillTx/>
                <a:latin typeface="Calibri" panose="020F0502020204030204"/>
                <a:ea typeface="+mn-ea"/>
                <a:cs typeface="+mn-cs"/>
              </a:rPr>
              <a:t>como</a:t>
            </a:r>
            <a:r>
              <a:rPr kumimoji="0" lang="en-US" sz="2200" b="1" i="0" u="none" strike="noStrike" kern="1200" cap="none" spc="0" normalizeH="0" baseline="0" noProof="0">
                <a:ln>
                  <a:noFill/>
                </a:ln>
                <a:solidFill>
                  <a:srgbClr val="0097A9"/>
                </a:solidFill>
                <a:effectLst/>
                <a:uLnTx/>
                <a:uFillTx/>
                <a:latin typeface="Calibri" panose="020F0502020204030204"/>
                <a:ea typeface="+mn-ea"/>
                <a:cs typeface="+mn-cs"/>
              </a:rPr>
              <a:t> </a:t>
            </a:r>
            <a:r>
              <a:rPr kumimoji="0" lang="en-US" sz="2200" b="1" i="0" u="none" strike="noStrike" kern="1200" cap="none" spc="0" normalizeH="0" baseline="0" noProof="0" err="1">
                <a:ln>
                  <a:noFill/>
                </a:ln>
                <a:solidFill>
                  <a:srgbClr val="0097A9"/>
                </a:solidFill>
                <a:effectLst/>
                <a:uLnTx/>
                <a:uFillTx/>
                <a:latin typeface="Calibri" panose="020F0502020204030204"/>
                <a:ea typeface="+mn-ea"/>
                <a:cs typeface="+mn-cs"/>
              </a:rPr>
              <a:t>finalidad</a:t>
            </a:r>
            <a:r>
              <a:rPr kumimoji="0" lang="en-US" sz="2200" b="1" i="0" u="none" strike="noStrike" kern="1200" cap="none" spc="0" normalizeH="0" baseline="0" noProof="0">
                <a:ln>
                  <a:noFill/>
                </a:ln>
                <a:solidFill>
                  <a:srgbClr val="0097A9"/>
                </a:solidFill>
                <a:effectLst/>
                <a:uLnTx/>
                <a:uFillTx/>
                <a:latin typeface="Calibri" panose="020F0502020204030204"/>
                <a:ea typeface="+mn-ea"/>
                <a:cs typeface="+mn-cs"/>
              </a:rPr>
              <a:t> </a:t>
            </a:r>
            <a:r>
              <a:rPr kumimoji="0" lang="en-US" sz="2200" b="1" i="0" u="none" strike="noStrike" kern="1200" cap="none" spc="0" normalizeH="0" baseline="0" noProof="0" err="1">
                <a:ln>
                  <a:noFill/>
                </a:ln>
                <a:solidFill>
                  <a:srgbClr val="0097A9"/>
                </a:solidFill>
                <a:effectLst/>
                <a:uLnTx/>
                <a:uFillTx/>
                <a:latin typeface="Calibri" panose="020F0502020204030204"/>
                <a:ea typeface="+mn-ea"/>
                <a:cs typeface="+mn-cs"/>
              </a:rPr>
              <a:t>reemplazar</a:t>
            </a:r>
            <a:r>
              <a:rPr kumimoji="0" lang="en-US" sz="2200" b="1" i="0" u="none" strike="noStrike" kern="1200" cap="none" spc="0" normalizeH="0" baseline="0" noProof="0">
                <a:ln>
                  <a:noFill/>
                </a:ln>
                <a:solidFill>
                  <a:srgbClr val="0097A9"/>
                </a:solidFill>
                <a:effectLst/>
                <a:uLnTx/>
                <a:uFillTx/>
                <a:latin typeface="Calibri" panose="020F0502020204030204"/>
                <a:ea typeface="+mn-ea"/>
                <a:cs typeface="+mn-cs"/>
              </a:rPr>
              <a:t> a </a:t>
            </a:r>
            <a:r>
              <a:rPr kumimoji="0" lang="en-US" sz="2200" b="1" i="0" u="none" strike="noStrike" kern="1200" cap="none" spc="0" normalizeH="0" baseline="0" noProof="0" err="1">
                <a:ln>
                  <a:noFill/>
                </a:ln>
                <a:solidFill>
                  <a:srgbClr val="0097A9"/>
                </a:solidFill>
                <a:effectLst/>
                <a:uLnTx/>
                <a:uFillTx/>
                <a:latin typeface="Calibri" panose="020F0502020204030204"/>
                <a:ea typeface="+mn-ea"/>
                <a:cs typeface="+mn-cs"/>
              </a:rPr>
              <a:t>los</a:t>
            </a:r>
            <a:r>
              <a:rPr kumimoji="0" lang="en-US" sz="2200" b="1" i="0" u="none" strike="noStrike" kern="1200" cap="none" spc="0" normalizeH="0" baseline="0" noProof="0">
                <a:ln>
                  <a:noFill/>
                </a:ln>
                <a:solidFill>
                  <a:srgbClr val="0097A9"/>
                </a:solidFill>
                <a:effectLst/>
                <a:uLnTx/>
                <a:uFillTx/>
                <a:latin typeface="Calibri" panose="020F0502020204030204"/>
                <a:ea typeface="+mn-ea"/>
                <a:cs typeface="+mn-cs"/>
              </a:rPr>
              <a:t> </a:t>
            </a:r>
            <a:r>
              <a:rPr kumimoji="0" lang="en-US" sz="2200" b="1" i="0" u="none" strike="noStrike" kern="1200" cap="none" spc="0" normalizeH="0" baseline="0" noProof="0" err="1">
                <a:ln>
                  <a:noFill/>
                </a:ln>
                <a:solidFill>
                  <a:srgbClr val="0097A9"/>
                </a:solidFill>
                <a:effectLst/>
                <a:uLnTx/>
                <a:uFillTx/>
                <a:latin typeface="Calibri" panose="020F0502020204030204"/>
                <a:ea typeface="+mn-ea"/>
                <a:cs typeface="+mn-cs"/>
              </a:rPr>
              <a:t>humanos</a:t>
            </a: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 </a:t>
            </a:r>
            <a:r>
              <a:rPr kumimoji="0" lang="en-US" sz="2000" b="0" i="0" u="none" strike="noStrike" kern="1200" cap="none" spc="0" normalizeH="0" baseline="0" noProof="0" err="1">
                <a:ln>
                  <a:noFill/>
                </a:ln>
                <a:solidFill>
                  <a:srgbClr val="FFFFFF"/>
                </a:solidFill>
                <a:effectLst/>
                <a:uLnTx/>
                <a:uFillTx/>
                <a:latin typeface="Calibri" panose="020F0502020204030204"/>
                <a:ea typeface="+mn-ea"/>
                <a:cs typeface="+mn-cs"/>
              </a:rPr>
              <a:t>sino</a:t>
            </a: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 </a:t>
            </a:r>
            <a:r>
              <a:rPr kumimoji="0" lang="en-US" sz="2000" b="0" i="0" u="none" strike="noStrike" kern="1200" cap="none" spc="0" normalizeH="0" baseline="0" noProof="0" err="1">
                <a:ln>
                  <a:noFill/>
                </a:ln>
                <a:solidFill>
                  <a:srgbClr val="FFFFFF"/>
                </a:solidFill>
                <a:effectLst/>
                <a:uLnTx/>
                <a:uFillTx/>
                <a:latin typeface="Calibri" panose="020F0502020204030204"/>
                <a:ea typeface="+mn-ea"/>
                <a:cs typeface="+mn-cs"/>
              </a:rPr>
              <a:t>mejorar</a:t>
            </a: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 </a:t>
            </a:r>
            <a:r>
              <a:rPr kumimoji="0" lang="en-US" sz="2000" b="0" i="0" u="none" strike="noStrike" kern="1200" cap="none" spc="0" normalizeH="0" baseline="0" noProof="0" err="1">
                <a:ln>
                  <a:noFill/>
                </a:ln>
                <a:solidFill>
                  <a:srgbClr val="FFFFFF"/>
                </a:solidFill>
                <a:effectLst/>
                <a:uLnTx/>
                <a:uFillTx/>
                <a:latin typeface="Calibri" panose="020F0502020204030204"/>
                <a:ea typeface="+mn-ea"/>
                <a:cs typeface="+mn-cs"/>
              </a:rPr>
              <a:t>significativamente</a:t>
            </a: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 las </a:t>
            </a:r>
            <a:r>
              <a:rPr kumimoji="0" lang="en-US" sz="2000" b="0" i="0" u="none" strike="noStrike" kern="1200" cap="none" spc="0" normalizeH="0" baseline="0" noProof="0" err="1">
                <a:ln>
                  <a:noFill/>
                </a:ln>
                <a:solidFill>
                  <a:srgbClr val="FFFFFF"/>
                </a:solidFill>
                <a:effectLst/>
                <a:uLnTx/>
                <a:uFillTx/>
                <a:latin typeface="Calibri" panose="020F0502020204030204"/>
                <a:ea typeface="+mn-ea"/>
                <a:cs typeface="+mn-cs"/>
              </a:rPr>
              <a:t>capacidades</a:t>
            </a: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 y </a:t>
            </a:r>
            <a:r>
              <a:rPr kumimoji="0" lang="en-US" sz="2000" b="0" i="0" u="none" strike="noStrike" kern="1200" cap="none" spc="0" normalizeH="0" baseline="0" noProof="0" err="1">
                <a:ln>
                  <a:noFill/>
                </a:ln>
                <a:solidFill>
                  <a:srgbClr val="FFFFFF"/>
                </a:solidFill>
                <a:effectLst/>
                <a:uLnTx/>
                <a:uFillTx/>
                <a:latin typeface="Calibri" panose="020F0502020204030204"/>
                <a:ea typeface="+mn-ea"/>
                <a:cs typeface="+mn-cs"/>
              </a:rPr>
              <a:t>contribuciones</a:t>
            </a: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 de </a:t>
            </a:r>
            <a:r>
              <a:rPr kumimoji="0" lang="en-US" sz="2000" b="0" i="0" u="none" strike="noStrike" kern="1200" cap="none" spc="0" normalizeH="0" baseline="0" noProof="0" err="1">
                <a:ln>
                  <a:noFill/>
                </a:ln>
                <a:solidFill>
                  <a:srgbClr val="FFFFFF"/>
                </a:solidFill>
                <a:effectLst/>
                <a:uLnTx/>
                <a:uFillTx/>
                <a:latin typeface="Calibri" panose="020F0502020204030204"/>
                <a:ea typeface="+mn-ea"/>
                <a:cs typeface="+mn-cs"/>
              </a:rPr>
              <a:t>éstos</a:t>
            </a:r>
            <a:r>
              <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rPr>
              <a:t>.</a:t>
            </a: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s-MX" sz="2000" b="0" i="0" u="none" strike="noStrike" kern="1200" cap="none" spc="0" normalizeH="0" baseline="0" noProof="0">
              <a:ln>
                <a:noFill/>
              </a:ln>
              <a:solidFill>
                <a:srgbClr val="D1D5DB"/>
              </a:solidFill>
              <a:effectLst/>
              <a:uLnTx/>
              <a:uFillTx/>
              <a:latin typeface="Calibri" panose="020F0502020204030204"/>
              <a:ea typeface="+mn-ea"/>
              <a:cs typeface="+mn-cs"/>
            </a:endParaRP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7" name="Freeform 5">
            <a:extLst>
              <a:ext uri="{FF2B5EF4-FFF2-40B4-BE49-F238E27FC236}">
                <a16:creationId xmlns:a16="http://schemas.microsoft.com/office/drawing/2014/main" id="{BCA598AC-EFBA-00FA-5CE2-D4A33B3E7645}"/>
              </a:ext>
            </a:extLst>
          </p:cNvPr>
          <p:cNvSpPr/>
          <p:nvPr/>
        </p:nvSpPr>
        <p:spPr>
          <a:xfrm>
            <a:off x="6438900" y="1914991"/>
            <a:ext cx="5098406" cy="3392064"/>
          </a:xfrm>
          <a:custGeom>
            <a:avLst/>
            <a:gdLst/>
            <a:ahLst/>
            <a:cxnLst/>
            <a:rect l="l" t="t" r="r" b="b"/>
            <a:pathLst>
              <a:path w="8973302" h="5047482">
                <a:moveTo>
                  <a:pt x="0" y="0"/>
                </a:moveTo>
                <a:lnTo>
                  <a:pt x="8973301" y="0"/>
                </a:lnTo>
                <a:lnTo>
                  <a:pt x="8973301" y="5047482"/>
                </a:lnTo>
                <a:lnTo>
                  <a:pt x="0" y="5047482"/>
                </a:lnTo>
                <a:lnTo>
                  <a:pt x="0" y="0"/>
                </a:lnTo>
                <a:close/>
              </a:path>
            </a:pathLst>
          </a:custGeom>
          <a:blipFill>
            <a:blip r:embed="rId2"/>
            <a:stretch>
              <a:fillRect l="-11665" r="-6613"/>
            </a:stretch>
          </a:blipFill>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8" name="TextBox 7">
            <a:extLst>
              <a:ext uri="{FF2B5EF4-FFF2-40B4-BE49-F238E27FC236}">
                <a16:creationId xmlns:a16="http://schemas.microsoft.com/office/drawing/2014/main" id="{88260CFE-BE6B-937D-A31D-482606BCEE6C}"/>
              </a:ext>
            </a:extLst>
          </p:cNvPr>
          <p:cNvSpPr txBox="1"/>
          <p:nvPr/>
        </p:nvSpPr>
        <p:spPr>
          <a:xfrm>
            <a:off x="642494" y="6459043"/>
            <a:ext cx="7772400" cy="276999"/>
          </a:xfrm>
          <a:prstGeom prst="rect">
            <a:avLst/>
          </a:prstGeom>
          <a:noFill/>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MX" sz="1200" b="0" i="1" u="none" strike="noStrike" kern="1200" cap="none" spc="0" normalizeH="0" baseline="0" noProof="0">
                <a:ln>
                  <a:noFill/>
                </a:ln>
                <a:solidFill>
                  <a:prstClr val="white"/>
                </a:solidFill>
                <a:effectLst/>
                <a:uLnTx/>
                <a:uFillTx/>
                <a:latin typeface="Calibri" panose="020F0502020204030204" pitchFamily="34" charset="0"/>
                <a:ea typeface="+mn-ea"/>
                <a:cs typeface="+mn-cs"/>
              </a:rPr>
              <a:t>*Fuente: </a:t>
            </a: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mn-cs"/>
              </a:rPr>
              <a:t>Deloitte in data analytics artificial intelligence. Deloitte. (2018)</a:t>
            </a:r>
            <a:endParaRPr kumimoji="0" lang="en-US" sz="1200" b="0" i="1" u="none" strike="noStrike" kern="1200" cap="none" spc="0" normalizeH="0" baseline="0" noProof="0">
              <a:ln>
                <a:noFill/>
              </a:ln>
              <a:solidFill>
                <a:prstClr val="white"/>
              </a:solidFill>
              <a:effectLst/>
              <a:highlight>
                <a:srgbClr val="FFFF00"/>
              </a:highlight>
              <a:uLnTx/>
              <a:uFillTx/>
              <a:latin typeface="Calibri" panose="020F0502020204030204" pitchFamily="34" charset="0"/>
              <a:ea typeface="+mn-ea"/>
              <a:cs typeface="+mn-cs"/>
            </a:endParaRPr>
          </a:p>
        </p:txBody>
      </p:sp>
      <p:sp>
        <p:nvSpPr>
          <p:cNvPr id="9" name="TextBox 8">
            <a:extLst>
              <a:ext uri="{FF2B5EF4-FFF2-40B4-BE49-F238E27FC236}">
                <a16:creationId xmlns:a16="http://schemas.microsoft.com/office/drawing/2014/main" id="{64E9E48E-C181-1872-5047-A9EA1244046F}"/>
              </a:ext>
            </a:extLst>
          </p:cNvPr>
          <p:cNvSpPr txBox="1"/>
          <p:nvPr/>
        </p:nvSpPr>
        <p:spPr>
          <a:xfrm>
            <a:off x="654694" y="1712419"/>
            <a:ext cx="5600056" cy="1429622"/>
          </a:xfrm>
          <a:prstGeom prst="rect">
            <a:avLst/>
          </a:prstGeom>
          <a:noFill/>
        </p:spPr>
        <p:txBody>
          <a:bodyPr wrap="square">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s-MX" sz="2000" b="0" i="0" u="none" strike="noStrike" kern="1200" cap="none" spc="0" normalizeH="0" baseline="0" noProof="0">
                <a:ln>
                  <a:noFill/>
                </a:ln>
                <a:solidFill>
                  <a:srgbClr val="D1D5DB"/>
                </a:solidFill>
                <a:effectLst/>
                <a:uLnTx/>
                <a:uFillTx/>
                <a:latin typeface="Calibri" panose="020F0502020204030204"/>
                <a:ea typeface="+mn-ea"/>
                <a:cs typeface="+mn-cs"/>
              </a:rPr>
              <a:t>La IA se preocupa por hacer que las computadoras realicen tareas que normalmente requerirían inteligencia humana.</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pic>
        <p:nvPicPr>
          <p:cNvPr id="11266" name="Picture 2" descr="mano aislada sosteniendo un teléfono inteligente 8847313 PNG">
            <a:extLst>
              <a:ext uri="{FF2B5EF4-FFF2-40B4-BE49-F238E27FC236}">
                <a16:creationId xmlns:a16="http://schemas.microsoft.com/office/drawing/2014/main" id="{5FBE52F9-64F8-0C20-266B-F5E2361EC4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5375" y="0"/>
            <a:ext cx="98266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Freeform 2">
            <a:extLst>
              <a:ext uri="{FF2B5EF4-FFF2-40B4-BE49-F238E27FC236}">
                <a16:creationId xmlns:a16="http://schemas.microsoft.com/office/drawing/2014/main" id="{4EA7947E-20D3-0D8E-CFAA-81535F0E60AA}"/>
              </a:ext>
            </a:extLst>
          </p:cNvPr>
          <p:cNvSpPr>
            <a:spLocks noChangeArrowheads="1"/>
          </p:cNvSpPr>
          <p:nvPr/>
        </p:nvSpPr>
        <p:spPr bwMode="auto">
          <a:xfrm>
            <a:off x="4368800" y="2565400"/>
            <a:ext cx="4673600" cy="2184400"/>
          </a:xfrm>
          <a:prstGeom prst="flowChartAlternateProcess">
            <a:avLst/>
          </a:prstGeom>
          <a:blipFill dpi="0" rotWithShape="1">
            <a:blip r:embed="rId3">
              <a:alphaModFix amt="8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1268" name="Title 1">
            <a:extLst>
              <a:ext uri="{FF2B5EF4-FFF2-40B4-BE49-F238E27FC236}">
                <a16:creationId xmlns:a16="http://schemas.microsoft.com/office/drawing/2014/main" id="{06FFC532-766A-D6A4-E52E-FD8BAC178AF2}"/>
              </a:ext>
            </a:extLst>
          </p:cNvPr>
          <p:cNvSpPr txBox="1">
            <a:spLocks noChangeArrowheads="1"/>
          </p:cNvSpPr>
          <p:nvPr/>
        </p:nvSpPr>
        <p:spPr bwMode="auto">
          <a:xfrm>
            <a:off x="369888" y="479425"/>
            <a:ext cx="7007225"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2100">
                <a:solidFill>
                  <a:schemeClr val="tx1"/>
                </a:solidFill>
                <a:latin typeface="Calibri" panose="020F0502020204030204" pitchFamily="34" charset="0"/>
              </a:defRPr>
            </a:lvl1pPr>
            <a:lvl2pPr marL="495300" indent="-190500">
              <a:spcBef>
                <a:spcPct val="20000"/>
              </a:spcBef>
              <a:buFont typeface="Arial" panose="020B0604020202020204" pitchFamily="34" charset="0"/>
              <a:buChar char="–"/>
              <a:defRPr>
                <a:solidFill>
                  <a:schemeClr val="tx1"/>
                </a:solidFill>
                <a:latin typeface="Calibri" panose="020F0502020204030204" pitchFamily="34" charset="0"/>
              </a:defRPr>
            </a:lvl2pPr>
            <a:lvl3pPr marL="762000" indent="-152400">
              <a:spcBef>
                <a:spcPct val="20000"/>
              </a:spcBef>
              <a:buFont typeface="Arial" panose="020B0604020202020204" pitchFamily="34" charset="0"/>
              <a:buChar char="•"/>
              <a:defRPr sz="1600">
                <a:solidFill>
                  <a:schemeClr val="tx1"/>
                </a:solidFill>
                <a:latin typeface="Calibri" panose="020F0502020204030204" pitchFamily="34" charset="0"/>
              </a:defRPr>
            </a:lvl3pPr>
            <a:lvl4pPr marL="1066800" indent="-152400">
              <a:spcBef>
                <a:spcPct val="20000"/>
              </a:spcBef>
              <a:buFont typeface="Arial" panose="020B0604020202020204" pitchFamily="34" charset="0"/>
              <a:buChar char="–"/>
              <a:defRPr sz="1300">
                <a:solidFill>
                  <a:schemeClr val="tx1"/>
                </a:solidFill>
                <a:latin typeface="Calibri" panose="020F0502020204030204" pitchFamily="34" charset="0"/>
              </a:defRPr>
            </a:lvl4pPr>
            <a:lvl5pPr marL="1371600" indent="-152400">
              <a:spcBef>
                <a:spcPct val="20000"/>
              </a:spcBef>
              <a:buFont typeface="Arial" panose="020B0604020202020204" pitchFamily="34" charset="0"/>
              <a:buChar char="»"/>
              <a:defRPr sz="1300">
                <a:solidFill>
                  <a:schemeClr val="tx1"/>
                </a:solidFill>
                <a:latin typeface="Calibri" panose="020F0502020204030204" pitchFamily="34" charset="0"/>
              </a:defRPr>
            </a:lvl5pPr>
            <a:lvl6pPr marL="1828800" indent="-152400" fontAlgn="base">
              <a:spcBef>
                <a:spcPct val="20000"/>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286000" indent="-152400" fontAlgn="base">
              <a:spcBef>
                <a:spcPct val="20000"/>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2743200" indent="-152400" fontAlgn="base">
              <a:spcBef>
                <a:spcPct val="20000"/>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200400" indent="-152400" fontAlgn="base">
              <a:spcBef>
                <a:spcPct val="20000"/>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s-MX" altLang="es-MX" sz="2800" b="1" i="0" u="none" strike="noStrike" kern="1200" cap="none" spc="0" normalizeH="0" baseline="0" noProof="0">
                <a:ln>
                  <a:noFill/>
                </a:ln>
                <a:solidFill>
                  <a:srgbClr val="0097A9"/>
                </a:solidFill>
                <a:effectLst/>
                <a:uLnTx/>
                <a:uFillTx/>
                <a:latin typeface="Calibri Light" panose="020F0302020204030204" pitchFamily="34" charset="0"/>
                <a:ea typeface="+mn-ea"/>
                <a:cs typeface="+mn-cs"/>
              </a:rPr>
              <a:t>Historia de la IA</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6" name="Picture 15" descr="A black and white logo&#10;&#10;Description automatically generated">
            <a:extLst>
              <a:ext uri="{FF2B5EF4-FFF2-40B4-BE49-F238E27FC236}">
                <a16:creationId xmlns:a16="http://schemas.microsoft.com/office/drawing/2014/main" id="{3F29E516-9A59-0F8B-15C3-FCC77909ECEF}"/>
              </a:ext>
            </a:extLst>
          </p:cNvPr>
          <p:cNvPicPr>
            <a:picLocks noChangeAspect="1"/>
          </p:cNvPicPr>
          <p:nvPr/>
        </p:nvPicPr>
        <p:blipFill>
          <a:blip r:embed="rId3" cstate="print"/>
          <a:stretch>
            <a:fillRect/>
          </a:stretch>
        </p:blipFill>
        <p:spPr>
          <a:xfrm>
            <a:off x="10915432" y="589326"/>
            <a:ext cx="1027440" cy="1036800"/>
          </a:xfrm>
          <a:prstGeom prst="ellipse">
            <a:avLst/>
          </a:prstGeom>
          <a:solidFill>
            <a:srgbClr val="0097A9"/>
          </a:solidFill>
          <a:ln w="76200">
            <a:solidFill>
              <a:schemeClr val="accent1"/>
            </a:solidFill>
          </a:ln>
          <a:effectLst>
            <a:outerShdw blurRad="533400" dist="1066800" dir="5400000" sx="46000" sy="46000" algn="ctr" rotWithShape="0">
              <a:schemeClr val="tx1">
                <a:lumMod val="85000"/>
                <a:lumOff val="15000"/>
                <a:alpha val="91000"/>
              </a:schemeClr>
            </a:outerShdw>
            <a:softEdge rad="0"/>
          </a:effectLst>
        </p:spPr>
      </p:pic>
      <p:pic>
        <p:nvPicPr>
          <p:cNvPr id="40" name="Picture 6" descr="Chatbot Eugene put to Turing test wins first prize">
            <a:extLst>
              <a:ext uri="{FF2B5EF4-FFF2-40B4-BE49-F238E27FC236}">
                <a16:creationId xmlns:a16="http://schemas.microsoft.com/office/drawing/2014/main" id="{6FB233AD-8451-6288-BE7A-2D866DEB704B}"/>
              </a:ext>
            </a:extLst>
          </p:cNvPr>
          <p:cNvPicPr>
            <a:picLocks noChangeAspect="1" noChangeArrowheads="1"/>
          </p:cNvPicPr>
          <p:nvPr/>
        </p:nvPicPr>
        <p:blipFill>
          <a:blip r:embed="rId4"/>
          <a:srcRect/>
          <a:stretch>
            <a:fillRect/>
          </a:stretch>
        </p:blipFill>
        <p:spPr bwMode="auto">
          <a:xfrm>
            <a:off x="7946897" y="598965"/>
            <a:ext cx="1007177" cy="1036800"/>
          </a:xfrm>
          <a:prstGeom prst="ellipse">
            <a:avLst/>
          </a:prstGeom>
          <a:noFill/>
          <a:ln w="76200">
            <a:solidFill>
              <a:srgbClr val="007CB0"/>
            </a:solidFill>
          </a:ln>
          <a:effectLst>
            <a:outerShdw blurRad="533400" dist="1066800" dir="5400000" sx="46000" sy="46000" algn="ctr" rotWithShape="0">
              <a:schemeClr val="tx1">
                <a:lumMod val="85000"/>
                <a:lumOff val="15000"/>
                <a:alpha val="91000"/>
              </a:schemeClr>
            </a:outerShdw>
            <a:softEdge rad="0"/>
          </a:effectLst>
        </p:spPr>
      </p:pic>
      <p:pic>
        <p:nvPicPr>
          <p:cNvPr id="1036" name="Picture 8" descr="Self-Driving Cars: How Will Autonomous Cars Change the Roads? [2023]">
            <a:extLst>
              <a:ext uri="{FF2B5EF4-FFF2-40B4-BE49-F238E27FC236}">
                <a16:creationId xmlns:a16="http://schemas.microsoft.com/office/drawing/2014/main" id="{E0D43A73-0286-A02D-0B0F-9C031AEB941A}"/>
              </a:ext>
            </a:extLst>
          </p:cNvPr>
          <p:cNvPicPr>
            <a:picLocks noChangeAspect="1" noChangeArrowheads="1"/>
          </p:cNvPicPr>
          <p:nvPr/>
        </p:nvPicPr>
        <p:blipFill>
          <a:blip r:embed="rId5"/>
          <a:srcRect/>
          <a:stretch>
            <a:fillRect/>
          </a:stretch>
        </p:blipFill>
        <p:spPr bwMode="auto">
          <a:xfrm>
            <a:off x="2770859" y="603782"/>
            <a:ext cx="1018805" cy="1036800"/>
          </a:xfrm>
          <a:prstGeom prst="ellipse">
            <a:avLst/>
          </a:prstGeom>
          <a:noFill/>
          <a:ln w="76200">
            <a:solidFill>
              <a:srgbClr val="007CB0"/>
            </a:solidFill>
          </a:ln>
          <a:effectLst>
            <a:outerShdw blurRad="533400" dist="1066800" dir="5400000" sx="46000" sy="46000" algn="ctr" rotWithShape="0">
              <a:schemeClr val="tx1">
                <a:lumMod val="85000"/>
                <a:lumOff val="15000"/>
                <a:alpha val="91000"/>
              </a:schemeClr>
            </a:outerShdw>
            <a:softEdge rad="0"/>
          </a:effectLst>
        </p:spPr>
      </p:pic>
      <p:cxnSp>
        <p:nvCxnSpPr>
          <p:cNvPr id="42" name="Straight Connector 41">
            <a:extLst>
              <a:ext uri="{FF2B5EF4-FFF2-40B4-BE49-F238E27FC236}">
                <a16:creationId xmlns:a16="http://schemas.microsoft.com/office/drawing/2014/main" id="{F294EA81-D706-1896-7A06-DDD4815CCA2A}"/>
              </a:ext>
            </a:extLst>
          </p:cNvPr>
          <p:cNvCxnSpPr>
            <a:cxnSpLocks/>
            <a:stCxn id="36" idx="0"/>
            <a:endCxn id="40" idx="4"/>
          </p:cNvCxnSpPr>
          <p:nvPr/>
        </p:nvCxnSpPr>
        <p:spPr>
          <a:xfrm flipV="1">
            <a:off x="8448907" y="1635765"/>
            <a:ext cx="1579" cy="574577"/>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E9488BA-7AA8-3D19-B72D-93E416FD0475}"/>
              </a:ext>
            </a:extLst>
          </p:cNvPr>
          <p:cNvCxnSpPr>
            <a:cxnSpLocks/>
          </p:cNvCxnSpPr>
          <p:nvPr/>
        </p:nvCxnSpPr>
        <p:spPr>
          <a:xfrm>
            <a:off x="457200" y="2367521"/>
            <a:ext cx="11430000" cy="0"/>
          </a:xfrm>
          <a:prstGeom prst="line">
            <a:avLst/>
          </a:prstGeom>
          <a:ln w="76200">
            <a:solidFill>
              <a:srgbClr val="007CB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B06867B-472F-41FA-F9EE-CB72D0980343}"/>
              </a:ext>
            </a:extLst>
          </p:cNvPr>
          <p:cNvSpPr txBox="1"/>
          <p:nvPr/>
        </p:nvSpPr>
        <p:spPr>
          <a:xfrm>
            <a:off x="164261" y="2748492"/>
            <a:ext cx="1324093" cy="1425711"/>
          </a:xfrm>
          <a:prstGeom prst="rect">
            <a:avLst/>
          </a:prstGeom>
          <a:noFill/>
        </p:spPr>
        <p:txBody>
          <a:bodyPr wrap="square">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1950</a:t>
            </a: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err="1">
                <a:ln>
                  <a:noFill/>
                </a:ln>
                <a:solidFill>
                  <a:srgbClr val="007CB0"/>
                </a:solidFill>
                <a:effectLst/>
                <a:uLnTx/>
                <a:uFillTx/>
                <a:latin typeface="Calibri"/>
                <a:ea typeface="Microsoft YaHei" panose="020B0503020204020204" pitchFamily="34" charset="-122"/>
                <a:cs typeface="+mn-cs"/>
              </a:rPr>
              <a:t>Touring</a:t>
            </a:r>
            <a:r>
              <a:rPr kumimoji="0" lang="es-MX" sz="1600" b="1" i="0" u="none" strike="noStrike" kern="1200" cap="none" spc="0" normalizeH="0" baseline="0" noProof="0">
                <a:ln>
                  <a:noFill/>
                </a:ln>
                <a:solidFill>
                  <a:srgbClr val="007CB0"/>
                </a:solidFill>
                <a:effectLst/>
                <a:uLnTx/>
                <a:uFillTx/>
                <a:latin typeface="Calibri"/>
                <a:ea typeface="Microsoft YaHei" panose="020B0503020204020204" pitchFamily="34" charset="-122"/>
                <a:cs typeface="+mn-cs"/>
              </a:rPr>
              <a:t> Test</a:t>
            </a:r>
          </a:p>
          <a:p>
            <a:pPr marL="0" marR="0" lvl="0" indent="0" algn="just" defTabSz="609660" rtl="0" eaLnBrk="1" fontAlgn="auto" latinLnBrk="0" hangingPunct="1">
              <a:lnSpc>
                <a:spcPct val="100000"/>
              </a:lnSpc>
              <a:spcBef>
                <a:spcPts val="0"/>
              </a:spcBef>
              <a:spcAft>
                <a:spcPts val="0"/>
              </a:spcAft>
              <a:buClrTx/>
              <a:buSzTx/>
              <a:buFontTx/>
              <a:buNone/>
              <a:tabLst/>
              <a:defRPr/>
            </a:pPr>
            <a:endPar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Prueba</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si</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una máquina puede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comportarse</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como</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un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ser humano </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en una conversación</a:t>
            </a:r>
          </a:p>
        </p:txBody>
      </p:sp>
      <p:sp>
        <p:nvSpPr>
          <p:cNvPr id="15" name="TextBox 14">
            <a:extLst>
              <a:ext uri="{FF2B5EF4-FFF2-40B4-BE49-F238E27FC236}">
                <a16:creationId xmlns:a16="http://schemas.microsoft.com/office/drawing/2014/main" id="{95DD0210-39D3-3208-CA7D-3BBE9EEF3241}"/>
              </a:ext>
            </a:extLst>
          </p:cNvPr>
          <p:cNvSpPr txBox="1"/>
          <p:nvPr/>
        </p:nvSpPr>
        <p:spPr>
          <a:xfrm>
            <a:off x="1433928" y="381531"/>
            <a:ext cx="1405347" cy="1712841"/>
          </a:xfrm>
          <a:prstGeom prst="rect">
            <a:avLst/>
          </a:prstGeom>
          <a:noFill/>
        </p:spPr>
        <p:txBody>
          <a:bodyPr wrap="square">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1964</a:t>
            </a: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a:ln>
                  <a:noFill/>
                </a:ln>
                <a:solidFill>
                  <a:srgbClr val="007CB0"/>
                </a:solidFill>
                <a:effectLst/>
                <a:uLnTx/>
                <a:uFillTx/>
                <a:latin typeface="Calibri"/>
                <a:ea typeface="Microsoft YaHei" panose="020B0503020204020204" pitchFamily="34" charset="-122"/>
                <a:cs typeface="+mn-cs"/>
              </a:rPr>
              <a:t>ELIZA</a:t>
            </a:r>
          </a:p>
          <a:p>
            <a:pPr marL="0" marR="0" lvl="0" indent="0" algn="just" defTabSz="609660" rtl="0" eaLnBrk="1" fontAlgn="auto" latinLnBrk="0" hangingPunct="1">
              <a:lnSpc>
                <a:spcPct val="100000"/>
              </a:lnSpc>
              <a:spcBef>
                <a:spcPts val="0"/>
              </a:spcBef>
              <a:spcAft>
                <a:spcPts val="0"/>
              </a:spcAft>
              <a:buClrTx/>
              <a:buSzTx/>
              <a:buFontTx/>
              <a:buNone/>
              <a:tabLst/>
              <a:defRPr/>
            </a:pPr>
            <a:endPar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Programa de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IA</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demostró capacidad de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entendimiento</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y respuesta al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lenguaje</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humano simulando ser un psicólogo vía texto.</a:t>
            </a:r>
            <a:endParaRPr kumimoji="0" lang="en-US" sz="1333" b="0" i="0" u="none" strike="noStrike" kern="1200" cap="none" spc="0" normalizeH="0" baseline="0" noProof="0">
              <a:ln>
                <a:noFill/>
              </a:ln>
              <a:solidFill>
                <a:prstClr val="black"/>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B978CF3F-6095-5CC6-A2FA-DEDDA3CE6562}"/>
              </a:ext>
            </a:extLst>
          </p:cNvPr>
          <p:cNvSpPr txBox="1"/>
          <p:nvPr/>
        </p:nvSpPr>
        <p:spPr>
          <a:xfrm>
            <a:off x="2705948" y="2701767"/>
            <a:ext cx="1486340" cy="1835952"/>
          </a:xfrm>
          <a:prstGeom prst="rect">
            <a:avLst/>
          </a:prstGeom>
          <a:noFill/>
        </p:spPr>
        <p:txBody>
          <a:bodyPr wrap="square">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1984</a:t>
            </a: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err="1">
                <a:ln>
                  <a:noFill/>
                </a:ln>
                <a:solidFill>
                  <a:srgbClr val="007CB0"/>
                </a:solidFill>
                <a:effectLst/>
                <a:uLnTx/>
                <a:uFillTx/>
                <a:latin typeface="Calibri"/>
                <a:ea typeface="Microsoft YaHei" panose="020B0503020204020204" pitchFamily="34" charset="-122"/>
                <a:cs typeface="+mn-cs"/>
              </a:rPr>
              <a:t>NavLab</a:t>
            </a:r>
            <a:r>
              <a:rPr kumimoji="0" lang="es-MX" sz="1600" b="1" i="0" u="none" strike="noStrike" kern="1200" cap="none" spc="0" normalizeH="0" baseline="0" noProof="0">
                <a:ln>
                  <a:noFill/>
                </a:ln>
                <a:solidFill>
                  <a:srgbClr val="007CB0"/>
                </a:solidFill>
                <a:effectLst/>
                <a:uLnTx/>
                <a:uFillTx/>
                <a:latin typeface="Calibri"/>
                <a:ea typeface="Microsoft YaHei" panose="020B0503020204020204" pitchFamily="34" charset="-122"/>
                <a:cs typeface="+mn-cs"/>
              </a:rPr>
              <a:t> 5</a:t>
            </a:r>
            <a:br>
              <a:rPr kumimoji="0" lang="es-MX" sz="2133" b="1" i="0" u="none" strike="noStrike" kern="1200" cap="none" spc="0" normalizeH="0" baseline="0" noProof="0">
                <a:ln>
                  <a:noFill/>
                </a:ln>
                <a:solidFill>
                  <a:srgbClr val="007CB0"/>
                </a:solidFill>
                <a:effectLst/>
                <a:uLnTx/>
                <a:uFillTx/>
                <a:latin typeface="Calibri"/>
                <a:ea typeface="Microsoft YaHei" panose="020B0503020204020204" pitchFamily="34" charset="-122"/>
                <a:cs typeface="+mn-cs"/>
              </a:rPr>
            </a:br>
            <a:endParaRPr kumimoji="0" lang="es-MX" sz="800" b="1" i="0" u="none" strike="noStrike" kern="1200" cap="none" spc="0" normalizeH="0" baseline="0" noProof="0">
              <a:ln>
                <a:noFill/>
              </a:ln>
              <a:solidFill>
                <a:srgbClr val="007CB0"/>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Proyecto de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vehículo</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autónomo</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por la Universidad Carnegie Mellon;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capacidad</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de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navegación</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y de controlar un automóvil en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situaciones</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reales</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a:t>
            </a:r>
          </a:p>
        </p:txBody>
      </p:sp>
      <p:sp>
        <p:nvSpPr>
          <p:cNvPr id="13" name="TextBox 12">
            <a:extLst>
              <a:ext uri="{FF2B5EF4-FFF2-40B4-BE49-F238E27FC236}">
                <a16:creationId xmlns:a16="http://schemas.microsoft.com/office/drawing/2014/main" id="{0FDC942B-1103-9919-9801-52642BA29717}"/>
              </a:ext>
            </a:extLst>
          </p:cNvPr>
          <p:cNvSpPr txBox="1"/>
          <p:nvPr/>
        </p:nvSpPr>
        <p:spPr>
          <a:xfrm>
            <a:off x="4060170" y="269718"/>
            <a:ext cx="1519510" cy="1835952"/>
          </a:xfrm>
          <a:prstGeom prst="rect">
            <a:avLst/>
          </a:prstGeom>
          <a:noFill/>
        </p:spPr>
        <p:txBody>
          <a:bodyPr wrap="square">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1997</a:t>
            </a: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a:ln>
                  <a:noFill/>
                </a:ln>
                <a:solidFill>
                  <a:srgbClr val="007CB0"/>
                </a:solidFill>
                <a:effectLst/>
                <a:uLnTx/>
                <a:uFillTx/>
                <a:latin typeface="Calibri"/>
                <a:ea typeface="Microsoft YaHei" panose="020B0503020204020204" pitchFamily="34" charset="-122"/>
                <a:cs typeface="+mn-cs"/>
              </a:rPr>
              <a:t>Deep Blue</a:t>
            </a:r>
          </a:p>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s-MX" sz="8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Supercomputadora</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desarrollada por IBM, especializada en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evaluar</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millones de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estrategias</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y movidas de ajedrez por segundo a nivel campeonato.</a:t>
            </a:r>
            <a:endParaRPr kumimoji="0" lang="es-MX" sz="2400" b="0" i="0" u="none" strike="noStrike" kern="1200" cap="none" spc="0" normalizeH="0" baseline="0" noProof="0">
              <a:ln>
                <a:noFill/>
              </a:ln>
              <a:solidFill>
                <a:srgbClr val="89C755"/>
              </a:solidFill>
              <a:effectLst/>
              <a:uLnTx/>
              <a:uFillTx/>
              <a:latin typeface="Calibri"/>
              <a:ea typeface="Microsoft YaHei" panose="020B0503020204020204" pitchFamily="34" charset="-122"/>
              <a:cs typeface="+mn-cs"/>
            </a:endParaRPr>
          </a:p>
        </p:txBody>
      </p:sp>
      <p:pic>
        <p:nvPicPr>
          <p:cNvPr id="2" name="Picture 2" descr="Turing Test: why it still matters">
            <a:extLst>
              <a:ext uri="{FF2B5EF4-FFF2-40B4-BE49-F238E27FC236}">
                <a16:creationId xmlns:a16="http://schemas.microsoft.com/office/drawing/2014/main" id="{4B3F0997-D600-2B8A-DB90-82EA34E0209C}"/>
              </a:ext>
            </a:extLst>
          </p:cNvPr>
          <p:cNvPicPr>
            <a:picLocks noChangeAspect="1" noChangeArrowheads="1"/>
          </p:cNvPicPr>
          <p:nvPr/>
        </p:nvPicPr>
        <p:blipFill>
          <a:blip r:embed="rId6" cstate="print"/>
          <a:srcRect/>
          <a:stretch>
            <a:fillRect/>
          </a:stretch>
        </p:blipFill>
        <p:spPr bwMode="auto">
          <a:xfrm>
            <a:off x="210011" y="640410"/>
            <a:ext cx="1024084" cy="1036573"/>
          </a:xfrm>
          <a:prstGeom prst="ellipse">
            <a:avLst/>
          </a:prstGeom>
          <a:noFill/>
          <a:ln w="76200">
            <a:solidFill>
              <a:srgbClr val="007CB0"/>
            </a:solidFill>
          </a:ln>
          <a:effectLst>
            <a:outerShdw blurRad="533400" dist="1066800" dir="5400000" sx="46000" sy="46000" algn="ctr" rotWithShape="0">
              <a:schemeClr val="tx1">
                <a:lumMod val="85000"/>
                <a:lumOff val="15000"/>
                <a:alpha val="91000"/>
              </a:schemeClr>
            </a:outerShdw>
            <a:softEdge rad="0"/>
          </a:effectLst>
        </p:spPr>
      </p:pic>
      <p:pic>
        <p:nvPicPr>
          <p:cNvPr id="1030" name="Picture 6" descr="De Eliza a INK">
            <a:extLst>
              <a:ext uri="{FF2B5EF4-FFF2-40B4-BE49-F238E27FC236}">
                <a16:creationId xmlns:a16="http://schemas.microsoft.com/office/drawing/2014/main" id="{7628FD65-94FC-5B3E-1110-826A90475BB2}"/>
              </a:ext>
            </a:extLst>
          </p:cNvPr>
          <p:cNvPicPr>
            <a:picLocks noChangeAspect="1" noChangeArrowheads="1"/>
          </p:cNvPicPr>
          <p:nvPr/>
        </p:nvPicPr>
        <p:blipFill>
          <a:blip r:embed="rId7"/>
          <a:srcRect/>
          <a:stretch>
            <a:fillRect/>
          </a:stretch>
        </p:blipFill>
        <p:spPr bwMode="auto">
          <a:xfrm>
            <a:off x="1450962" y="2945894"/>
            <a:ext cx="1033489" cy="1036800"/>
          </a:xfrm>
          <a:prstGeom prst="ellipse">
            <a:avLst/>
          </a:prstGeom>
          <a:noFill/>
          <a:ln w="76200">
            <a:solidFill>
              <a:srgbClr val="007CB0"/>
            </a:solidFill>
          </a:ln>
          <a:effectLst>
            <a:outerShdw blurRad="533400" dist="1066800" dir="5400000" sx="46000" sy="46000" algn="ctr" rotWithShape="0">
              <a:schemeClr val="tx1">
                <a:lumMod val="85000"/>
                <a:lumOff val="15000"/>
                <a:alpha val="91000"/>
              </a:schemeClr>
            </a:outerShdw>
            <a:softEdge rad="0"/>
          </a:effectLst>
        </p:spPr>
      </p:pic>
      <p:sp>
        <p:nvSpPr>
          <p:cNvPr id="63" name="Oval 62">
            <a:extLst>
              <a:ext uri="{FF2B5EF4-FFF2-40B4-BE49-F238E27FC236}">
                <a16:creationId xmlns:a16="http://schemas.microsoft.com/office/drawing/2014/main" id="{F87FB2CA-FF24-D0CF-C8FC-FD9119DE23AB}"/>
              </a:ext>
            </a:extLst>
          </p:cNvPr>
          <p:cNvSpPr/>
          <p:nvPr/>
        </p:nvSpPr>
        <p:spPr>
          <a:xfrm>
            <a:off x="630145" y="2248458"/>
            <a:ext cx="255587" cy="266700"/>
          </a:xfrm>
          <a:prstGeom prst="ellipse">
            <a:avLst/>
          </a:prstGeom>
          <a:solidFill>
            <a:srgbClr val="007CB0"/>
          </a:solidFill>
          <a:ln>
            <a:solidFill>
              <a:srgbClr val="007CB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024" name="Straight Connector 1023">
            <a:extLst>
              <a:ext uri="{FF2B5EF4-FFF2-40B4-BE49-F238E27FC236}">
                <a16:creationId xmlns:a16="http://schemas.microsoft.com/office/drawing/2014/main" id="{1A6EA1E9-3A67-BE67-6406-5736AC12CE58}"/>
              </a:ext>
            </a:extLst>
          </p:cNvPr>
          <p:cNvCxnSpPr>
            <a:cxnSpLocks/>
          </p:cNvCxnSpPr>
          <p:nvPr/>
        </p:nvCxnSpPr>
        <p:spPr>
          <a:xfrm flipV="1">
            <a:off x="764865" y="1653606"/>
            <a:ext cx="0" cy="599057"/>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1025" name="Oval 1024">
            <a:extLst>
              <a:ext uri="{FF2B5EF4-FFF2-40B4-BE49-F238E27FC236}">
                <a16:creationId xmlns:a16="http://schemas.microsoft.com/office/drawing/2014/main" id="{7D303523-FA54-9E7F-8ADF-9A5C2A6F96FF}"/>
              </a:ext>
            </a:extLst>
          </p:cNvPr>
          <p:cNvSpPr/>
          <p:nvPr/>
        </p:nvSpPr>
        <p:spPr>
          <a:xfrm>
            <a:off x="1930504" y="2238933"/>
            <a:ext cx="255587" cy="266700"/>
          </a:xfrm>
          <a:prstGeom prst="ellipse">
            <a:avLst/>
          </a:prstGeom>
          <a:solidFill>
            <a:srgbClr val="007CB0"/>
          </a:solidFill>
          <a:ln>
            <a:solidFill>
              <a:srgbClr val="007CB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027" name="Straight Connector 1026">
            <a:extLst>
              <a:ext uri="{FF2B5EF4-FFF2-40B4-BE49-F238E27FC236}">
                <a16:creationId xmlns:a16="http://schemas.microsoft.com/office/drawing/2014/main" id="{A1368689-CA66-5A69-492B-6D1D52B330E4}"/>
              </a:ext>
            </a:extLst>
          </p:cNvPr>
          <p:cNvCxnSpPr>
            <a:cxnSpLocks/>
          </p:cNvCxnSpPr>
          <p:nvPr/>
        </p:nvCxnSpPr>
        <p:spPr>
          <a:xfrm flipH="1" flipV="1">
            <a:off x="2042469" y="2489201"/>
            <a:ext cx="6350" cy="409575"/>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1029" name="Oval 1028">
            <a:extLst>
              <a:ext uri="{FF2B5EF4-FFF2-40B4-BE49-F238E27FC236}">
                <a16:creationId xmlns:a16="http://schemas.microsoft.com/office/drawing/2014/main" id="{8DE7CBBD-062C-F792-1FDE-E660B3E8B92F}"/>
              </a:ext>
            </a:extLst>
          </p:cNvPr>
          <p:cNvSpPr/>
          <p:nvPr/>
        </p:nvSpPr>
        <p:spPr>
          <a:xfrm>
            <a:off x="3161834" y="2238774"/>
            <a:ext cx="254000" cy="266700"/>
          </a:xfrm>
          <a:prstGeom prst="ellipse">
            <a:avLst/>
          </a:prstGeom>
          <a:solidFill>
            <a:srgbClr val="007CB0"/>
          </a:solidFill>
          <a:ln>
            <a:solidFill>
              <a:srgbClr val="007CB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031" name="Straight Connector 1030">
            <a:extLst>
              <a:ext uri="{FF2B5EF4-FFF2-40B4-BE49-F238E27FC236}">
                <a16:creationId xmlns:a16="http://schemas.microsoft.com/office/drawing/2014/main" id="{9CE20E8C-91B4-1C81-972F-B92BC0702ACC}"/>
              </a:ext>
            </a:extLst>
          </p:cNvPr>
          <p:cNvCxnSpPr>
            <a:cxnSpLocks/>
            <a:stCxn id="1029" idx="0"/>
            <a:endCxn id="1036" idx="4"/>
          </p:cNvCxnSpPr>
          <p:nvPr/>
        </p:nvCxnSpPr>
        <p:spPr>
          <a:xfrm flipH="1" flipV="1">
            <a:off x="3280262" y="1640582"/>
            <a:ext cx="8572" cy="598192"/>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1033" name="Oval 1032">
            <a:extLst>
              <a:ext uri="{FF2B5EF4-FFF2-40B4-BE49-F238E27FC236}">
                <a16:creationId xmlns:a16="http://schemas.microsoft.com/office/drawing/2014/main" id="{970A7986-8544-3B71-7DE4-440DC7FAB75C}"/>
              </a:ext>
            </a:extLst>
          </p:cNvPr>
          <p:cNvSpPr/>
          <p:nvPr/>
        </p:nvSpPr>
        <p:spPr>
          <a:xfrm>
            <a:off x="4442067" y="2180037"/>
            <a:ext cx="255588" cy="266700"/>
          </a:xfrm>
          <a:prstGeom prst="ellipse">
            <a:avLst/>
          </a:prstGeom>
          <a:solidFill>
            <a:srgbClr val="007CB0"/>
          </a:solidFill>
          <a:ln>
            <a:solidFill>
              <a:srgbClr val="007CB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035" name="Straight Connector 1034">
            <a:extLst>
              <a:ext uri="{FF2B5EF4-FFF2-40B4-BE49-F238E27FC236}">
                <a16:creationId xmlns:a16="http://schemas.microsoft.com/office/drawing/2014/main" id="{77D862E4-CBC5-D2A1-99B1-BF103BF63103}"/>
              </a:ext>
            </a:extLst>
          </p:cNvPr>
          <p:cNvCxnSpPr>
            <a:cxnSpLocks/>
          </p:cNvCxnSpPr>
          <p:nvPr/>
        </p:nvCxnSpPr>
        <p:spPr>
          <a:xfrm flipH="1" flipV="1">
            <a:off x="4564857" y="2437712"/>
            <a:ext cx="0" cy="36830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pic>
        <p:nvPicPr>
          <p:cNvPr id="1037" name="Picture 10" descr="AI : Kasparov vs Deep Blue: When AI came into the limelight | The Economic  Times">
            <a:extLst>
              <a:ext uri="{FF2B5EF4-FFF2-40B4-BE49-F238E27FC236}">
                <a16:creationId xmlns:a16="http://schemas.microsoft.com/office/drawing/2014/main" id="{D4D5CFD2-74F4-F07B-55F7-BB3B7786C435}"/>
              </a:ext>
            </a:extLst>
          </p:cNvPr>
          <p:cNvPicPr>
            <a:picLocks noChangeAspect="1" noChangeArrowheads="1"/>
          </p:cNvPicPr>
          <p:nvPr/>
        </p:nvPicPr>
        <p:blipFill>
          <a:blip r:embed="rId8" cstate="print"/>
          <a:srcRect/>
          <a:stretch>
            <a:fillRect/>
          </a:stretch>
        </p:blipFill>
        <p:spPr bwMode="auto">
          <a:xfrm>
            <a:off x="3956095" y="2890795"/>
            <a:ext cx="1043865" cy="1036800"/>
          </a:xfrm>
          <a:prstGeom prst="ellipse">
            <a:avLst/>
          </a:prstGeom>
          <a:noFill/>
          <a:ln w="76200">
            <a:solidFill>
              <a:srgbClr val="007CB0"/>
            </a:solidFill>
          </a:ln>
          <a:effectLst>
            <a:outerShdw blurRad="533400" dist="1066800" dir="5400000" sx="46000" sy="46000" algn="ctr" rotWithShape="0">
              <a:schemeClr val="tx1">
                <a:lumMod val="85000"/>
                <a:lumOff val="15000"/>
                <a:alpha val="91000"/>
              </a:schemeClr>
            </a:outerShdw>
            <a:softEdge rad="0"/>
          </a:effectLst>
        </p:spPr>
      </p:pic>
      <p:pic>
        <p:nvPicPr>
          <p:cNvPr id="1053" name="Picture 12" descr="Kismet - ROBOTS: Your Guide to the World of Robotics">
            <a:extLst>
              <a:ext uri="{FF2B5EF4-FFF2-40B4-BE49-F238E27FC236}">
                <a16:creationId xmlns:a16="http://schemas.microsoft.com/office/drawing/2014/main" id="{F64413E0-BECF-C7BE-3D66-6EC6479736D8}"/>
              </a:ext>
            </a:extLst>
          </p:cNvPr>
          <p:cNvPicPr>
            <a:picLocks noChangeAspect="1" noChangeArrowheads="1"/>
          </p:cNvPicPr>
          <p:nvPr/>
        </p:nvPicPr>
        <p:blipFill>
          <a:blip r:embed="rId9" cstate="print"/>
          <a:srcRect/>
          <a:stretch>
            <a:fillRect/>
          </a:stretch>
        </p:blipFill>
        <p:spPr bwMode="auto">
          <a:xfrm>
            <a:off x="5458154" y="607347"/>
            <a:ext cx="1106552" cy="1036800"/>
          </a:xfrm>
          <a:prstGeom prst="ellipse">
            <a:avLst/>
          </a:prstGeom>
          <a:noFill/>
          <a:ln w="76200">
            <a:solidFill>
              <a:srgbClr val="007CB0"/>
            </a:solidFill>
          </a:ln>
          <a:effectLst>
            <a:outerShdw blurRad="533400" dist="1066800" dir="5400000" sx="46000" sy="46000" algn="ctr" rotWithShape="0">
              <a:schemeClr val="tx1">
                <a:lumMod val="85000"/>
                <a:lumOff val="15000"/>
                <a:alpha val="91000"/>
              </a:schemeClr>
            </a:outerShdw>
            <a:softEdge rad="0"/>
          </a:effectLst>
        </p:spPr>
      </p:pic>
      <p:sp>
        <p:nvSpPr>
          <p:cNvPr id="1058" name="Oval 1057">
            <a:extLst>
              <a:ext uri="{FF2B5EF4-FFF2-40B4-BE49-F238E27FC236}">
                <a16:creationId xmlns:a16="http://schemas.microsoft.com/office/drawing/2014/main" id="{E391AB84-418F-378F-7293-8B1B757992E9}"/>
              </a:ext>
            </a:extLst>
          </p:cNvPr>
          <p:cNvSpPr/>
          <p:nvPr/>
        </p:nvSpPr>
        <p:spPr>
          <a:xfrm>
            <a:off x="5873431" y="2180037"/>
            <a:ext cx="255588" cy="266700"/>
          </a:xfrm>
          <a:prstGeom prst="ellipse">
            <a:avLst/>
          </a:prstGeom>
          <a:solidFill>
            <a:srgbClr val="007CB0"/>
          </a:solidFill>
          <a:ln>
            <a:solidFill>
              <a:srgbClr val="007CB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059" name="Straight Connector 1058">
            <a:extLst>
              <a:ext uri="{FF2B5EF4-FFF2-40B4-BE49-F238E27FC236}">
                <a16:creationId xmlns:a16="http://schemas.microsoft.com/office/drawing/2014/main" id="{3D0046A2-39E2-7D4F-156E-9D0E294C3A56}"/>
              </a:ext>
            </a:extLst>
          </p:cNvPr>
          <p:cNvCxnSpPr>
            <a:cxnSpLocks/>
            <a:stCxn id="1058" idx="0"/>
            <a:endCxn id="1053" idx="4"/>
          </p:cNvCxnSpPr>
          <p:nvPr/>
        </p:nvCxnSpPr>
        <p:spPr>
          <a:xfrm flipV="1">
            <a:off x="6001225" y="1644147"/>
            <a:ext cx="10205" cy="53589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1063" name="TextBox 1062">
            <a:extLst>
              <a:ext uri="{FF2B5EF4-FFF2-40B4-BE49-F238E27FC236}">
                <a16:creationId xmlns:a16="http://schemas.microsoft.com/office/drawing/2014/main" id="{9801EFAD-2096-D40F-46FA-DFAA9EDEBC0B}"/>
              </a:ext>
            </a:extLst>
          </p:cNvPr>
          <p:cNvSpPr txBox="1"/>
          <p:nvPr/>
        </p:nvSpPr>
        <p:spPr>
          <a:xfrm>
            <a:off x="5181146" y="2701767"/>
            <a:ext cx="1702215" cy="1825628"/>
          </a:xfrm>
          <a:prstGeom prst="rect">
            <a:avLst/>
          </a:prstGeom>
          <a:noFill/>
        </p:spPr>
        <p:txBody>
          <a:bodyPr wrap="square">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1998</a:t>
            </a: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a:ln>
                  <a:noFill/>
                </a:ln>
                <a:solidFill>
                  <a:srgbClr val="007CB0"/>
                </a:solidFill>
                <a:effectLst/>
                <a:uLnTx/>
                <a:uFillTx/>
                <a:latin typeface="Calibri"/>
                <a:ea typeface="Microsoft YaHei" panose="020B0503020204020204" pitchFamily="34" charset="-122"/>
                <a:cs typeface="+mn-cs"/>
              </a:rPr>
              <a:t>KISMET</a:t>
            </a:r>
          </a:p>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s-MX" sz="7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Robot</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desarrollado en el MIT para una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comunicación</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más humana, a través de la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interacción social y</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la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percepción</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de emociones humanas (expresiones faciales y tono de voz).</a:t>
            </a:r>
          </a:p>
        </p:txBody>
      </p:sp>
      <p:sp>
        <p:nvSpPr>
          <p:cNvPr id="22" name="Oval 21">
            <a:extLst>
              <a:ext uri="{FF2B5EF4-FFF2-40B4-BE49-F238E27FC236}">
                <a16:creationId xmlns:a16="http://schemas.microsoft.com/office/drawing/2014/main" id="{48DB92B2-E470-A047-CD70-BA8E929E3BBE}"/>
              </a:ext>
            </a:extLst>
          </p:cNvPr>
          <p:cNvSpPr/>
          <p:nvPr/>
        </p:nvSpPr>
        <p:spPr>
          <a:xfrm>
            <a:off x="7256804" y="2234171"/>
            <a:ext cx="254000" cy="266700"/>
          </a:xfrm>
          <a:prstGeom prst="ellipse">
            <a:avLst/>
          </a:prstGeom>
          <a:solidFill>
            <a:srgbClr val="007CB0"/>
          </a:solidFill>
          <a:ln>
            <a:solidFill>
              <a:srgbClr val="007CB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479481B4-578B-D89D-C207-E585D343AFD3}"/>
              </a:ext>
            </a:extLst>
          </p:cNvPr>
          <p:cNvSpPr txBox="1"/>
          <p:nvPr/>
        </p:nvSpPr>
        <p:spPr>
          <a:xfrm>
            <a:off x="6751048" y="293794"/>
            <a:ext cx="1227727" cy="1955920"/>
          </a:xfrm>
          <a:prstGeom prst="rect">
            <a:avLst/>
          </a:prstGeom>
          <a:noFill/>
        </p:spPr>
        <p:txBody>
          <a:bodyPr wrap="square">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2011</a:t>
            </a: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133" b="1" i="0" u="none" strike="noStrike" kern="1200" cap="none" spc="0" normalizeH="0" baseline="0" noProof="0">
                <a:ln>
                  <a:noFill/>
                </a:ln>
                <a:solidFill>
                  <a:srgbClr val="007CB0"/>
                </a:solidFill>
                <a:effectLst/>
                <a:uLnTx/>
                <a:uFillTx/>
                <a:latin typeface="Calibri"/>
                <a:ea typeface="Microsoft YaHei" panose="020B0503020204020204" pitchFamily="34" charset="-122"/>
                <a:cs typeface="+mn-cs"/>
              </a:rPr>
              <a:t>Siri</a:t>
            </a:r>
          </a:p>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s-MX" sz="1067"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93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Asistente digital </a:t>
            </a:r>
            <a:r>
              <a:rPr kumimoji="0" lang="es-MX" sz="930"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inteligente desarrollado por Apple; realiza acciones dentro de la interfaz a través de la voz.</a:t>
            </a:r>
          </a:p>
        </p:txBody>
      </p:sp>
      <p:pic>
        <p:nvPicPr>
          <p:cNvPr id="24" name="Picture 4" descr="Siri usage and engagement dropped since last year, as Alexa and Cortana  grew | TechCrunch">
            <a:extLst>
              <a:ext uri="{FF2B5EF4-FFF2-40B4-BE49-F238E27FC236}">
                <a16:creationId xmlns:a16="http://schemas.microsoft.com/office/drawing/2014/main" id="{AF1F1295-A9B7-A357-97A6-A00B7CF8D38F}"/>
              </a:ext>
            </a:extLst>
          </p:cNvPr>
          <p:cNvPicPr>
            <a:picLocks noChangeAspect="1" noChangeArrowheads="1"/>
          </p:cNvPicPr>
          <p:nvPr/>
        </p:nvPicPr>
        <p:blipFill>
          <a:blip r:embed="rId10" cstate="print"/>
          <a:srcRect/>
          <a:stretch>
            <a:fillRect/>
          </a:stretch>
        </p:blipFill>
        <p:spPr bwMode="auto">
          <a:xfrm>
            <a:off x="6821623" y="2890795"/>
            <a:ext cx="1009789" cy="1036800"/>
          </a:xfrm>
          <a:prstGeom prst="ellipse">
            <a:avLst/>
          </a:prstGeom>
          <a:noFill/>
          <a:ln w="76200">
            <a:solidFill>
              <a:srgbClr val="007CB0"/>
            </a:solidFill>
          </a:ln>
          <a:effectLst>
            <a:outerShdw blurRad="533400" dist="1066800" dir="5400000" sx="46000" sy="46000" algn="ctr" rotWithShape="0">
              <a:schemeClr val="tx1">
                <a:lumMod val="85000"/>
                <a:lumOff val="15000"/>
                <a:alpha val="91000"/>
              </a:schemeClr>
            </a:outerShdw>
            <a:softEdge rad="0"/>
          </a:effectLst>
        </p:spPr>
      </p:pic>
      <p:cxnSp>
        <p:nvCxnSpPr>
          <p:cNvPr id="31" name="Straight Connector 30">
            <a:extLst>
              <a:ext uri="{FF2B5EF4-FFF2-40B4-BE49-F238E27FC236}">
                <a16:creationId xmlns:a16="http://schemas.microsoft.com/office/drawing/2014/main" id="{3B2E141B-2ED8-AFE1-C9E7-FD27C2182321}"/>
              </a:ext>
            </a:extLst>
          </p:cNvPr>
          <p:cNvCxnSpPr>
            <a:cxnSpLocks/>
          </p:cNvCxnSpPr>
          <p:nvPr/>
        </p:nvCxnSpPr>
        <p:spPr>
          <a:xfrm flipH="1" flipV="1">
            <a:off x="7383804" y="2439459"/>
            <a:ext cx="0" cy="36830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F759ECFF-8899-7E96-6563-C58BE0CF9476}"/>
              </a:ext>
            </a:extLst>
          </p:cNvPr>
          <p:cNvSpPr/>
          <p:nvPr/>
        </p:nvSpPr>
        <p:spPr>
          <a:xfrm>
            <a:off x="8321113" y="2210342"/>
            <a:ext cx="255588" cy="266700"/>
          </a:xfrm>
          <a:prstGeom prst="ellipse">
            <a:avLst/>
          </a:prstGeom>
          <a:solidFill>
            <a:srgbClr val="007CB0"/>
          </a:solidFill>
          <a:ln>
            <a:solidFill>
              <a:srgbClr val="007CB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9881804C-EF43-871F-F0A2-34483D50702E}"/>
              </a:ext>
            </a:extLst>
          </p:cNvPr>
          <p:cNvSpPr txBox="1"/>
          <p:nvPr/>
        </p:nvSpPr>
        <p:spPr>
          <a:xfrm>
            <a:off x="7914715" y="2771648"/>
            <a:ext cx="1557174" cy="1712841"/>
          </a:xfrm>
          <a:prstGeom prst="rect">
            <a:avLst/>
          </a:prstGeom>
          <a:noFill/>
        </p:spPr>
        <p:txBody>
          <a:bodyPr wrap="square">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2014</a:t>
            </a: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133" b="1" i="0" u="none" strike="noStrike" kern="1200" cap="none" spc="0" normalizeH="0" baseline="0" noProof="0">
                <a:ln>
                  <a:noFill/>
                </a:ln>
                <a:solidFill>
                  <a:srgbClr val="007CB0"/>
                </a:solidFill>
                <a:effectLst/>
                <a:uLnTx/>
                <a:uFillTx/>
                <a:latin typeface="Calibri"/>
                <a:ea typeface="Microsoft YaHei" panose="020B0503020204020204" pitchFamily="34" charset="-122"/>
                <a:cs typeface="+mn-cs"/>
              </a:rPr>
              <a:t>Eugene</a:t>
            </a:r>
          </a:p>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933" b="1" i="0" u="none" strike="noStrike" kern="1200" cap="none" spc="0" normalizeH="0" baseline="0" noProof="0" err="1">
                <a:ln>
                  <a:noFill/>
                </a:ln>
                <a:solidFill>
                  <a:prstClr val="white"/>
                </a:solidFill>
                <a:effectLst/>
                <a:uLnTx/>
                <a:uFillTx/>
                <a:latin typeface="Calibri"/>
                <a:ea typeface="Microsoft YaHei" panose="020B0503020204020204" pitchFamily="34" charset="-122"/>
                <a:cs typeface="+mn-cs"/>
              </a:rPr>
              <a:t>Chatbot</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capaz de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pasar</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la prueba Turing</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el tercio del jurado creyó que se trataba de un humano.</a:t>
            </a:r>
            <a:endParaRPr kumimoji="0" lang="es-MX" sz="933" b="0" i="0" u="none" strike="noStrike" kern="1200" cap="none" spc="0" normalizeH="0" baseline="0" noProof="0">
              <a:ln>
                <a:noFill/>
              </a:ln>
              <a:solidFill>
                <a:srgbClr val="FF0000"/>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prstClr val="black"/>
              </a:solidFill>
              <a:effectLst/>
              <a:uLnTx/>
              <a:uFillTx/>
              <a:latin typeface="Calibri"/>
              <a:ea typeface="+mn-ea"/>
              <a:cs typeface="+mn-cs"/>
            </a:endParaRPr>
          </a:p>
        </p:txBody>
      </p:sp>
      <p:sp>
        <p:nvSpPr>
          <p:cNvPr id="38" name="Oval 37">
            <a:extLst>
              <a:ext uri="{FF2B5EF4-FFF2-40B4-BE49-F238E27FC236}">
                <a16:creationId xmlns:a16="http://schemas.microsoft.com/office/drawing/2014/main" id="{AF02118B-BF93-BF3D-6CD8-72EE25252976}"/>
              </a:ext>
            </a:extLst>
          </p:cNvPr>
          <p:cNvSpPr/>
          <p:nvPr/>
        </p:nvSpPr>
        <p:spPr>
          <a:xfrm>
            <a:off x="9772923" y="2205093"/>
            <a:ext cx="255588" cy="266700"/>
          </a:xfrm>
          <a:prstGeom prst="ellipse">
            <a:avLst/>
          </a:prstGeom>
          <a:solidFill>
            <a:srgbClr val="007CB0"/>
          </a:solidFill>
          <a:ln>
            <a:solidFill>
              <a:srgbClr val="007CB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7ADEF284-4D62-6856-70C3-88920EE9378B}"/>
              </a:ext>
            </a:extLst>
          </p:cNvPr>
          <p:cNvSpPr txBox="1"/>
          <p:nvPr/>
        </p:nvSpPr>
        <p:spPr>
          <a:xfrm>
            <a:off x="9215020" y="333033"/>
            <a:ext cx="1568303" cy="1794850"/>
          </a:xfrm>
          <a:prstGeom prst="rect">
            <a:avLst/>
          </a:prstGeom>
          <a:noFill/>
        </p:spPr>
        <p:txBody>
          <a:bodyPr wrap="square">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2017</a:t>
            </a: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133" b="1" i="0" u="none" strike="noStrike" kern="1200" cap="none" spc="0" normalizeH="0" baseline="0" noProof="0" err="1">
                <a:ln>
                  <a:noFill/>
                </a:ln>
                <a:solidFill>
                  <a:srgbClr val="007CB0"/>
                </a:solidFill>
                <a:effectLst/>
                <a:uLnTx/>
                <a:uFillTx/>
                <a:latin typeface="Calibri"/>
                <a:ea typeface="Microsoft YaHei" panose="020B0503020204020204" pitchFamily="34" charset="-122"/>
                <a:cs typeface="+mn-cs"/>
              </a:rPr>
              <a:t>AlphaGo</a:t>
            </a:r>
            <a:endParaRPr kumimoji="0" lang="es-MX" sz="2133" b="1" i="0" u="none" strike="noStrike" kern="1200" cap="none" spc="0" normalizeH="0" baseline="0" noProof="0">
              <a:ln>
                <a:noFill/>
              </a:ln>
              <a:solidFill>
                <a:srgbClr val="007CB0"/>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Programa</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dedicado al juego de mesa </a:t>
            </a:r>
            <a:r>
              <a:rPr kumimoji="0" lang="es-MX" sz="933" b="1" i="0" u="none" strike="noStrike" kern="1200" cap="none" spc="0" normalizeH="0" baseline="0" noProof="0" err="1">
                <a:ln>
                  <a:noFill/>
                </a:ln>
                <a:solidFill>
                  <a:prstClr val="white"/>
                </a:solidFill>
                <a:effectLst/>
                <a:uLnTx/>
                <a:uFillTx/>
                <a:latin typeface="Calibri"/>
                <a:ea typeface="Microsoft YaHei" panose="020B0503020204020204" pitchFamily="34" charset="-122"/>
                <a:cs typeface="+mn-cs"/>
              </a:rPr>
              <a:t>Go</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desarrollado por </a:t>
            </a:r>
            <a:r>
              <a:rPr kumimoji="0" lang="es-MX" sz="933" b="0" i="0" u="none" strike="noStrike" kern="1200" cap="none" spc="0" normalizeH="0" baseline="0" noProof="0" err="1">
                <a:ln>
                  <a:noFill/>
                </a:ln>
                <a:solidFill>
                  <a:prstClr val="white"/>
                </a:solidFill>
                <a:effectLst/>
                <a:uLnTx/>
                <a:uFillTx/>
                <a:latin typeface="Calibri"/>
                <a:ea typeface="Microsoft YaHei" panose="020B0503020204020204" pitchFamily="34" charset="-122"/>
                <a:cs typeface="+mn-cs"/>
              </a:rPr>
              <a:t>DeepMind</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Technologies.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Venció</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a jugador </a:t>
            </a:r>
            <a:r>
              <a:rPr kumimoji="0" lang="es-MX" sz="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profesional</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sin </a:t>
            </a:r>
            <a:r>
              <a:rPr kumimoji="0" lang="es-MX" sz="933" b="0" i="0" u="none" strike="noStrike" kern="1200" cap="none" spc="0" normalizeH="0" baseline="0" noProof="0" err="1">
                <a:ln>
                  <a:noFill/>
                </a:ln>
                <a:solidFill>
                  <a:prstClr val="white"/>
                </a:solidFill>
                <a:effectLst/>
                <a:uLnTx/>
                <a:uFillTx/>
                <a:latin typeface="Calibri"/>
                <a:ea typeface="Microsoft YaHei" panose="020B0503020204020204" pitchFamily="34" charset="-122"/>
                <a:cs typeface="+mn-cs"/>
              </a:rPr>
              <a:t>handicap</a:t>
            </a:r>
            <a:r>
              <a:rPr kumimoji="0" lang="es-MX" sz="933"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en un tablero de 19×19.</a:t>
            </a:r>
          </a:p>
        </p:txBody>
      </p:sp>
      <p:pic>
        <p:nvPicPr>
          <p:cNvPr id="41" name="Picture 10" descr="Google Alphago Logo PNG vector in SVG, PDF, AI, CDR format">
            <a:extLst>
              <a:ext uri="{FF2B5EF4-FFF2-40B4-BE49-F238E27FC236}">
                <a16:creationId xmlns:a16="http://schemas.microsoft.com/office/drawing/2014/main" id="{37D081BB-97EE-7A7B-E974-659AE16C20B1}"/>
              </a:ext>
            </a:extLst>
          </p:cNvPr>
          <p:cNvPicPr>
            <a:picLocks noChangeAspect="1" noChangeArrowheads="1"/>
          </p:cNvPicPr>
          <p:nvPr/>
        </p:nvPicPr>
        <p:blipFill>
          <a:blip r:embed="rId11" cstate="print"/>
          <a:srcRect/>
          <a:stretch>
            <a:fillRect/>
          </a:stretch>
        </p:blipFill>
        <p:spPr bwMode="auto">
          <a:xfrm>
            <a:off x="9385839" y="2876581"/>
            <a:ext cx="990558" cy="1036800"/>
          </a:xfrm>
          <a:prstGeom prst="ellipse">
            <a:avLst/>
          </a:prstGeom>
          <a:noFill/>
          <a:ln w="76200">
            <a:solidFill>
              <a:srgbClr val="007CB0"/>
            </a:solidFill>
          </a:ln>
          <a:effectLst>
            <a:outerShdw blurRad="533400" dist="1066800" dir="5400000" sx="46000" sy="46000" algn="ctr" rotWithShape="0">
              <a:schemeClr val="tx1">
                <a:lumMod val="85000"/>
                <a:lumOff val="15000"/>
                <a:alpha val="91000"/>
              </a:schemeClr>
            </a:outerShdw>
            <a:softEdge rad="0"/>
          </a:effectLst>
        </p:spPr>
      </p:pic>
      <p:cxnSp>
        <p:nvCxnSpPr>
          <p:cNvPr id="43" name="Straight Connector 42">
            <a:extLst>
              <a:ext uri="{FF2B5EF4-FFF2-40B4-BE49-F238E27FC236}">
                <a16:creationId xmlns:a16="http://schemas.microsoft.com/office/drawing/2014/main" id="{06859E4C-30F4-6D25-CB4E-9E7E6FB6AC06}"/>
              </a:ext>
            </a:extLst>
          </p:cNvPr>
          <p:cNvCxnSpPr>
            <a:cxnSpLocks/>
          </p:cNvCxnSpPr>
          <p:nvPr/>
        </p:nvCxnSpPr>
        <p:spPr>
          <a:xfrm flipH="1" flipV="1">
            <a:off x="9898490" y="2439459"/>
            <a:ext cx="0" cy="36830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4CFCB1C-B4A5-9698-F97C-412C009083D1}"/>
              </a:ext>
            </a:extLst>
          </p:cNvPr>
          <p:cNvSpPr txBox="1"/>
          <p:nvPr/>
        </p:nvSpPr>
        <p:spPr>
          <a:xfrm>
            <a:off x="10681082" y="2681767"/>
            <a:ext cx="1485518" cy="1877437"/>
          </a:xfrm>
          <a:prstGeom prst="rect">
            <a:avLst/>
          </a:prstGeom>
          <a:noFill/>
        </p:spPr>
        <p:txBody>
          <a:bodyPr wrap="square">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2018</a:t>
            </a:r>
            <a:endParaRPr kumimoji="0" lang="es-MX" sz="2933"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0" normalizeH="0" baseline="0" noProof="0">
                <a:ln>
                  <a:noFill/>
                </a:ln>
                <a:solidFill>
                  <a:srgbClr val="0097A9"/>
                </a:solidFill>
                <a:effectLst/>
                <a:uLnTx/>
                <a:uFillTx/>
                <a:latin typeface="Calibri"/>
                <a:ea typeface="Microsoft YaHei" panose="020B0503020204020204" pitchFamily="34" charset="-122"/>
                <a:cs typeface="+mn-cs"/>
              </a:rPr>
              <a:t>GPT</a:t>
            </a:r>
            <a:endParaRPr kumimoji="0" lang="es-MX" sz="2133" b="1" i="0" u="none" strike="noStrike" kern="1200" cap="none" spc="0" normalizeH="0" baseline="0" noProof="0">
              <a:ln>
                <a:noFill/>
              </a:ln>
              <a:solidFill>
                <a:srgbClr val="0097A9"/>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9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Primera versión GPT-1 </a:t>
            </a:r>
            <a:r>
              <a:rPr kumimoji="0" lang="es-MX" sz="900"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a:t>
            </a:r>
            <a:r>
              <a:rPr kumimoji="0" lang="es-MX" sz="900" b="0" i="0" u="none" strike="noStrike" kern="1200" cap="none" spc="0" normalizeH="0" baseline="0" noProof="0" err="1">
                <a:ln>
                  <a:noFill/>
                </a:ln>
                <a:solidFill>
                  <a:prstClr val="white"/>
                </a:solidFill>
                <a:effectLst/>
                <a:uLnTx/>
                <a:uFillTx/>
                <a:latin typeface="Calibri"/>
                <a:ea typeface="Microsoft YaHei" panose="020B0503020204020204" pitchFamily="34" charset="-122"/>
                <a:cs typeface="+mn-cs"/>
              </a:rPr>
              <a:t>Genertive</a:t>
            </a:r>
            <a:r>
              <a:rPr kumimoji="0" lang="es-MX" sz="900"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a:t>
            </a:r>
            <a:r>
              <a:rPr kumimoji="0" lang="es-MX" sz="900" b="0" i="0" u="none" strike="noStrike" kern="1200" cap="none" spc="0" normalizeH="0" baseline="0" noProof="0" err="1">
                <a:ln>
                  <a:noFill/>
                </a:ln>
                <a:solidFill>
                  <a:prstClr val="white"/>
                </a:solidFill>
                <a:effectLst/>
                <a:uLnTx/>
                <a:uFillTx/>
                <a:latin typeface="Calibri"/>
                <a:ea typeface="Microsoft YaHei" panose="020B0503020204020204" pitchFamily="34" charset="-122"/>
                <a:cs typeface="+mn-cs"/>
              </a:rPr>
              <a:t>Pre-trained</a:t>
            </a:r>
            <a:r>
              <a:rPr kumimoji="0" lang="es-MX" sz="900"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a:t>
            </a:r>
            <a:r>
              <a:rPr kumimoji="0" lang="es-MX" sz="900" b="0" i="0" u="none" strike="noStrike" kern="1200" cap="none" spc="0" normalizeH="0" baseline="0" noProof="0" err="1">
                <a:ln>
                  <a:noFill/>
                </a:ln>
                <a:solidFill>
                  <a:prstClr val="white"/>
                </a:solidFill>
                <a:effectLst/>
                <a:uLnTx/>
                <a:uFillTx/>
                <a:latin typeface="Calibri"/>
                <a:ea typeface="Microsoft YaHei" panose="020B0503020204020204" pitchFamily="34" charset="-122"/>
                <a:cs typeface="+mn-cs"/>
              </a:rPr>
              <a:t>transforemers</a:t>
            </a:r>
            <a:r>
              <a:rPr kumimoji="0" lang="es-MX" sz="900"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 capaz de </a:t>
            </a:r>
            <a:r>
              <a:rPr kumimoji="0" lang="es-MX" sz="9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crear textos </a:t>
            </a:r>
            <a:r>
              <a:rPr kumimoji="0" lang="es-MX" sz="900" b="0"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fluidos y coherentes similares a los humanos debido a la lectura de libros y páginas web. </a:t>
            </a:r>
          </a:p>
        </p:txBody>
      </p:sp>
      <p:cxnSp>
        <p:nvCxnSpPr>
          <p:cNvPr id="34" name="Straight Connector 33">
            <a:extLst>
              <a:ext uri="{FF2B5EF4-FFF2-40B4-BE49-F238E27FC236}">
                <a16:creationId xmlns:a16="http://schemas.microsoft.com/office/drawing/2014/main" id="{2A78B0B1-A0EF-87E6-8EF8-B03422801EBE}"/>
              </a:ext>
            </a:extLst>
          </p:cNvPr>
          <p:cNvCxnSpPr>
            <a:cxnSpLocks/>
            <a:endCxn id="16" idx="4"/>
          </p:cNvCxnSpPr>
          <p:nvPr/>
        </p:nvCxnSpPr>
        <p:spPr>
          <a:xfrm flipV="1">
            <a:off x="11427992" y="1626126"/>
            <a:ext cx="1160" cy="699562"/>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3A1B1144-C585-1DFE-3F3C-DE21B4B1160A}"/>
              </a:ext>
            </a:extLst>
          </p:cNvPr>
          <p:cNvSpPr/>
          <p:nvPr/>
        </p:nvSpPr>
        <p:spPr>
          <a:xfrm>
            <a:off x="11296047" y="2205093"/>
            <a:ext cx="255588" cy="266700"/>
          </a:xfrm>
          <a:prstGeom prst="ellipse">
            <a:avLst/>
          </a:prstGeom>
          <a:solidFill>
            <a:srgbClr val="007CB0"/>
          </a:solidFill>
          <a:ln>
            <a:solidFill>
              <a:srgbClr val="007CB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6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14" descr="ChatGPT - Wikipedia">
            <a:extLst>
              <a:ext uri="{FF2B5EF4-FFF2-40B4-BE49-F238E27FC236}">
                <a16:creationId xmlns:a16="http://schemas.microsoft.com/office/drawing/2014/main" id="{68AA22E0-A361-1C3D-9DFB-B54875459AA3}"/>
              </a:ext>
            </a:extLst>
          </p:cNvPr>
          <p:cNvPicPr>
            <a:picLocks noChangeAspect="1" noChangeArrowheads="1"/>
          </p:cNvPicPr>
          <p:nvPr/>
        </p:nvPicPr>
        <p:blipFill>
          <a:blip r:embed="rId12" cstate="print"/>
          <a:srcRect/>
          <a:stretch>
            <a:fillRect/>
          </a:stretch>
        </p:blipFill>
        <p:spPr bwMode="auto">
          <a:xfrm>
            <a:off x="5670231" y="5222235"/>
            <a:ext cx="1118093" cy="1118093"/>
          </a:xfrm>
          <a:prstGeom prst="ellipse">
            <a:avLst/>
          </a:prstGeom>
          <a:noFill/>
          <a:ln w="76200">
            <a:solidFill>
              <a:schemeClr val="accent1"/>
            </a:solidFill>
          </a:ln>
          <a:effectLst>
            <a:outerShdw blurRad="533400" dist="1066800" dir="5400000" sx="46000" sy="46000" algn="ctr" rotWithShape="0">
              <a:schemeClr val="tx1">
                <a:lumMod val="85000"/>
                <a:lumOff val="15000"/>
                <a:alpha val="91000"/>
              </a:schemeClr>
            </a:outerShdw>
            <a:softEdge rad="0"/>
          </a:effectLst>
        </p:spPr>
      </p:pic>
      <p:sp>
        <p:nvSpPr>
          <p:cNvPr id="5" name="TextBox 4">
            <a:extLst>
              <a:ext uri="{FF2B5EF4-FFF2-40B4-BE49-F238E27FC236}">
                <a16:creationId xmlns:a16="http://schemas.microsoft.com/office/drawing/2014/main" id="{6C946AC6-8931-0131-3116-62BE10B19900}"/>
              </a:ext>
            </a:extLst>
          </p:cNvPr>
          <p:cNvSpPr txBox="1"/>
          <p:nvPr/>
        </p:nvSpPr>
        <p:spPr>
          <a:xfrm>
            <a:off x="2924948" y="5450521"/>
            <a:ext cx="3086482" cy="892552"/>
          </a:xfrm>
          <a:prstGeom prst="rect">
            <a:avLst/>
          </a:prstGeom>
          <a:noFill/>
        </p:spPr>
        <p:txBody>
          <a:bodyPr wrap="square">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endParaRPr kumimoji="0" lang="es-MX" sz="28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endParaRPr>
          </a:p>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2400" b="1" i="0" u="none" strike="noStrike" kern="1200" cap="none" spc="0" normalizeH="0" baseline="0" noProof="0">
                <a:ln>
                  <a:noFill/>
                </a:ln>
                <a:solidFill>
                  <a:srgbClr val="0097A9"/>
                </a:solidFill>
                <a:effectLst/>
                <a:uLnTx/>
                <a:uFillTx/>
                <a:latin typeface="Calibri"/>
                <a:ea typeface="Microsoft YaHei" panose="020B0503020204020204" pitchFamily="34" charset="-122"/>
                <a:cs typeface="+mn-cs"/>
              </a:rPr>
              <a:t>Lo más reciente</a:t>
            </a:r>
            <a:endParaRPr kumimoji="0" lang="es-MX" sz="1000" b="0" i="0" u="none" strike="noStrike" kern="1200" cap="none" spc="0" normalizeH="0" baseline="0" noProof="0">
              <a:ln>
                <a:noFill/>
              </a:ln>
              <a:solidFill>
                <a:srgbClr val="0097A9"/>
              </a:solidFill>
              <a:effectLst/>
              <a:uLnTx/>
              <a:uFillTx/>
              <a:latin typeface="Calibri"/>
              <a:ea typeface="Microsoft YaHei" panose="020B0503020204020204" pitchFamily="34" charset="-122"/>
              <a:cs typeface="+mn-cs"/>
            </a:endParaRPr>
          </a:p>
        </p:txBody>
      </p:sp>
      <p:pic>
        <p:nvPicPr>
          <p:cNvPr id="6" name="Picture 20" descr="DALL-E: Redefining Art with AI">
            <a:extLst>
              <a:ext uri="{FF2B5EF4-FFF2-40B4-BE49-F238E27FC236}">
                <a16:creationId xmlns:a16="http://schemas.microsoft.com/office/drawing/2014/main" id="{AD78DE11-0EAE-DEED-76CA-7F470CAA0EF6}"/>
              </a:ext>
            </a:extLst>
          </p:cNvPr>
          <p:cNvPicPr>
            <a:picLocks noChangeAspect="1" noChangeArrowheads="1"/>
          </p:cNvPicPr>
          <p:nvPr/>
        </p:nvPicPr>
        <p:blipFill>
          <a:blip r:embed="rId13" cstate="print"/>
          <a:srcRect/>
          <a:stretch>
            <a:fillRect/>
          </a:stretch>
        </p:blipFill>
        <p:spPr bwMode="auto">
          <a:xfrm>
            <a:off x="7573652" y="5222235"/>
            <a:ext cx="1128998" cy="1133306"/>
          </a:xfrm>
          <a:prstGeom prst="ellipse">
            <a:avLst/>
          </a:prstGeom>
          <a:noFill/>
          <a:ln w="76200">
            <a:solidFill>
              <a:schemeClr val="accent1"/>
            </a:solidFill>
          </a:ln>
          <a:effectLst>
            <a:outerShdw blurRad="533400" dist="1066800" dir="5400000" sx="46000" sy="46000" algn="ctr" rotWithShape="0">
              <a:schemeClr val="tx1">
                <a:lumMod val="85000"/>
                <a:lumOff val="15000"/>
                <a:alpha val="91000"/>
              </a:schemeClr>
            </a:outerShdw>
            <a:softEdge rad="0"/>
          </a:effectLst>
        </p:spPr>
      </p:pic>
      <p:sp>
        <p:nvSpPr>
          <p:cNvPr id="7" name="TextBox 6">
            <a:extLst>
              <a:ext uri="{FF2B5EF4-FFF2-40B4-BE49-F238E27FC236}">
                <a16:creationId xmlns:a16="http://schemas.microsoft.com/office/drawing/2014/main" id="{69D9FD2C-01C1-0FE3-75B8-A522A602646A}"/>
              </a:ext>
            </a:extLst>
          </p:cNvPr>
          <p:cNvSpPr txBox="1"/>
          <p:nvPr/>
        </p:nvSpPr>
        <p:spPr>
          <a:xfrm>
            <a:off x="2912329" y="5343147"/>
            <a:ext cx="2185987" cy="646331"/>
          </a:xfrm>
          <a:prstGeom prst="rect">
            <a:avLst/>
          </a:prstGeom>
          <a:noFill/>
        </p:spPr>
        <p:txBody>
          <a:bodyPr>
            <a:spAutoFit/>
          </a:bodyPr>
          <a:lstStyle/>
          <a:p>
            <a:pPr marL="0" marR="0" lvl="0" indent="0" algn="l" defTabSz="60966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rPr>
              <a:t>2022</a:t>
            </a:r>
            <a:endParaRPr kumimoji="0" lang="es-MX" sz="2667" b="1" i="0" u="none" strike="noStrike" kern="1200" cap="none" spc="0" normalizeH="0" baseline="0" noProof="0">
              <a:ln>
                <a:noFill/>
              </a:ln>
              <a:solidFill>
                <a:prstClr val="white"/>
              </a:solidFill>
              <a:effectLst/>
              <a:uLnTx/>
              <a:uFillTx/>
              <a:latin typeface="Calibri"/>
              <a:ea typeface="Microsoft YaHei" panose="020B0503020204020204" pitchFamily="34" charset="-122"/>
              <a:cs typeface="+mn-cs"/>
            </a:endParaRPr>
          </a:p>
        </p:txBody>
      </p:sp>
    </p:spTree>
    <p:extLst>
      <p:ext uri="{BB962C8B-B14F-4D97-AF65-F5344CB8AC3E}">
        <p14:creationId xmlns:p14="http://schemas.microsoft.com/office/powerpoint/2010/main" val="1183018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pic>
        <p:nvPicPr>
          <p:cNvPr id="2050" name="Picture 2" descr="Gratis Fotos de stock gratuitas de dedo, fondo azul, futurista Foto de stock">
            <a:extLst>
              <a:ext uri="{FF2B5EF4-FFF2-40B4-BE49-F238E27FC236}">
                <a16:creationId xmlns:a16="http://schemas.microsoft.com/office/drawing/2014/main" id="{041B629B-89DC-6A9D-E4E4-1FDC5D04276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305" t="-4815" r="10664"/>
          <a:stretch/>
        </p:blipFill>
        <p:spPr bwMode="auto">
          <a:xfrm>
            <a:off x="5740401" y="-330200"/>
            <a:ext cx="6451600" cy="71882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7"/>
          <p:cNvSpPr txBox="1"/>
          <p:nvPr/>
        </p:nvSpPr>
        <p:spPr>
          <a:xfrm>
            <a:off x="924066" y="2574450"/>
            <a:ext cx="4353988" cy="772006"/>
          </a:xfrm>
          <a:prstGeom prst="rect">
            <a:avLst/>
          </a:prstGeom>
        </p:spPr>
        <p:txBody>
          <a:bodyPr wrap="square" lIns="0" tIns="0" rIns="0" bIns="0" rtlCol="0" anchor="t">
            <a:spAutoFit/>
          </a:bodyPr>
          <a:lstStyle/>
          <a:p>
            <a:pPr marL="0" marR="0" lvl="0" indent="0" algn="l" defTabSz="609630" rtl="0" eaLnBrk="1" fontAlgn="auto" latinLnBrk="0" hangingPunct="1">
              <a:lnSpc>
                <a:spcPts val="6907"/>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alibri"/>
                <a:ea typeface="+mn-ea"/>
                <a:cs typeface="+mn-cs"/>
              </a:rPr>
              <a:t>¿</a:t>
            </a:r>
            <a:r>
              <a:rPr kumimoji="0" lang="en-US" sz="3200" b="1" i="0" u="none" strike="noStrike" kern="1200" cap="none" spc="0" normalizeH="0" baseline="0" noProof="0" err="1">
                <a:ln>
                  <a:noFill/>
                </a:ln>
                <a:solidFill>
                  <a:srgbClr val="FFFFFF"/>
                </a:solidFill>
                <a:effectLst/>
                <a:uLnTx/>
                <a:uFillTx/>
                <a:latin typeface="Calibri"/>
                <a:ea typeface="+mn-ea"/>
                <a:cs typeface="+mn-cs"/>
              </a:rPr>
              <a:t>Cómo</a:t>
            </a:r>
            <a:r>
              <a:rPr kumimoji="0" lang="en-US" sz="3200" b="1" i="0" u="none" strike="noStrike" kern="1200" cap="none" spc="0" normalizeH="0" baseline="0" noProof="0">
                <a:ln>
                  <a:noFill/>
                </a:ln>
                <a:solidFill>
                  <a:srgbClr val="FFFFFF"/>
                </a:solidFill>
                <a:effectLst/>
                <a:uLnTx/>
                <a:uFillTx/>
                <a:latin typeface="Calibri"/>
                <a:ea typeface="+mn-ea"/>
                <a:cs typeface="+mn-cs"/>
              </a:rPr>
              <a:t> </a:t>
            </a:r>
            <a:r>
              <a:rPr kumimoji="0" lang="en-US" sz="3200" b="1" i="0" u="none" strike="noStrike" kern="1200" cap="none" spc="0" normalizeH="0" baseline="0" noProof="0" err="1">
                <a:ln>
                  <a:noFill/>
                </a:ln>
                <a:solidFill>
                  <a:srgbClr val="FFFFFF"/>
                </a:solidFill>
                <a:effectLst/>
                <a:uLnTx/>
                <a:uFillTx/>
                <a:latin typeface="Calibri"/>
                <a:ea typeface="+mn-ea"/>
                <a:cs typeface="+mn-cs"/>
              </a:rPr>
              <a:t>aprende</a:t>
            </a:r>
            <a:r>
              <a:rPr kumimoji="0" lang="en-US" sz="3200" b="1" i="0" u="none" strike="noStrike" kern="1200" cap="none" spc="0" normalizeH="0" baseline="0" noProof="0">
                <a:ln>
                  <a:noFill/>
                </a:ln>
                <a:solidFill>
                  <a:srgbClr val="FFFFFF"/>
                </a:solidFill>
                <a:effectLst/>
                <a:uLnTx/>
                <a:uFillTx/>
                <a:latin typeface="Calibri"/>
                <a:ea typeface="+mn-ea"/>
                <a:cs typeface="+mn-cs"/>
              </a:rPr>
              <a:t> </a:t>
            </a:r>
            <a:r>
              <a:rPr kumimoji="0" lang="en-US" sz="3200" b="1" i="0" u="none" strike="noStrike" kern="1200" cap="none" spc="0" normalizeH="0" baseline="0" noProof="0" err="1">
                <a:ln>
                  <a:noFill/>
                </a:ln>
                <a:solidFill>
                  <a:srgbClr val="FFFFFF"/>
                </a:solidFill>
                <a:effectLst/>
                <a:uLnTx/>
                <a:uFillTx/>
                <a:latin typeface="Calibri"/>
                <a:ea typeface="+mn-ea"/>
                <a:cs typeface="+mn-cs"/>
              </a:rPr>
              <a:t>una</a:t>
            </a:r>
            <a:r>
              <a:rPr kumimoji="0" lang="en-US" sz="3200" b="1" i="0" u="none" strike="noStrike" kern="1200" cap="none" spc="0" normalizeH="0" baseline="0" noProof="0">
                <a:ln>
                  <a:noFill/>
                </a:ln>
                <a:solidFill>
                  <a:srgbClr val="FFFFFF"/>
                </a:solidFill>
                <a:effectLst/>
                <a:uLnTx/>
                <a:uFillTx/>
                <a:latin typeface="Calibri"/>
                <a:ea typeface="+mn-ea"/>
                <a:cs typeface="+mn-cs"/>
              </a:rPr>
              <a:t> IA? </a:t>
            </a:r>
          </a:p>
        </p:txBody>
      </p:sp>
      <p:sp>
        <p:nvSpPr>
          <p:cNvPr id="3" name="Freeform 3"/>
          <p:cNvSpPr/>
          <p:nvPr/>
        </p:nvSpPr>
        <p:spPr>
          <a:xfrm>
            <a:off x="2134905" y="3483460"/>
            <a:ext cx="1270000" cy="1360869"/>
          </a:xfrm>
          <a:custGeom>
            <a:avLst/>
            <a:gdLst/>
            <a:ahLst/>
            <a:cxnLst/>
            <a:rect l="l" t="t" r="r" b="b"/>
            <a:pathLst>
              <a:path w="4263305" h="4568346">
                <a:moveTo>
                  <a:pt x="0" y="0"/>
                </a:moveTo>
                <a:lnTo>
                  <a:pt x="4263305" y="0"/>
                </a:lnTo>
                <a:lnTo>
                  <a:pt x="4263305" y="4568346"/>
                </a:lnTo>
                <a:lnTo>
                  <a:pt x="0" y="4568346"/>
                </a:lnTo>
                <a:lnTo>
                  <a:pt x="0" y="0"/>
                </a:lnTo>
                <a:close/>
              </a:path>
            </a:pathLst>
          </a:custGeom>
          <a:blipFill>
            <a:blip r:embed="rId4">
              <a:extLst>
                <a:ext uri="{BEBA8EAE-BF5A-486C-A8C5-ECC9F3942E4B}">
                  <a14:imgProps xmlns:a14="http://schemas.microsoft.com/office/drawing/2010/main">
                    <a14:imgLayer r:embed="rId5">
                      <a14:imgEffect>
                        <a14:backgroundRemoval t="2822" b="97002" l="4537" r="96975">
                          <a14:foregroundMark x1="41588" y1="88536" x2="19282" y2="52028"/>
                          <a14:foregroundMark x1="19282" y1="52028" x2="29112" y2="19400"/>
                          <a14:foregroundMark x1="29112" y1="19400" x2="54442" y2="27160"/>
                          <a14:foregroundMark x1="42344" y1="97178" x2="19849" y2="81834"/>
                          <a14:foregroundMark x1="19849" y1="81834" x2="13989" y2="68254"/>
                          <a14:foregroundMark x1="32325" y1="98236" x2="11342" y2="78131"/>
                          <a14:foregroundMark x1="11342" y1="78131" x2="5482" y2="57848"/>
                          <a14:foregroundMark x1="4537" y1="46561" x2="15312" y2="22222"/>
                          <a14:foregroundMark x1="15312" y1="22222" x2="39698" y2="11993"/>
                          <a14:foregroundMark x1="39698" y1="11993" x2="41399" y2="12698"/>
                          <a14:foregroundMark x1="31758" y1="5467" x2="59924" y2="6173"/>
                          <a14:foregroundMark x1="59924" y1="6173" x2="64083" y2="7760"/>
                          <a14:foregroundMark x1="51985" y1="12875" x2="82987" y2="40212"/>
                          <a14:foregroundMark x1="82987" y1="40212" x2="82609" y2="64374"/>
                          <a14:foregroundMark x1="82609" y1="64374" x2="58601" y2="71429"/>
                          <a14:foregroundMark x1="58601" y1="71429" x2="45747" y2="43386"/>
                          <a14:foregroundMark x1="45747" y1="43386" x2="45180" y2="35802"/>
                          <a14:foregroundMark x1="74102" y1="66138" x2="61059" y2="26984"/>
                          <a14:foregroundMark x1="61059" y1="26984" x2="62004" y2="51852"/>
                          <a14:foregroundMark x1="62004" y1="51852" x2="63138" y2="54850"/>
                          <a14:foregroundMark x1="49527" y1="89771" x2="74291" y2="93298"/>
                          <a14:foregroundMark x1="74291" y1="93298" x2="87902" y2="76367"/>
                          <a14:foregroundMark x1="55009" y1="95238" x2="82798" y2="92769"/>
                          <a14:foregroundMark x1="82798" y1="92769" x2="95652" y2="68254"/>
                          <a14:foregroundMark x1="95652" y1="68254" x2="90737" y2="37919"/>
                          <a14:foregroundMark x1="90737" y1="37919" x2="89792" y2="36155"/>
                          <a14:foregroundMark x1="95274" y1="73192" x2="97164" y2="48148"/>
                          <a14:foregroundMark x1="97164" y1="48148" x2="89225" y2="23457"/>
                          <a14:foregroundMark x1="89225" y1="23457" x2="75047" y2="9347"/>
                          <a14:foregroundMark x1="61437" y1="2822" x2="51985" y2="4056"/>
                          <a14:backgroundMark x1="98110" y1="71252" x2="98110" y2="40035"/>
                        </a14:backgroundRemoval>
                      </a14:imgEffect>
                    </a14:imgLayer>
                  </a14:imgProps>
                </a:ext>
              </a:extLst>
            </a:blip>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AA111B98-DCDE-7B95-D3EB-1B81684F52C9}"/>
              </a:ext>
            </a:extLst>
          </p:cNvPr>
          <p:cNvSpPr/>
          <p:nvPr/>
        </p:nvSpPr>
        <p:spPr>
          <a:xfrm>
            <a:off x="6032500" y="858319"/>
            <a:ext cx="5536800" cy="1903937"/>
          </a:xfrm>
          <a:prstGeom prst="rect">
            <a:avLst/>
          </a:prstGeom>
          <a:solidFill>
            <a:schemeClr val="bg1"/>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8070994F-B297-2F81-266E-D32EDDA024A2}"/>
              </a:ext>
            </a:extLst>
          </p:cNvPr>
          <p:cNvSpPr txBox="1"/>
          <p:nvPr/>
        </p:nvSpPr>
        <p:spPr>
          <a:xfrm>
            <a:off x="6134100" y="874570"/>
            <a:ext cx="5434295" cy="1711366"/>
          </a:xfrm>
          <a:prstGeom prst="rect">
            <a:avLst/>
          </a:prstGeom>
          <a:noFill/>
        </p:spPr>
        <p:txBody>
          <a:bodyPr wrap="square" rtlCol="0">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El </a:t>
            </a:r>
            <a:r>
              <a:rPr kumimoji="0" lang="en-US" sz="1800" b="0" i="1" u="none" strike="noStrike" kern="1200" cap="none" spc="0" normalizeH="0" baseline="0" noProof="0">
                <a:ln>
                  <a:noFill/>
                </a:ln>
                <a:solidFill>
                  <a:prstClr val="black"/>
                </a:solidFill>
                <a:effectLst/>
                <a:uLnTx/>
                <a:uFillTx/>
                <a:latin typeface="Calibri"/>
                <a:ea typeface="+mn-ea"/>
                <a:cs typeface="+mn-cs"/>
              </a:rPr>
              <a:t>Machine Learning </a:t>
            </a:r>
            <a:r>
              <a:rPr kumimoji="0" lang="en-US" sz="1800" b="0" i="0" u="none" strike="noStrike" kern="1200" cap="none" spc="0" normalizeH="0" baseline="0" noProof="0">
                <a:ln>
                  <a:noFill/>
                </a:ln>
                <a:solidFill>
                  <a:prstClr val="black"/>
                </a:solidFill>
                <a:effectLst/>
                <a:uLnTx/>
                <a:uFillTx/>
                <a:latin typeface="Calibri"/>
                <a:ea typeface="+mn-ea"/>
                <a:cs typeface="+mn-cs"/>
              </a:rPr>
              <a:t>es </a:t>
            </a:r>
            <a:r>
              <a:rPr kumimoji="0" lang="en-US" sz="1800" b="0" i="0" u="none" strike="noStrike" kern="1200" cap="none" spc="0" normalizeH="0" baseline="0" noProof="0" err="1">
                <a:ln>
                  <a:noFill/>
                </a:ln>
                <a:solidFill>
                  <a:prstClr val="black"/>
                </a:solidFill>
                <a:effectLst/>
                <a:uLnTx/>
                <a:uFillTx/>
                <a:latin typeface="Calibri"/>
                <a:ea typeface="+mn-ea"/>
                <a:cs typeface="+mn-cs"/>
              </a:rPr>
              <a:t>una</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disciplina</a:t>
            </a:r>
            <a:r>
              <a:rPr kumimoji="0" lang="en-US" sz="1800" b="0" i="0" u="none" strike="noStrike" kern="1200" cap="none" spc="0" normalizeH="0" baseline="0" noProof="0">
                <a:ln>
                  <a:noFill/>
                </a:ln>
                <a:solidFill>
                  <a:prstClr val="black"/>
                </a:solidFill>
                <a:effectLst/>
                <a:uLnTx/>
                <a:uFillTx/>
                <a:latin typeface="Calibri"/>
                <a:ea typeface="+mn-ea"/>
                <a:cs typeface="+mn-cs"/>
              </a:rPr>
              <a:t> del campo de la </a:t>
            </a:r>
            <a:r>
              <a:rPr kumimoji="0" lang="en-US" sz="1800" b="1" i="0" u="sng" strike="noStrike" kern="1200" cap="none" spc="0" normalizeH="0" baseline="0" noProof="0" err="1">
                <a:ln>
                  <a:noFill/>
                </a:ln>
                <a:solidFill>
                  <a:prstClr val="black"/>
                </a:solidFill>
                <a:effectLst/>
                <a:uLnTx/>
                <a:uFillTx/>
                <a:latin typeface="Calibri"/>
                <a:ea typeface="+mn-ea"/>
                <a:cs typeface="+mn-cs"/>
              </a:rPr>
              <a:t>Inteligencia</a:t>
            </a:r>
            <a:r>
              <a:rPr kumimoji="0" lang="en-US" sz="1800" b="1" i="0" u="sng" strike="noStrike" kern="1200" cap="none" spc="0" normalizeH="0" baseline="0" noProof="0">
                <a:ln>
                  <a:noFill/>
                </a:ln>
                <a:solidFill>
                  <a:prstClr val="black"/>
                </a:solidFill>
                <a:effectLst/>
                <a:uLnTx/>
                <a:uFillTx/>
                <a:latin typeface="Calibri"/>
                <a:ea typeface="+mn-ea"/>
                <a:cs typeface="+mn-cs"/>
              </a:rPr>
              <a:t> Artificial</a:t>
            </a:r>
            <a:r>
              <a:rPr kumimoji="0" lang="en-US" sz="1800" b="1"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a:ln>
                  <a:noFill/>
                </a:ln>
                <a:solidFill>
                  <a:prstClr val="black"/>
                </a:solidFill>
                <a:effectLst/>
                <a:uLnTx/>
                <a:uFillTx/>
                <a:latin typeface="Calibri"/>
                <a:ea typeface="+mn-ea"/>
                <a:cs typeface="+mn-cs"/>
              </a:rPr>
              <a:t>que, a </a:t>
            </a:r>
            <a:r>
              <a:rPr kumimoji="0" lang="en-US" sz="1800" b="0" i="0" u="none" strike="noStrike" kern="1200" cap="none" spc="0" normalizeH="0" baseline="0" noProof="0" err="1">
                <a:ln>
                  <a:noFill/>
                </a:ln>
                <a:solidFill>
                  <a:prstClr val="black"/>
                </a:solidFill>
                <a:effectLst/>
                <a:uLnTx/>
                <a:uFillTx/>
                <a:latin typeface="Calibri"/>
                <a:ea typeface="+mn-ea"/>
                <a:cs typeface="+mn-cs"/>
              </a:rPr>
              <a:t>través</a:t>
            </a:r>
            <a:r>
              <a:rPr kumimoji="0" lang="en-US" sz="1800" b="0" i="0" u="none" strike="noStrike" kern="1200" cap="none" spc="0" normalizeH="0" baseline="0" noProof="0">
                <a:ln>
                  <a:noFill/>
                </a:ln>
                <a:solidFill>
                  <a:prstClr val="black"/>
                </a:solidFill>
                <a:effectLst/>
                <a:uLnTx/>
                <a:uFillTx/>
                <a:latin typeface="Calibri"/>
                <a:ea typeface="+mn-ea"/>
                <a:cs typeface="+mn-cs"/>
              </a:rPr>
              <a:t> de </a:t>
            </a:r>
            <a:r>
              <a:rPr kumimoji="0" lang="en-US" sz="1800" b="0" i="0" u="none" strike="noStrike" kern="1200" cap="none" spc="0" normalizeH="0" baseline="0" noProof="0" err="1">
                <a:ln>
                  <a:noFill/>
                </a:ln>
                <a:solidFill>
                  <a:prstClr val="black"/>
                </a:solidFill>
                <a:effectLst/>
                <a:uLnTx/>
                <a:uFillTx/>
                <a:latin typeface="Calibri"/>
                <a:ea typeface="+mn-ea"/>
                <a:cs typeface="+mn-cs"/>
              </a:rPr>
              <a:t>algoritmos</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dota</a:t>
            </a:r>
            <a:r>
              <a:rPr kumimoji="0" lang="en-US" sz="1800" b="0" i="0" u="none" strike="noStrike" kern="1200" cap="none" spc="0" normalizeH="0" baseline="0" noProof="0">
                <a:ln>
                  <a:noFill/>
                </a:ln>
                <a:solidFill>
                  <a:prstClr val="black"/>
                </a:solidFill>
                <a:effectLst/>
                <a:uLnTx/>
                <a:uFillTx/>
                <a:latin typeface="Calibri"/>
                <a:ea typeface="+mn-ea"/>
                <a:cs typeface="+mn-cs"/>
              </a:rPr>
              <a:t> a </a:t>
            </a:r>
            <a:r>
              <a:rPr kumimoji="0" lang="en-US" sz="1800" b="0" i="0" u="none" strike="noStrike" kern="1200" cap="none" spc="0" normalizeH="0" baseline="0" noProof="0" err="1">
                <a:ln>
                  <a:noFill/>
                </a:ln>
                <a:solidFill>
                  <a:prstClr val="black"/>
                </a:solidFill>
                <a:effectLst/>
                <a:uLnTx/>
                <a:uFillTx/>
                <a:latin typeface="Calibri"/>
                <a:ea typeface="+mn-ea"/>
                <a:cs typeface="+mn-cs"/>
              </a:rPr>
              <a:t>los</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ordenadores</a:t>
            </a:r>
            <a:r>
              <a:rPr kumimoji="0" lang="en-US" sz="1800" b="0" i="0" u="none" strike="noStrike" kern="1200" cap="none" spc="0" normalizeH="0" baseline="0" noProof="0">
                <a:ln>
                  <a:noFill/>
                </a:ln>
                <a:solidFill>
                  <a:prstClr val="black"/>
                </a:solidFill>
                <a:effectLst/>
                <a:uLnTx/>
                <a:uFillTx/>
                <a:latin typeface="Calibri"/>
                <a:ea typeface="+mn-ea"/>
                <a:cs typeface="+mn-cs"/>
              </a:rPr>
              <a:t> de la </a:t>
            </a:r>
            <a:r>
              <a:rPr kumimoji="0" lang="en-US" sz="1800" b="0" i="0" u="none" strike="noStrike" kern="1200" cap="none" spc="0" normalizeH="0" baseline="0" noProof="0" err="1">
                <a:ln>
                  <a:noFill/>
                </a:ln>
                <a:solidFill>
                  <a:prstClr val="black"/>
                </a:solidFill>
                <a:effectLst/>
                <a:uLnTx/>
                <a:uFillTx/>
                <a:latin typeface="Calibri"/>
                <a:ea typeface="+mn-ea"/>
                <a:cs typeface="+mn-cs"/>
              </a:rPr>
              <a:t>capacidad</a:t>
            </a:r>
            <a:r>
              <a:rPr kumimoji="0" lang="en-US" sz="1800" b="0" i="0" u="none" strike="noStrike" kern="1200" cap="none" spc="0" normalizeH="0" baseline="0" noProof="0">
                <a:ln>
                  <a:noFill/>
                </a:ln>
                <a:solidFill>
                  <a:prstClr val="black"/>
                </a:solidFill>
                <a:effectLst/>
                <a:uLnTx/>
                <a:uFillTx/>
                <a:latin typeface="Calibri"/>
                <a:ea typeface="+mn-ea"/>
                <a:cs typeface="+mn-cs"/>
              </a:rPr>
              <a:t> para </a:t>
            </a:r>
            <a:r>
              <a:rPr kumimoji="0" lang="en-US" sz="1800" b="0" i="0" u="none" strike="noStrike" kern="1200" cap="none" spc="0" normalizeH="0" baseline="0" noProof="0" err="1">
                <a:ln>
                  <a:noFill/>
                </a:ln>
                <a:solidFill>
                  <a:prstClr val="black"/>
                </a:solidFill>
                <a:effectLst/>
                <a:uLnTx/>
                <a:uFillTx/>
                <a:latin typeface="Calibri"/>
                <a:ea typeface="+mn-ea"/>
                <a:cs typeface="+mn-cs"/>
              </a:rPr>
              <a:t>id﻿entificar</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patrones</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en</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datos</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masivos</a:t>
            </a:r>
            <a:r>
              <a:rPr kumimoji="0" lang="en-US" sz="1800" b="0" i="0" u="none" strike="noStrike" kern="1200" cap="none" spc="0" normalizeH="0" baseline="0" noProof="0">
                <a:ln>
                  <a:noFill/>
                </a:ln>
                <a:solidFill>
                  <a:prstClr val="black"/>
                </a:solidFill>
                <a:effectLst/>
                <a:uLnTx/>
                <a:uFillTx/>
                <a:latin typeface="Calibri"/>
                <a:ea typeface="+mn-ea"/>
                <a:cs typeface="+mn-cs"/>
              </a:rPr>
              <a:t> y </a:t>
            </a:r>
            <a:r>
              <a:rPr kumimoji="0" lang="en-US" sz="1800" b="0" i="0" u="none" strike="noStrike" kern="1200" cap="none" spc="0" normalizeH="0" baseline="0" noProof="0" err="1">
                <a:ln>
                  <a:noFill/>
                </a:ln>
                <a:solidFill>
                  <a:prstClr val="black"/>
                </a:solidFill>
                <a:effectLst/>
                <a:uLnTx/>
                <a:uFillTx/>
                <a:latin typeface="Calibri"/>
                <a:ea typeface="+mn-ea"/>
                <a:cs typeface="+mn-cs"/>
              </a:rPr>
              <a:t>elaborar</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predicciones</a:t>
            </a:r>
            <a:r>
              <a:rPr kumimoji="0" lang="en-US" sz="1800" b="0" i="0" u="none" strike="noStrike" kern="1200" cap="none" spc="0" normalizeH="0" baseline="0" noProof="0">
                <a:ln>
                  <a:noFill/>
                </a:ln>
                <a:solidFill>
                  <a:prstClr val="black"/>
                </a:solidFill>
                <a:effectLst/>
                <a:uLnTx/>
                <a:uFillTx/>
                <a:latin typeface="Calibri"/>
                <a:ea typeface="+mn-ea"/>
                <a:cs typeface="+mn-cs"/>
              </a:rPr>
              <a:t>.</a:t>
            </a:r>
          </a:p>
        </p:txBody>
      </p:sp>
      <p:sp>
        <p:nvSpPr>
          <p:cNvPr id="4" name="Rectangle 3">
            <a:extLst>
              <a:ext uri="{FF2B5EF4-FFF2-40B4-BE49-F238E27FC236}">
                <a16:creationId xmlns:a16="http://schemas.microsoft.com/office/drawing/2014/main" id="{0850657E-8F72-6ECA-BF63-CA8435C6B05A}"/>
              </a:ext>
            </a:extLst>
          </p:cNvPr>
          <p:cNvSpPr/>
          <p:nvPr/>
        </p:nvSpPr>
        <p:spPr>
          <a:xfrm>
            <a:off x="6439080" y="4581041"/>
            <a:ext cx="5535895" cy="1468392"/>
          </a:xfrm>
          <a:prstGeom prst="rect">
            <a:avLst/>
          </a:prstGeom>
          <a:solidFill>
            <a:schemeClr val="bg1"/>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6273DA25-FC02-C65E-EE45-FBB18D6A2D4E}"/>
              </a:ext>
            </a:extLst>
          </p:cNvPr>
          <p:cNvSpPr txBox="1"/>
          <p:nvPr/>
        </p:nvSpPr>
        <p:spPr>
          <a:xfrm>
            <a:off x="6543098" y="4644472"/>
            <a:ext cx="5269831" cy="1295868"/>
          </a:xfrm>
          <a:prstGeom prst="rect">
            <a:avLst/>
          </a:prstGeom>
          <a:noFill/>
        </p:spPr>
        <p:txBody>
          <a:bodyPr wrap="square">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Este </a:t>
            </a:r>
            <a:r>
              <a:rPr kumimoji="0" lang="en-US" sz="1800" b="0" i="0" u="none" strike="noStrike" kern="1200" cap="none" spc="0" normalizeH="0" baseline="0" noProof="0" err="1">
                <a:ln>
                  <a:noFill/>
                </a:ln>
                <a:solidFill>
                  <a:prstClr val="black"/>
                </a:solidFill>
                <a:effectLst/>
                <a:uLnTx/>
                <a:uFillTx/>
                <a:latin typeface="Calibri"/>
                <a:ea typeface="+mn-ea"/>
                <a:cs typeface="+mn-cs"/>
              </a:rPr>
              <a:t>aprendizaje</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permite</a:t>
            </a:r>
            <a:r>
              <a:rPr kumimoji="0" lang="en-US" sz="1800" b="0" i="0" u="none" strike="noStrike" kern="1200" cap="none" spc="0" normalizeH="0" baseline="0" noProof="0">
                <a:ln>
                  <a:noFill/>
                </a:ln>
                <a:solidFill>
                  <a:prstClr val="black"/>
                </a:solidFill>
                <a:effectLst/>
                <a:uLnTx/>
                <a:uFillTx/>
                <a:latin typeface="Calibri"/>
                <a:ea typeface="+mn-ea"/>
                <a:cs typeface="+mn-cs"/>
              </a:rPr>
              <a:t> a </a:t>
            </a:r>
            <a:r>
              <a:rPr kumimoji="0" lang="en-US" sz="1800" b="0" i="0" u="none" strike="noStrike" kern="1200" cap="none" spc="0" normalizeH="0" baseline="0" noProof="0" err="1">
                <a:ln>
                  <a:noFill/>
                </a:ln>
                <a:solidFill>
                  <a:prstClr val="black"/>
                </a:solidFill>
                <a:effectLst/>
                <a:uLnTx/>
                <a:uFillTx/>
                <a:latin typeface="Calibri"/>
                <a:ea typeface="+mn-ea"/>
                <a:cs typeface="+mn-cs"/>
              </a:rPr>
              <a:t>los</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computadores</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realizar</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tareas</a:t>
            </a:r>
            <a:r>
              <a:rPr kumimoji="0" lang="en-US" sz="1800" b="0" i="0" u="none" strike="noStrike" kern="1200" cap="none" spc="0" normalizeH="0" baseline="0" noProof="0">
                <a:ln>
                  <a:noFill/>
                </a:ln>
                <a:solidFill>
                  <a:prstClr val="black"/>
                </a:solidFill>
                <a:effectLst/>
                <a:uLnTx/>
                <a:uFillTx/>
                <a:latin typeface="Calibri"/>
                <a:ea typeface="+mn-ea"/>
                <a:cs typeface="+mn-cs"/>
              </a:rPr>
              <a:t> </a:t>
            </a:r>
            <a:r>
              <a:rPr kumimoji="0" lang="en-US" sz="1800" b="0" i="0" u="none" strike="noStrike" kern="1200" cap="none" spc="0" normalizeH="0" baseline="0" noProof="0" err="1">
                <a:ln>
                  <a:noFill/>
                </a:ln>
                <a:solidFill>
                  <a:prstClr val="black"/>
                </a:solidFill>
                <a:effectLst/>
                <a:uLnTx/>
                <a:uFillTx/>
                <a:latin typeface="Calibri"/>
                <a:ea typeface="+mn-ea"/>
                <a:cs typeface="+mn-cs"/>
              </a:rPr>
              <a:t>específicas</a:t>
            </a:r>
            <a:r>
              <a:rPr kumimoji="0" lang="en-US" sz="1800" b="0" i="0" u="none" strike="noStrike" kern="1200" cap="none" spc="0" normalizeH="0" baseline="0" noProof="0">
                <a:ln>
                  <a:noFill/>
                </a:ln>
                <a:solidFill>
                  <a:prstClr val="black"/>
                </a:solidFill>
                <a:effectLst/>
                <a:uLnTx/>
                <a:uFillTx/>
                <a:latin typeface="Calibri"/>
                <a:ea typeface="+mn-ea"/>
                <a:cs typeface="+mn-cs"/>
              </a:rPr>
              <a:t> de forma </a:t>
            </a:r>
            <a:r>
              <a:rPr kumimoji="0" lang="en-US" sz="1800" b="0" i="0" u="none" strike="noStrike" kern="1200" cap="none" spc="0" normalizeH="0" baseline="0" noProof="0" err="1">
                <a:ln>
                  <a:noFill/>
                </a:ln>
                <a:solidFill>
                  <a:prstClr val="black"/>
                </a:solidFill>
                <a:effectLst/>
                <a:uLnTx/>
                <a:uFillTx/>
                <a:latin typeface="Calibri"/>
                <a:ea typeface="+mn-ea"/>
                <a:cs typeface="+mn-cs"/>
              </a:rPr>
              <a:t>autónoma</a:t>
            </a:r>
            <a:r>
              <a:rPr kumimoji="0" lang="en-US" sz="1800" b="0" i="0" u="none" strike="noStrike" kern="1200" cap="none" spc="0" normalizeH="0" baseline="0" noProof="0">
                <a:ln>
                  <a:noFill/>
                </a:ln>
                <a:solidFill>
                  <a:prstClr val="black"/>
                </a:solidFill>
                <a:effectLst/>
                <a:uLnTx/>
                <a:uFillTx/>
                <a:latin typeface="Calibri"/>
                <a:ea typeface="+mn-ea"/>
                <a:cs typeface="+mn-cs"/>
              </a:rPr>
              <a:t>, es </a:t>
            </a:r>
            <a:r>
              <a:rPr kumimoji="0" lang="en-US" sz="1800" b="0" i="0" u="none" strike="noStrike" kern="1200" cap="none" spc="0" normalizeH="0" baseline="0" noProof="0" err="1">
                <a:ln>
                  <a:noFill/>
                </a:ln>
                <a:solidFill>
                  <a:prstClr val="black"/>
                </a:solidFill>
                <a:effectLst/>
                <a:uLnTx/>
                <a:uFillTx/>
                <a:latin typeface="Calibri"/>
                <a:ea typeface="+mn-ea"/>
                <a:cs typeface="+mn-cs"/>
              </a:rPr>
              <a:t>decir</a:t>
            </a:r>
            <a:r>
              <a:rPr kumimoji="0" lang="en-US" sz="1800" b="0" i="0" u="none" strike="noStrike" kern="1200" cap="none" spc="0" normalizeH="0" baseline="0" noProof="0">
                <a:ln>
                  <a:noFill/>
                </a:ln>
                <a:solidFill>
                  <a:prstClr val="black"/>
                </a:solidFill>
                <a:effectLst/>
                <a:uLnTx/>
                <a:uFillTx/>
                <a:latin typeface="Calibri"/>
                <a:ea typeface="+mn-ea"/>
                <a:cs typeface="+mn-cs"/>
              </a:rPr>
              <a:t>, sin </a:t>
            </a:r>
            <a:r>
              <a:rPr kumimoji="0" lang="en-US" sz="1800" b="0" i="0" u="none" strike="noStrike" kern="1200" cap="none" spc="0" normalizeH="0" baseline="0" noProof="0" err="1">
                <a:ln>
                  <a:noFill/>
                </a:ln>
                <a:solidFill>
                  <a:prstClr val="black"/>
                </a:solidFill>
                <a:effectLst/>
                <a:uLnTx/>
                <a:uFillTx/>
                <a:latin typeface="Calibri"/>
                <a:ea typeface="+mn-ea"/>
                <a:cs typeface="+mn-cs"/>
              </a:rPr>
              <a:t>necesidad</a:t>
            </a:r>
            <a:r>
              <a:rPr kumimoji="0" lang="en-US" sz="1800" b="0" i="0" u="none" strike="noStrike" kern="1200" cap="none" spc="0" normalizeH="0" baseline="0" noProof="0">
                <a:ln>
                  <a:noFill/>
                </a:ln>
                <a:solidFill>
                  <a:prstClr val="black"/>
                </a:solidFill>
                <a:effectLst/>
                <a:uLnTx/>
                <a:uFillTx/>
                <a:latin typeface="Calibri"/>
                <a:ea typeface="+mn-ea"/>
                <a:cs typeface="+mn-cs"/>
              </a:rPr>
              <a:t> de ser </a:t>
            </a:r>
            <a:r>
              <a:rPr kumimoji="0" lang="en-US" sz="1800" b="0" i="0" u="none" strike="noStrike" kern="1200" cap="none" spc="0" normalizeH="0" baseline="0" noProof="0" err="1">
                <a:ln>
                  <a:noFill/>
                </a:ln>
                <a:solidFill>
                  <a:prstClr val="black"/>
                </a:solidFill>
                <a:effectLst/>
                <a:uLnTx/>
                <a:uFillTx/>
                <a:latin typeface="Calibri"/>
                <a:ea typeface="+mn-ea"/>
                <a:cs typeface="+mn-cs"/>
              </a:rPr>
              <a:t>programados</a:t>
            </a:r>
            <a:r>
              <a:rPr kumimoji="0" lang="en-US" sz="18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34585648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sp>
        <p:nvSpPr>
          <p:cNvPr id="6" name="Freeform 3">
            <a:extLst>
              <a:ext uri="{FF2B5EF4-FFF2-40B4-BE49-F238E27FC236}">
                <a16:creationId xmlns:a16="http://schemas.microsoft.com/office/drawing/2014/main" id="{C3774716-666F-BA42-1F1C-FF4316D8FDDA}"/>
              </a:ext>
            </a:extLst>
          </p:cNvPr>
          <p:cNvSpPr/>
          <p:nvPr/>
        </p:nvSpPr>
        <p:spPr>
          <a:xfrm>
            <a:off x="5740400" y="4066268"/>
            <a:ext cx="6096000" cy="1547218"/>
          </a:xfrm>
          <a:custGeom>
            <a:avLst/>
            <a:gdLst/>
            <a:ahLst/>
            <a:cxnLst/>
            <a:rect l="l" t="t" r="r" b="b"/>
            <a:pathLst>
              <a:path w="1937386" h="1173630">
                <a:moveTo>
                  <a:pt x="0" y="0"/>
                </a:moveTo>
                <a:lnTo>
                  <a:pt x="1937386" y="0"/>
                </a:lnTo>
                <a:lnTo>
                  <a:pt x="1937386" y="1173630"/>
                </a:lnTo>
                <a:lnTo>
                  <a:pt x="0" y="1173630"/>
                </a:lnTo>
                <a:lnTo>
                  <a:pt x="0" y="0"/>
                </a:lnTo>
              </a:path>
            </a:pathLst>
          </a:custGeom>
          <a:solidFill>
            <a:srgbClr val="070707"/>
          </a:solidFill>
          <a:ln w="9525">
            <a:solidFill>
              <a:srgbClr val="0097A9"/>
            </a:solidFill>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 name="Freeform 2"/>
          <p:cNvSpPr/>
          <p:nvPr/>
        </p:nvSpPr>
        <p:spPr>
          <a:xfrm>
            <a:off x="0" y="2667000"/>
            <a:ext cx="5271041" cy="2635521"/>
          </a:xfrm>
          <a:custGeom>
            <a:avLst/>
            <a:gdLst/>
            <a:ahLst/>
            <a:cxnLst/>
            <a:rect l="l" t="t" r="r" b="b"/>
            <a:pathLst>
              <a:path w="7906562" h="3953281">
                <a:moveTo>
                  <a:pt x="0" y="0"/>
                </a:moveTo>
                <a:lnTo>
                  <a:pt x="7906563" y="0"/>
                </a:lnTo>
                <a:lnTo>
                  <a:pt x="7906563" y="3953281"/>
                </a:lnTo>
                <a:lnTo>
                  <a:pt x="0" y="3953281"/>
                </a:lnTo>
                <a:lnTo>
                  <a:pt x="0" y="0"/>
                </a:lnTo>
                <a:close/>
              </a:path>
            </a:pathLst>
          </a:custGeom>
          <a:blipFill>
            <a:blip r:embed="rId3"/>
            <a:stretch>
              <a:fillRect/>
            </a:stretch>
          </a:blipFill>
        </p:spPr>
      </p:sp>
      <p:sp>
        <p:nvSpPr>
          <p:cNvPr id="3" name="TextBox 3"/>
          <p:cNvSpPr txBox="1"/>
          <p:nvPr/>
        </p:nvSpPr>
        <p:spPr>
          <a:xfrm>
            <a:off x="444500" y="398565"/>
            <a:ext cx="10591800" cy="570541"/>
          </a:xfrm>
          <a:prstGeom prst="rect">
            <a:avLst/>
          </a:prstGeom>
        </p:spPr>
        <p:txBody>
          <a:bodyPr wrap="square" lIns="0" tIns="0" rIns="0" bIns="0" rtlCol="0" anchor="t">
            <a:spAutoFit/>
          </a:bodyPr>
          <a:lstStyle/>
          <a:p>
            <a:pPr marL="0" marR="0" lvl="0" indent="0" algn="l" defTabSz="609630" rtl="0" eaLnBrk="1" fontAlgn="auto" latinLnBrk="0" hangingPunct="1">
              <a:lnSpc>
                <a:spcPts val="4853"/>
              </a:lnSpc>
              <a:spcBef>
                <a:spcPts val="0"/>
              </a:spcBef>
              <a:spcAft>
                <a:spcPts val="0"/>
              </a:spcAft>
              <a:buClrTx/>
              <a:buSzTx/>
              <a:buFontTx/>
              <a:buNone/>
              <a:tabLst/>
              <a:defRPr/>
            </a:pPr>
            <a:r>
              <a:rPr kumimoji="0" lang="en-US" sz="2800"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Antes vale la </a:t>
            </a:r>
            <a:r>
              <a:rPr kumimoji="0" lang="en-US" sz="2800"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pena</a:t>
            </a:r>
            <a:r>
              <a:rPr kumimoji="0" lang="en-US" sz="2800"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a:t>
            </a:r>
            <a:r>
              <a:rPr kumimoji="0" lang="en-US" sz="2800"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pensar</a:t>
            </a:r>
            <a:r>
              <a:rPr kumimoji="0" lang="en-US" sz="2800"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a:t>
            </a:r>
            <a:r>
              <a:rPr kumimoji="0" lang="en-US" sz="2800"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cómo</a:t>
            </a:r>
            <a:r>
              <a:rPr kumimoji="0" lang="en-US" sz="2800"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a:t>
            </a:r>
            <a:r>
              <a:rPr kumimoji="0" lang="en-US" sz="2800"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aprende</a:t>
            </a:r>
            <a:r>
              <a:rPr kumimoji="0" lang="en-US" sz="2800"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un ser </a:t>
            </a:r>
            <a:r>
              <a:rPr kumimoji="0" lang="en-US" sz="2800"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humano</a:t>
            </a:r>
            <a:r>
              <a:rPr kumimoji="0" lang="en-US" sz="2800"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a:t>
            </a:r>
          </a:p>
        </p:txBody>
      </p:sp>
      <p:sp>
        <p:nvSpPr>
          <p:cNvPr id="4" name="TextBox 4"/>
          <p:cNvSpPr txBox="1"/>
          <p:nvPr/>
        </p:nvSpPr>
        <p:spPr>
          <a:xfrm>
            <a:off x="5779970" y="2020905"/>
            <a:ext cx="5799759" cy="1798954"/>
          </a:xfrm>
          <a:prstGeom prst="rect">
            <a:avLst/>
          </a:prstGeom>
        </p:spPr>
        <p:txBody>
          <a:bodyPr lIns="0" tIns="0" rIns="0" bIns="0" rtlCol="0" anchor="t">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err="1">
                <a:ln>
                  <a:noFill/>
                </a:ln>
                <a:solidFill>
                  <a:srgbClr val="FFFFFF"/>
                </a:solidFill>
                <a:effectLst/>
                <a:uLnTx/>
                <a:uFillTx/>
                <a:latin typeface="Calibri"/>
                <a:ea typeface="+mn-ea"/>
                <a:cs typeface="+mn-cs"/>
              </a:rPr>
              <a:t>Nosotro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aprendemo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mediante</a:t>
            </a:r>
            <a:r>
              <a:rPr kumimoji="0" lang="en-US" sz="2000" b="0" i="0" u="none" strike="noStrike" kern="1200" cap="none" spc="0" normalizeH="0" baseline="0" noProof="0">
                <a:ln>
                  <a:noFill/>
                </a:ln>
                <a:solidFill>
                  <a:srgbClr val="FFFFFF"/>
                </a:solidFill>
                <a:effectLst/>
                <a:uLnTx/>
                <a:uFillTx/>
                <a:latin typeface="Calibri"/>
                <a:ea typeface="+mn-ea"/>
                <a:cs typeface="+mn-cs"/>
              </a:rPr>
              <a:t>:</a:t>
            </a:r>
          </a:p>
          <a:p>
            <a:pPr marL="342900" marR="0" lvl="0" indent="-342900" algn="l" defTabSz="609630" rtl="0" eaLnBrk="1" fontAlgn="auto" latinLnBrk="0" hangingPunct="1">
              <a:lnSpc>
                <a:spcPct val="150000"/>
              </a:lnSpc>
              <a:spcBef>
                <a:spcPts val="0"/>
              </a:spcBef>
              <a:spcAft>
                <a:spcPts val="0"/>
              </a:spcAft>
              <a:buClrTx/>
              <a:buSzTx/>
              <a:buFontTx/>
              <a:buAutoNum type="arabicPeriod"/>
              <a:tabLst/>
              <a:defRPr/>
            </a:pPr>
            <a:r>
              <a:rPr kumimoji="0" lang="en-US" sz="2000" b="0" i="0" u="none" strike="noStrike" kern="1200" cap="none" spc="0" normalizeH="0" baseline="0" noProof="0" err="1">
                <a:ln>
                  <a:noFill/>
                </a:ln>
                <a:solidFill>
                  <a:srgbClr val="FFFFFF"/>
                </a:solidFill>
                <a:effectLst/>
                <a:uLnTx/>
                <a:uFillTx/>
                <a:latin typeface="Calibri"/>
                <a:ea typeface="+mn-ea"/>
                <a:cs typeface="+mn-cs"/>
              </a:rPr>
              <a:t>Experiencias</a:t>
            </a:r>
            <a:endParaRPr kumimoji="0" lang="en-US" sz="2000" b="0" i="0" u="none" strike="noStrike" kern="1200" cap="none" spc="0" normalizeH="0" baseline="0" noProof="0">
              <a:ln>
                <a:noFill/>
              </a:ln>
              <a:solidFill>
                <a:srgbClr val="FFFFFF"/>
              </a:solidFill>
              <a:effectLst/>
              <a:uLnTx/>
              <a:uFillTx/>
              <a:latin typeface="Calibri"/>
              <a:ea typeface="+mn-ea"/>
              <a:cs typeface="+mn-cs"/>
            </a:endParaRPr>
          </a:p>
          <a:p>
            <a:pPr marL="342900" marR="0" lvl="0" indent="-342900" algn="l" defTabSz="609630" rtl="0" eaLnBrk="1" fontAlgn="auto" latinLnBrk="0" hangingPunct="1">
              <a:lnSpc>
                <a:spcPct val="150000"/>
              </a:lnSpc>
              <a:spcBef>
                <a:spcPts val="0"/>
              </a:spcBef>
              <a:spcAft>
                <a:spcPts val="0"/>
              </a:spcAft>
              <a:buClrTx/>
              <a:buSzTx/>
              <a:buFontTx/>
              <a:buAutoNum type="arabicPeriod"/>
              <a:tabLst/>
              <a:defRPr/>
            </a:pPr>
            <a:r>
              <a:rPr kumimoji="0" lang="en-US" sz="2000" b="0" i="0" u="none" strike="noStrike" kern="1200" cap="none" spc="0" normalizeH="0" baseline="0" noProof="0">
                <a:ln>
                  <a:noFill/>
                </a:ln>
                <a:solidFill>
                  <a:srgbClr val="FFFFFF"/>
                </a:solidFill>
                <a:effectLst/>
                <a:uLnTx/>
                <a:uFillTx/>
                <a:latin typeface="Calibri"/>
                <a:ea typeface="+mn-ea"/>
                <a:cs typeface="+mn-cs"/>
              </a:rPr>
              <a:t>La </a:t>
            </a:r>
            <a:r>
              <a:rPr kumimoji="0" lang="en-US" sz="2000" b="0" i="0" u="none" strike="noStrike" kern="1200" cap="none" spc="0" normalizeH="0" baseline="0" noProof="0" err="1">
                <a:ln>
                  <a:noFill/>
                </a:ln>
                <a:solidFill>
                  <a:srgbClr val="FFFFFF"/>
                </a:solidFill>
                <a:effectLst/>
                <a:uLnTx/>
                <a:uFillTx/>
                <a:latin typeface="Calibri"/>
                <a:ea typeface="+mn-ea"/>
                <a:cs typeface="+mn-cs"/>
              </a:rPr>
              <a:t>memorización</a:t>
            </a:r>
            <a:r>
              <a:rPr kumimoji="0" lang="en-US" sz="2000" b="0" i="0" u="none" strike="noStrike" kern="1200" cap="none" spc="0" normalizeH="0" baseline="0" noProof="0">
                <a:ln>
                  <a:noFill/>
                </a:ln>
                <a:solidFill>
                  <a:srgbClr val="FFFFFF"/>
                </a:solidFill>
                <a:effectLst/>
                <a:uLnTx/>
                <a:uFillTx/>
                <a:latin typeface="Calibri"/>
                <a:ea typeface="+mn-ea"/>
                <a:cs typeface="+mn-cs"/>
              </a:rPr>
              <a:t> de </a:t>
            </a:r>
            <a:r>
              <a:rPr kumimoji="0" lang="en-US" sz="2000" b="0" i="0" u="none" strike="noStrike" kern="1200" cap="none" spc="0" normalizeH="0" baseline="0" noProof="0" err="1">
                <a:ln>
                  <a:noFill/>
                </a:ln>
                <a:solidFill>
                  <a:srgbClr val="FFFFFF"/>
                </a:solidFill>
                <a:effectLst/>
                <a:uLnTx/>
                <a:uFillTx/>
                <a:latin typeface="Calibri"/>
                <a:ea typeface="+mn-ea"/>
                <a:cs typeface="+mn-cs"/>
              </a:rPr>
              <a:t>datos</a:t>
            </a:r>
            <a:r>
              <a:rPr kumimoji="0" lang="en-US" sz="2000" b="0" i="0" u="none" strike="noStrike" kern="1200" cap="none" spc="0" normalizeH="0" baseline="0" noProof="0">
                <a:ln>
                  <a:noFill/>
                </a:ln>
                <a:solidFill>
                  <a:srgbClr val="FFFFFF"/>
                </a:solidFill>
                <a:effectLst/>
                <a:uLnTx/>
                <a:uFillTx/>
                <a:latin typeface="Calibri"/>
                <a:ea typeface="+mn-ea"/>
                <a:cs typeface="+mn-cs"/>
              </a:rPr>
              <a:t> </a:t>
            </a:r>
          </a:p>
          <a:p>
            <a:pPr marL="342900" marR="0" lvl="0" indent="-342900" algn="l" defTabSz="609630" rtl="0" eaLnBrk="1" fontAlgn="auto" latinLnBrk="0" hangingPunct="1">
              <a:lnSpc>
                <a:spcPct val="150000"/>
              </a:lnSpc>
              <a:spcBef>
                <a:spcPts val="0"/>
              </a:spcBef>
              <a:spcAft>
                <a:spcPts val="0"/>
              </a:spcAft>
              <a:buClrTx/>
              <a:buSzTx/>
              <a:buFontTx/>
              <a:buAutoNum type="arabicPeriod"/>
              <a:tabLst/>
              <a:defRPr/>
            </a:pPr>
            <a:r>
              <a:rPr kumimoji="0" lang="en-US" sz="2000" b="0" i="0" u="none" strike="noStrike" kern="1200" cap="none" spc="0" normalizeH="0" baseline="0" noProof="0" err="1">
                <a:ln>
                  <a:noFill/>
                </a:ln>
                <a:solidFill>
                  <a:srgbClr val="FFFFFF"/>
                </a:solidFill>
                <a:effectLst/>
                <a:uLnTx/>
                <a:uFillTx/>
                <a:latin typeface="Calibri"/>
                <a:ea typeface="+mn-ea"/>
                <a:cs typeface="+mn-cs"/>
              </a:rPr>
              <a:t>Consultas</a:t>
            </a:r>
            <a:r>
              <a:rPr kumimoji="0" lang="en-US" sz="2000" b="0" i="0" u="none" strike="noStrike" kern="1200" cap="none" spc="0" normalizeH="0" baseline="0" noProof="0">
                <a:ln>
                  <a:noFill/>
                </a:ln>
                <a:solidFill>
                  <a:srgbClr val="FFFFFF"/>
                </a:solidFill>
                <a:effectLst/>
                <a:uLnTx/>
                <a:uFillTx/>
                <a:latin typeface="Calibri"/>
                <a:ea typeface="+mn-ea"/>
                <a:cs typeface="+mn-cs"/>
              </a:rPr>
              <a:t> a </a:t>
            </a:r>
            <a:r>
              <a:rPr kumimoji="0" lang="en-US" sz="2000" b="0" i="0" u="none" strike="noStrike" kern="1200" cap="none" spc="0" normalizeH="0" baseline="0" noProof="0" err="1">
                <a:ln>
                  <a:noFill/>
                </a:ln>
                <a:solidFill>
                  <a:srgbClr val="FFFFFF"/>
                </a:solidFill>
                <a:effectLst/>
                <a:uLnTx/>
                <a:uFillTx/>
                <a:latin typeface="Calibri"/>
                <a:ea typeface="+mn-ea"/>
                <a:cs typeface="+mn-cs"/>
              </a:rPr>
              <a:t>esto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datos</a:t>
            </a:r>
            <a:r>
              <a:rPr kumimoji="0" lang="en-US" sz="2000" b="0" i="0" u="none" strike="noStrike" kern="1200" cap="none" spc="0" normalizeH="0" baseline="0" noProof="0">
                <a:ln>
                  <a:noFill/>
                </a:ln>
                <a:solidFill>
                  <a:srgbClr val="FFFFFF"/>
                </a:solidFill>
                <a:effectLst/>
                <a:uLnTx/>
                <a:uFillTx/>
                <a:latin typeface="Calibri"/>
                <a:ea typeface="+mn-ea"/>
                <a:cs typeface="+mn-cs"/>
              </a:rPr>
              <a:t>. </a:t>
            </a:r>
          </a:p>
        </p:txBody>
      </p:sp>
      <p:sp>
        <p:nvSpPr>
          <p:cNvPr id="11" name="Oval 10">
            <a:extLst>
              <a:ext uri="{FF2B5EF4-FFF2-40B4-BE49-F238E27FC236}">
                <a16:creationId xmlns:a16="http://schemas.microsoft.com/office/drawing/2014/main" id="{234A0F2A-56D9-4716-C468-5ED8A045490F}"/>
              </a:ext>
            </a:extLst>
          </p:cNvPr>
          <p:cNvSpPr/>
          <p:nvPr/>
        </p:nvSpPr>
        <p:spPr>
          <a:xfrm>
            <a:off x="11247039" y="3713401"/>
            <a:ext cx="738064" cy="76944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CA73B234-654C-54C2-4223-0009F8A718D6}"/>
              </a:ext>
            </a:extLst>
          </p:cNvPr>
          <p:cNvSpPr txBox="1"/>
          <p:nvPr/>
        </p:nvSpPr>
        <p:spPr>
          <a:xfrm>
            <a:off x="5842001" y="4084762"/>
            <a:ext cx="6096000" cy="471732"/>
          </a:xfrm>
          <a:prstGeom prst="rect">
            <a:avLst/>
          </a:prstGeom>
          <a:noFill/>
        </p:spPr>
        <p:txBody>
          <a:bodyPr wrap="square">
            <a:spAutoFit/>
          </a:bodyPr>
          <a:lstStyle/>
          <a:p>
            <a:pPr marL="0" marR="0" lvl="0" indent="0" algn="l" defTabSz="609630" rtl="0" eaLnBrk="1" fontAlgn="auto" latinLnBrk="0" hangingPunct="1">
              <a:lnSpc>
                <a:spcPts val="3080"/>
              </a:lnSpc>
              <a:spcBef>
                <a:spcPts val="0"/>
              </a:spcBef>
              <a:spcAft>
                <a:spcPts val="0"/>
              </a:spcAft>
              <a:buClrTx/>
              <a:buSzTx/>
              <a:buFontTx/>
              <a:buNone/>
              <a:tabLst/>
              <a:defRPr/>
            </a:pPr>
            <a:r>
              <a:rPr kumimoji="0" lang="en-US" sz="2000" b="1" i="0" u="none" strike="noStrike" kern="1200" cap="none" spc="0" normalizeH="0" baseline="0" noProof="0" err="1">
                <a:ln>
                  <a:noFill/>
                </a:ln>
                <a:solidFill>
                  <a:srgbClr val="FFFFFF"/>
                </a:solidFill>
                <a:effectLst/>
                <a:uLnTx/>
                <a:uFillTx/>
                <a:latin typeface="Calibri"/>
                <a:ea typeface="+mn-ea"/>
                <a:cs typeface="+mn-cs"/>
              </a:rPr>
              <a:t>Reflexionemos</a:t>
            </a:r>
            <a:r>
              <a:rPr kumimoji="0" lang="en-US" sz="2000" b="1" i="0" u="none" strike="noStrike" kern="1200" cap="none" spc="0" normalizeH="0" baseline="0" noProof="0">
                <a:ln>
                  <a:noFill/>
                </a:ln>
                <a:solidFill>
                  <a:srgbClr val="FFFFFF"/>
                </a:solidFill>
                <a:effectLst/>
                <a:uLnTx/>
                <a:uFillTx/>
                <a:latin typeface="Calibri"/>
                <a:ea typeface="+mn-ea"/>
                <a:cs typeface="+mn-cs"/>
              </a:rPr>
              <a:t> un poco:</a:t>
            </a:r>
          </a:p>
        </p:txBody>
      </p:sp>
      <p:grpSp>
        <p:nvGrpSpPr>
          <p:cNvPr id="8" name="Graphic 4">
            <a:extLst>
              <a:ext uri="{FF2B5EF4-FFF2-40B4-BE49-F238E27FC236}">
                <a16:creationId xmlns:a16="http://schemas.microsoft.com/office/drawing/2014/main" id="{E591228C-B15C-A197-8E92-ABCC49426BFF}"/>
              </a:ext>
            </a:extLst>
          </p:cNvPr>
          <p:cNvGrpSpPr>
            <a:grpSpLocks noChangeAspect="1"/>
          </p:cNvGrpSpPr>
          <p:nvPr/>
        </p:nvGrpSpPr>
        <p:grpSpPr>
          <a:xfrm>
            <a:off x="11267512" y="3715925"/>
            <a:ext cx="720681" cy="720000"/>
            <a:chOff x="1952125" y="3339623"/>
            <a:chExt cx="362313" cy="361971"/>
          </a:xfrm>
          <a:solidFill>
            <a:srgbClr val="0097A9"/>
          </a:solidFill>
        </p:grpSpPr>
        <p:sp>
          <p:nvSpPr>
            <p:cNvPr id="9" name="Graphic 4">
              <a:extLst>
                <a:ext uri="{FF2B5EF4-FFF2-40B4-BE49-F238E27FC236}">
                  <a16:creationId xmlns:a16="http://schemas.microsoft.com/office/drawing/2014/main" id="{550CB295-0342-E1A1-0B89-4D5B7A1BB14A}"/>
                </a:ext>
              </a:extLst>
            </p:cNvPr>
            <p:cNvSpPr/>
            <p:nvPr/>
          </p:nvSpPr>
          <p:spPr>
            <a:xfrm>
              <a:off x="2106026" y="3455149"/>
              <a:ext cx="56327" cy="68971"/>
            </a:xfrm>
            <a:custGeom>
              <a:avLst/>
              <a:gdLst>
                <a:gd name="connsiteX0" fmla="*/ 16710 w 56327"/>
                <a:gd name="connsiteY0" fmla="*/ 68971 h 68971"/>
                <a:gd name="connsiteX1" fmla="*/ 39075 w 56327"/>
                <a:gd name="connsiteY1" fmla="*/ 68971 h 68971"/>
                <a:gd name="connsiteX2" fmla="*/ 49299 w 56327"/>
                <a:gd name="connsiteY2" fmla="*/ 45989 h 68971"/>
                <a:gd name="connsiteX3" fmla="*/ 56328 w 56327"/>
                <a:gd name="connsiteY3" fmla="*/ 26837 h 68971"/>
                <a:gd name="connsiteX4" fmla="*/ 26934 w 56327"/>
                <a:gd name="connsiteY4" fmla="*/ 24 h 68971"/>
                <a:gd name="connsiteX5" fmla="*/ 97 w 56327"/>
                <a:gd name="connsiteY5" fmla="*/ 26837 h 68971"/>
                <a:gd name="connsiteX6" fmla="*/ 7125 w 56327"/>
                <a:gd name="connsiteY6" fmla="*/ 45989 h 68971"/>
                <a:gd name="connsiteX7" fmla="*/ 16710 w 56327"/>
                <a:gd name="connsiteY7" fmla="*/ 68971 h 6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327" h="68971">
                  <a:moveTo>
                    <a:pt x="16710" y="68971"/>
                  </a:moveTo>
                  <a:lnTo>
                    <a:pt x="39075" y="68971"/>
                  </a:lnTo>
                  <a:cubicBezTo>
                    <a:pt x="39714" y="60672"/>
                    <a:pt x="43548" y="52373"/>
                    <a:pt x="49299" y="45989"/>
                  </a:cubicBezTo>
                  <a:cubicBezTo>
                    <a:pt x="53772" y="40882"/>
                    <a:pt x="56328" y="33859"/>
                    <a:pt x="56328" y="26837"/>
                  </a:cubicBezTo>
                  <a:cubicBezTo>
                    <a:pt x="55689" y="11516"/>
                    <a:pt x="42270" y="-614"/>
                    <a:pt x="26934" y="24"/>
                  </a:cubicBezTo>
                  <a:cubicBezTo>
                    <a:pt x="12237" y="663"/>
                    <a:pt x="736" y="12154"/>
                    <a:pt x="97" y="26837"/>
                  </a:cubicBezTo>
                  <a:cubicBezTo>
                    <a:pt x="-543" y="33859"/>
                    <a:pt x="2013" y="40882"/>
                    <a:pt x="7125" y="45989"/>
                  </a:cubicBezTo>
                  <a:cubicBezTo>
                    <a:pt x="12237" y="52373"/>
                    <a:pt x="16071" y="60672"/>
                    <a:pt x="16710" y="68971"/>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Graphic 4">
              <a:extLst>
                <a:ext uri="{FF2B5EF4-FFF2-40B4-BE49-F238E27FC236}">
                  <a16:creationId xmlns:a16="http://schemas.microsoft.com/office/drawing/2014/main" id="{29A1A631-91D7-4796-8B13-6E96625E7BEB}"/>
                </a:ext>
              </a:extLst>
            </p:cNvPr>
            <p:cNvSpPr/>
            <p:nvPr/>
          </p:nvSpPr>
          <p:spPr>
            <a:xfrm>
              <a:off x="1952125" y="33396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24926 w 362313"/>
                <a:gd name="connsiteY6" fmla="*/ 101505 h 361971"/>
                <a:gd name="connsiteX7" fmla="*/ 237706 w 362313"/>
                <a:gd name="connsiteY7" fmla="*/ 93206 h 361971"/>
                <a:gd name="connsiteX8" fmla="*/ 246652 w 362313"/>
                <a:gd name="connsiteY8" fmla="*/ 95121 h 361971"/>
                <a:gd name="connsiteX9" fmla="*/ 244735 w 362313"/>
                <a:gd name="connsiteY9" fmla="*/ 104059 h 361971"/>
                <a:gd name="connsiteX10" fmla="*/ 231955 w 362313"/>
                <a:gd name="connsiteY10" fmla="*/ 112358 h 361971"/>
                <a:gd name="connsiteX11" fmla="*/ 223009 w 362313"/>
                <a:gd name="connsiteY11" fmla="*/ 110443 h 361971"/>
                <a:gd name="connsiteX12" fmla="*/ 224926 w 362313"/>
                <a:gd name="connsiteY12" fmla="*/ 101505 h 361971"/>
                <a:gd name="connsiteX13" fmla="*/ 175084 w 362313"/>
                <a:gd name="connsiteY13" fmla="*/ 66394 h 361971"/>
                <a:gd name="connsiteX14" fmla="*/ 181474 w 362313"/>
                <a:gd name="connsiteY14" fmla="*/ 60010 h 361971"/>
                <a:gd name="connsiteX15" fmla="*/ 187864 w 362313"/>
                <a:gd name="connsiteY15" fmla="*/ 66394 h 361971"/>
                <a:gd name="connsiteX16" fmla="*/ 187864 w 362313"/>
                <a:gd name="connsiteY16" fmla="*/ 80438 h 361971"/>
                <a:gd name="connsiteX17" fmla="*/ 181474 w 362313"/>
                <a:gd name="connsiteY17" fmla="*/ 86822 h 361971"/>
                <a:gd name="connsiteX18" fmla="*/ 175084 w 362313"/>
                <a:gd name="connsiteY18" fmla="*/ 80438 h 361971"/>
                <a:gd name="connsiteX19" fmla="*/ 175084 w 362313"/>
                <a:gd name="connsiteY19" fmla="*/ 66394 h 361971"/>
                <a:gd name="connsiteX20" fmla="*/ 181474 w 362313"/>
                <a:gd name="connsiteY20" fmla="*/ 102144 h 361971"/>
                <a:gd name="connsiteX21" fmla="*/ 222370 w 362313"/>
                <a:gd name="connsiteY21" fmla="*/ 141086 h 361971"/>
                <a:gd name="connsiteX22" fmla="*/ 222370 w 362313"/>
                <a:gd name="connsiteY22" fmla="*/ 141724 h 361971"/>
                <a:gd name="connsiteX23" fmla="*/ 212785 w 362313"/>
                <a:gd name="connsiteY23" fmla="*/ 168537 h 361971"/>
                <a:gd name="connsiteX24" fmla="*/ 205117 w 362313"/>
                <a:gd name="connsiteY24" fmla="*/ 190243 h 361971"/>
                <a:gd name="connsiteX25" fmla="*/ 198727 w 362313"/>
                <a:gd name="connsiteY25" fmla="*/ 196627 h 361971"/>
                <a:gd name="connsiteX26" fmla="*/ 164221 w 362313"/>
                <a:gd name="connsiteY26" fmla="*/ 196627 h 361971"/>
                <a:gd name="connsiteX27" fmla="*/ 157832 w 362313"/>
                <a:gd name="connsiteY27" fmla="*/ 190243 h 361971"/>
                <a:gd name="connsiteX28" fmla="*/ 150164 w 362313"/>
                <a:gd name="connsiteY28" fmla="*/ 168537 h 361971"/>
                <a:gd name="connsiteX29" fmla="*/ 140579 w 362313"/>
                <a:gd name="connsiteY29" fmla="*/ 141724 h 361971"/>
                <a:gd name="connsiteX30" fmla="*/ 180835 w 362313"/>
                <a:gd name="connsiteY30" fmla="*/ 102144 h 361971"/>
                <a:gd name="connsiteX31" fmla="*/ 181474 w 362313"/>
                <a:gd name="connsiteY31" fmla="*/ 102144 h 361971"/>
                <a:gd name="connsiteX32" fmla="*/ 181474 w 362313"/>
                <a:gd name="connsiteY32" fmla="*/ 102144 h 361971"/>
                <a:gd name="connsiteX33" fmla="*/ 204478 w 362313"/>
                <a:gd name="connsiteY33" fmla="*/ 209395 h 361971"/>
                <a:gd name="connsiteX34" fmla="*/ 198088 w 362313"/>
                <a:gd name="connsiteY34" fmla="*/ 215779 h 361971"/>
                <a:gd name="connsiteX35" fmla="*/ 165499 w 362313"/>
                <a:gd name="connsiteY35" fmla="*/ 215779 h 361971"/>
                <a:gd name="connsiteX36" fmla="*/ 159109 w 362313"/>
                <a:gd name="connsiteY36" fmla="*/ 209395 h 361971"/>
                <a:gd name="connsiteX37" fmla="*/ 165499 w 362313"/>
                <a:gd name="connsiteY37" fmla="*/ 203011 h 361971"/>
                <a:gd name="connsiteX38" fmla="*/ 198088 w 362313"/>
                <a:gd name="connsiteY38" fmla="*/ 203011 h 361971"/>
                <a:gd name="connsiteX39" fmla="*/ 204478 w 362313"/>
                <a:gd name="connsiteY39" fmla="*/ 209395 h 361971"/>
                <a:gd name="connsiteX40" fmla="*/ 116936 w 362313"/>
                <a:gd name="connsiteY40" fmla="*/ 95121 h 361971"/>
                <a:gd name="connsiteX41" fmla="*/ 125882 w 362313"/>
                <a:gd name="connsiteY41" fmla="*/ 93206 h 361971"/>
                <a:gd name="connsiteX42" fmla="*/ 138662 w 362313"/>
                <a:gd name="connsiteY42" fmla="*/ 101505 h 361971"/>
                <a:gd name="connsiteX43" fmla="*/ 140579 w 362313"/>
                <a:gd name="connsiteY43" fmla="*/ 110443 h 361971"/>
                <a:gd name="connsiteX44" fmla="*/ 135467 w 362313"/>
                <a:gd name="connsiteY44" fmla="*/ 113635 h 361971"/>
                <a:gd name="connsiteX45" fmla="*/ 131633 w 362313"/>
                <a:gd name="connsiteY45" fmla="*/ 112358 h 361971"/>
                <a:gd name="connsiteX46" fmla="*/ 118853 w 362313"/>
                <a:gd name="connsiteY46" fmla="*/ 104059 h 361971"/>
                <a:gd name="connsiteX47" fmla="*/ 116936 w 362313"/>
                <a:gd name="connsiteY47" fmla="*/ 95121 h 361971"/>
                <a:gd name="connsiteX48" fmla="*/ 116936 w 362313"/>
                <a:gd name="connsiteY48" fmla="*/ 95121 h 361971"/>
                <a:gd name="connsiteX49" fmla="*/ 104156 w 362313"/>
                <a:gd name="connsiteY49" fmla="*/ 157684 h 361971"/>
                <a:gd name="connsiteX50" fmla="*/ 110546 w 362313"/>
                <a:gd name="connsiteY50" fmla="*/ 151300 h 361971"/>
                <a:gd name="connsiteX51" fmla="*/ 125882 w 362313"/>
                <a:gd name="connsiteY51" fmla="*/ 151300 h 361971"/>
                <a:gd name="connsiteX52" fmla="*/ 132272 w 362313"/>
                <a:gd name="connsiteY52" fmla="*/ 157684 h 361971"/>
                <a:gd name="connsiteX53" fmla="*/ 125882 w 362313"/>
                <a:gd name="connsiteY53" fmla="*/ 164068 h 361971"/>
                <a:gd name="connsiteX54" fmla="*/ 110546 w 362313"/>
                <a:gd name="connsiteY54" fmla="*/ 164068 h 361971"/>
                <a:gd name="connsiteX55" fmla="*/ 104156 w 362313"/>
                <a:gd name="connsiteY55" fmla="*/ 157684 h 361971"/>
                <a:gd name="connsiteX56" fmla="*/ 104156 w 362313"/>
                <a:gd name="connsiteY56" fmla="*/ 157684 h 361971"/>
                <a:gd name="connsiteX57" fmla="*/ 256876 w 362313"/>
                <a:gd name="connsiteY57" fmla="*/ 295578 h 361971"/>
                <a:gd name="connsiteX58" fmla="*/ 250486 w 362313"/>
                <a:gd name="connsiteY58" fmla="*/ 301962 h 361971"/>
                <a:gd name="connsiteX59" fmla="*/ 244096 w 362313"/>
                <a:gd name="connsiteY59" fmla="*/ 295578 h 361971"/>
                <a:gd name="connsiteX60" fmla="*/ 244096 w 362313"/>
                <a:gd name="connsiteY60" fmla="*/ 284087 h 361971"/>
                <a:gd name="connsiteX61" fmla="*/ 200644 w 362313"/>
                <a:gd name="connsiteY61" fmla="*/ 236846 h 361971"/>
                <a:gd name="connsiteX62" fmla="*/ 162304 w 362313"/>
                <a:gd name="connsiteY62" fmla="*/ 236846 h 361971"/>
                <a:gd name="connsiteX63" fmla="*/ 118853 w 362313"/>
                <a:gd name="connsiteY63" fmla="*/ 284087 h 361971"/>
                <a:gd name="connsiteX64" fmla="*/ 118853 w 362313"/>
                <a:gd name="connsiteY64" fmla="*/ 295578 h 361971"/>
                <a:gd name="connsiteX65" fmla="*/ 112463 w 362313"/>
                <a:gd name="connsiteY65" fmla="*/ 301962 h 361971"/>
                <a:gd name="connsiteX66" fmla="*/ 106073 w 362313"/>
                <a:gd name="connsiteY66" fmla="*/ 295578 h 361971"/>
                <a:gd name="connsiteX67" fmla="*/ 106073 w 362313"/>
                <a:gd name="connsiteY67" fmla="*/ 284087 h 361971"/>
                <a:gd name="connsiteX68" fmla="*/ 162304 w 362313"/>
                <a:gd name="connsiteY68" fmla="*/ 224078 h 361971"/>
                <a:gd name="connsiteX69" fmla="*/ 200644 w 362313"/>
                <a:gd name="connsiteY69" fmla="*/ 224078 h 361971"/>
                <a:gd name="connsiteX70" fmla="*/ 256876 w 362313"/>
                <a:gd name="connsiteY70" fmla="*/ 284087 h 361971"/>
                <a:gd name="connsiteX71" fmla="*/ 256876 w 362313"/>
                <a:gd name="connsiteY71" fmla="*/ 295578 h 361971"/>
                <a:gd name="connsiteX72" fmla="*/ 253042 w 362313"/>
                <a:gd name="connsiteY72" fmla="*/ 164068 h 361971"/>
                <a:gd name="connsiteX73" fmla="*/ 237706 w 362313"/>
                <a:gd name="connsiteY73" fmla="*/ 164068 h 361971"/>
                <a:gd name="connsiteX74" fmla="*/ 231316 w 362313"/>
                <a:gd name="connsiteY74" fmla="*/ 157684 h 361971"/>
                <a:gd name="connsiteX75" fmla="*/ 237706 w 362313"/>
                <a:gd name="connsiteY75" fmla="*/ 151300 h 361971"/>
                <a:gd name="connsiteX76" fmla="*/ 253042 w 362313"/>
                <a:gd name="connsiteY76" fmla="*/ 151300 h 361971"/>
                <a:gd name="connsiteX77" fmla="*/ 259431 w 362313"/>
                <a:gd name="connsiteY77" fmla="*/ 157684 h 361971"/>
                <a:gd name="connsiteX78" fmla="*/ 253042 w 362313"/>
                <a:gd name="connsiteY78" fmla="*/ 16406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close/>
                  <a:moveTo>
                    <a:pt x="224926" y="101505"/>
                  </a:moveTo>
                  <a:lnTo>
                    <a:pt x="237706" y="93206"/>
                  </a:lnTo>
                  <a:cubicBezTo>
                    <a:pt x="240901" y="91291"/>
                    <a:pt x="244735" y="91930"/>
                    <a:pt x="246652" y="95121"/>
                  </a:cubicBezTo>
                  <a:cubicBezTo>
                    <a:pt x="248569" y="98313"/>
                    <a:pt x="247929" y="102144"/>
                    <a:pt x="244735" y="104059"/>
                  </a:cubicBezTo>
                  <a:lnTo>
                    <a:pt x="231955" y="112358"/>
                  </a:lnTo>
                  <a:cubicBezTo>
                    <a:pt x="228760" y="114273"/>
                    <a:pt x="224926" y="113635"/>
                    <a:pt x="223009" y="110443"/>
                  </a:cubicBezTo>
                  <a:cubicBezTo>
                    <a:pt x="221092" y="107889"/>
                    <a:pt x="221731" y="103421"/>
                    <a:pt x="224926" y="101505"/>
                  </a:cubicBezTo>
                  <a:close/>
                  <a:moveTo>
                    <a:pt x="175084" y="66394"/>
                  </a:moveTo>
                  <a:cubicBezTo>
                    <a:pt x="175084" y="62563"/>
                    <a:pt x="177640" y="60010"/>
                    <a:pt x="181474" y="60010"/>
                  </a:cubicBezTo>
                  <a:cubicBezTo>
                    <a:pt x="185308" y="60010"/>
                    <a:pt x="187864" y="62563"/>
                    <a:pt x="187864" y="66394"/>
                  </a:cubicBezTo>
                  <a:lnTo>
                    <a:pt x="187864" y="80438"/>
                  </a:lnTo>
                  <a:cubicBezTo>
                    <a:pt x="187864" y="84269"/>
                    <a:pt x="185308" y="86822"/>
                    <a:pt x="181474" y="86822"/>
                  </a:cubicBezTo>
                  <a:cubicBezTo>
                    <a:pt x="177640" y="86822"/>
                    <a:pt x="175084" y="84269"/>
                    <a:pt x="175084" y="80438"/>
                  </a:cubicBezTo>
                  <a:lnTo>
                    <a:pt x="175084" y="66394"/>
                  </a:lnTo>
                  <a:close/>
                  <a:moveTo>
                    <a:pt x="181474" y="102144"/>
                  </a:moveTo>
                  <a:cubicBezTo>
                    <a:pt x="203839" y="101505"/>
                    <a:pt x="221731" y="119381"/>
                    <a:pt x="222370" y="141086"/>
                  </a:cubicBezTo>
                  <a:cubicBezTo>
                    <a:pt x="222370" y="141086"/>
                    <a:pt x="222370" y="141724"/>
                    <a:pt x="222370" y="141724"/>
                  </a:cubicBezTo>
                  <a:cubicBezTo>
                    <a:pt x="223009" y="151939"/>
                    <a:pt x="219175" y="161515"/>
                    <a:pt x="212785" y="168537"/>
                  </a:cubicBezTo>
                  <a:cubicBezTo>
                    <a:pt x="207673" y="174283"/>
                    <a:pt x="204478" y="182582"/>
                    <a:pt x="205117" y="190243"/>
                  </a:cubicBezTo>
                  <a:cubicBezTo>
                    <a:pt x="205117" y="194073"/>
                    <a:pt x="202561" y="196627"/>
                    <a:pt x="198727" y="196627"/>
                  </a:cubicBezTo>
                  <a:lnTo>
                    <a:pt x="164221" y="196627"/>
                  </a:lnTo>
                  <a:cubicBezTo>
                    <a:pt x="160387" y="196627"/>
                    <a:pt x="157832" y="194073"/>
                    <a:pt x="157832" y="190243"/>
                  </a:cubicBezTo>
                  <a:cubicBezTo>
                    <a:pt x="158470" y="181944"/>
                    <a:pt x="155275" y="174283"/>
                    <a:pt x="150164" y="168537"/>
                  </a:cubicBezTo>
                  <a:cubicBezTo>
                    <a:pt x="143774" y="160876"/>
                    <a:pt x="139940" y="151300"/>
                    <a:pt x="140579" y="141724"/>
                  </a:cubicBezTo>
                  <a:cubicBezTo>
                    <a:pt x="140579" y="119381"/>
                    <a:pt x="158470" y="101505"/>
                    <a:pt x="180835" y="102144"/>
                  </a:cubicBezTo>
                  <a:cubicBezTo>
                    <a:pt x="181474" y="102144"/>
                    <a:pt x="181474" y="102144"/>
                    <a:pt x="181474" y="102144"/>
                  </a:cubicBezTo>
                  <a:lnTo>
                    <a:pt x="181474" y="102144"/>
                  </a:lnTo>
                  <a:close/>
                  <a:moveTo>
                    <a:pt x="204478" y="209395"/>
                  </a:moveTo>
                  <a:cubicBezTo>
                    <a:pt x="204478" y="213225"/>
                    <a:pt x="201922" y="215779"/>
                    <a:pt x="198088" y="215779"/>
                  </a:cubicBezTo>
                  <a:lnTo>
                    <a:pt x="165499" y="215779"/>
                  </a:lnTo>
                  <a:cubicBezTo>
                    <a:pt x="161665" y="215779"/>
                    <a:pt x="159109" y="213225"/>
                    <a:pt x="159109" y="209395"/>
                  </a:cubicBezTo>
                  <a:cubicBezTo>
                    <a:pt x="159109" y="205564"/>
                    <a:pt x="161665" y="203011"/>
                    <a:pt x="165499" y="203011"/>
                  </a:cubicBezTo>
                  <a:lnTo>
                    <a:pt x="198088" y="203011"/>
                  </a:lnTo>
                  <a:cubicBezTo>
                    <a:pt x="201283" y="203011"/>
                    <a:pt x="204478" y="205564"/>
                    <a:pt x="204478" y="209395"/>
                  </a:cubicBezTo>
                  <a:close/>
                  <a:moveTo>
                    <a:pt x="116936" y="95121"/>
                  </a:moveTo>
                  <a:cubicBezTo>
                    <a:pt x="118853" y="91930"/>
                    <a:pt x="122687" y="91291"/>
                    <a:pt x="125882" y="93206"/>
                  </a:cubicBezTo>
                  <a:lnTo>
                    <a:pt x="138662" y="101505"/>
                  </a:lnTo>
                  <a:cubicBezTo>
                    <a:pt x="141857" y="103421"/>
                    <a:pt x="142496" y="107251"/>
                    <a:pt x="140579" y="110443"/>
                  </a:cubicBezTo>
                  <a:cubicBezTo>
                    <a:pt x="139301" y="112358"/>
                    <a:pt x="137384" y="113635"/>
                    <a:pt x="135467" y="113635"/>
                  </a:cubicBezTo>
                  <a:cubicBezTo>
                    <a:pt x="134189" y="113635"/>
                    <a:pt x="132911" y="112997"/>
                    <a:pt x="131633" y="112358"/>
                  </a:cubicBezTo>
                  <a:lnTo>
                    <a:pt x="118853" y="104059"/>
                  </a:lnTo>
                  <a:cubicBezTo>
                    <a:pt x="115658" y="102144"/>
                    <a:pt x="115019" y="97675"/>
                    <a:pt x="116936" y="95121"/>
                  </a:cubicBezTo>
                  <a:cubicBezTo>
                    <a:pt x="116936" y="95121"/>
                    <a:pt x="116936" y="95121"/>
                    <a:pt x="116936" y="95121"/>
                  </a:cubicBezTo>
                  <a:close/>
                  <a:moveTo>
                    <a:pt x="104156" y="157684"/>
                  </a:moveTo>
                  <a:cubicBezTo>
                    <a:pt x="104156" y="153854"/>
                    <a:pt x="106712" y="151300"/>
                    <a:pt x="110546" y="151300"/>
                  </a:cubicBezTo>
                  <a:lnTo>
                    <a:pt x="125882" y="151300"/>
                  </a:lnTo>
                  <a:cubicBezTo>
                    <a:pt x="129716" y="151300"/>
                    <a:pt x="132272" y="153854"/>
                    <a:pt x="132272" y="157684"/>
                  </a:cubicBezTo>
                  <a:cubicBezTo>
                    <a:pt x="132272" y="161515"/>
                    <a:pt x="129716" y="164068"/>
                    <a:pt x="125882" y="164068"/>
                  </a:cubicBezTo>
                  <a:lnTo>
                    <a:pt x="110546" y="164068"/>
                  </a:lnTo>
                  <a:cubicBezTo>
                    <a:pt x="106712" y="164068"/>
                    <a:pt x="104156" y="160876"/>
                    <a:pt x="104156" y="157684"/>
                  </a:cubicBezTo>
                  <a:lnTo>
                    <a:pt x="104156" y="157684"/>
                  </a:lnTo>
                  <a:close/>
                  <a:moveTo>
                    <a:pt x="256876" y="295578"/>
                  </a:moveTo>
                  <a:cubicBezTo>
                    <a:pt x="256876" y="299409"/>
                    <a:pt x="254319" y="301962"/>
                    <a:pt x="250486" y="301962"/>
                  </a:cubicBezTo>
                  <a:cubicBezTo>
                    <a:pt x="246652" y="301962"/>
                    <a:pt x="244096" y="299409"/>
                    <a:pt x="244096" y="295578"/>
                  </a:cubicBezTo>
                  <a:lnTo>
                    <a:pt x="244096" y="284087"/>
                  </a:lnTo>
                  <a:cubicBezTo>
                    <a:pt x="244096" y="257913"/>
                    <a:pt x="224287" y="236846"/>
                    <a:pt x="200644" y="236846"/>
                  </a:cubicBezTo>
                  <a:lnTo>
                    <a:pt x="162304" y="236846"/>
                  </a:lnTo>
                  <a:cubicBezTo>
                    <a:pt x="138023" y="236846"/>
                    <a:pt x="118853" y="257913"/>
                    <a:pt x="118853" y="284087"/>
                  </a:cubicBezTo>
                  <a:lnTo>
                    <a:pt x="118853" y="295578"/>
                  </a:lnTo>
                  <a:cubicBezTo>
                    <a:pt x="118853" y="299409"/>
                    <a:pt x="116297" y="301962"/>
                    <a:pt x="112463" y="301962"/>
                  </a:cubicBezTo>
                  <a:cubicBezTo>
                    <a:pt x="108629" y="301962"/>
                    <a:pt x="106073" y="299409"/>
                    <a:pt x="106073" y="295578"/>
                  </a:cubicBezTo>
                  <a:lnTo>
                    <a:pt x="106073" y="284087"/>
                  </a:lnTo>
                  <a:cubicBezTo>
                    <a:pt x="106073" y="250890"/>
                    <a:pt x="131633" y="224078"/>
                    <a:pt x="162304" y="224078"/>
                  </a:cubicBezTo>
                  <a:lnTo>
                    <a:pt x="200644" y="224078"/>
                  </a:lnTo>
                  <a:cubicBezTo>
                    <a:pt x="231955" y="224078"/>
                    <a:pt x="256876" y="250890"/>
                    <a:pt x="256876" y="284087"/>
                  </a:cubicBezTo>
                  <a:lnTo>
                    <a:pt x="256876" y="295578"/>
                  </a:lnTo>
                  <a:close/>
                  <a:moveTo>
                    <a:pt x="253042" y="164068"/>
                  </a:moveTo>
                  <a:lnTo>
                    <a:pt x="237706" y="164068"/>
                  </a:lnTo>
                  <a:cubicBezTo>
                    <a:pt x="233872" y="164068"/>
                    <a:pt x="231316" y="161515"/>
                    <a:pt x="231316" y="157684"/>
                  </a:cubicBezTo>
                  <a:cubicBezTo>
                    <a:pt x="231316" y="153854"/>
                    <a:pt x="233872" y="151300"/>
                    <a:pt x="237706" y="151300"/>
                  </a:cubicBezTo>
                  <a:lnTo>
                    <a:pt x="253042" y="151300"/>
                  </a:lnTo>
                  <a:cubicBezTo>
                    <a:pt x="256876" y="151300"/>
                    <a:pt x="259431" y="153854"/>
                    <a:pt x="259431" y="157684"/>
                  </a:cubicBezTo>
                  <a:cubicBezTo>
                    <a:pt x="259431" y="161515"/>
                    <a:pt x="256237" y="164068"/>
                    <a:pt x="253042" y="164068"/>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4">
            <a:extLst>
              <a:ext uri="{FF2B5EF4-FFF2-40B4-BE49-F238E27FC236}">
                <a16:creationId xmlns:a16="http://schemas.microsoft.com/office/drawing/2014/main" id="{2C3CF0AF-007A-3CE0-FEBB-728811D20A3F}"/>
              </a:ext>
            </a:extLst>
          </p:cNvPr>
          <p:cNvSpPr txBox="1"/>
          <p:nvPr/>
        </p:nvSpPr>
        <p:spPr>
          <a:xfrm>
            <a:off x="5961207" y="4556494"/>
            <a:ext cx="5724472" cy="875624"/>
          </a:xfrm>
          <a:prstGeom prst="rect">
            <a:avLst/>
          </a:prstGeom>
        </p:spPr>
        <p:txBody>
          <a:bodyPr wrap="square" lIns="0" tIns="0" rIns="0" bIns="0" rtlCol="0" anchor="t">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s-MX" sz="2000" b="0" i="0" u="none" strike="noStrike" kern="1200" cap="none" spc="0" normalizeH="0" baseline="0" noProof="0">
                <a:ln>
                  <a:noFill/>
                </a:ln>
                <a:solidFill>
                  <a:srgbClr val="FFFFFF"/>
                </a:solidFill>
                <a:effectLst/>
                <a:uLnTx/>
                <a:uFillTx/>
                <a:latin typeface="Calibri"/>
                <a:ea typeface="+mn-ea"/>
                <a:cs typeface="+mn-cs"/>
              </a:rPr>
              <a:t>¿</a:t>
            </a:r>
            <a:r>
              <a:rPr kumimoji="0" lang="en-US" sz="2000" b="0" i="0" u="none" strike="noStrike" kern="1200" cap="none" spc="0" normalizeH="0" baseline="0" noProof="0" err="1">
                <a:ln>
                  <a:noFill/>
                </a:ln>
                <a:solidFill>
                  <a:srgbClr val="FFFFFF"/>
                </a:solidFill>
                <a:effectLst/>
                <a:uLnTx/>
                <a:uFillTx/>
                <a:latin typeface="Calibri"/>
                <a:ea typeface="+mn-ea"/>
                <a:cs typeface="+mn-cs"/>
              </a:rPr>
              <a:t>Cómo</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aprendiste</a:t>
            </a:r>
            <a:r>
              <a:rPr kumimoji="0" lang="en-US" sz="2000" b="0" i="0" u="none" strike="noStrike" kern="1200" cap="none" spc="0" normalizeH="0" baseline="0" noProof="0">
                <a:ln>
                  <a:noFill/>
                </a:ln>
                <a:solidFill>
                  <a:srgbClr val="FFFFFF"/>
                </a:solidFill>
                <a:effectLst/>
                <a:uLnTx/>
                <a:uFillTx/>
                <a:latin typeface="Calibri"/>
                <a:ea typeface="+mn-ea"/>
                <a:cs typeface="+mn-cs"/>
              </a:rPr>
              <a:t> a </a:t>
            </a:r>
            <a:r>
              <a:rPr kumimoji="0" lang="en-US" sz="2000" b="0" i="0" u="none" strike="noStrike" kern="1200" cap="none" spc="0" normalizeH="0" baseline="0" noProof="0" err="1">
                <a:ln>
                  <a:noFill/>
                </a:ln>
                <a:solidFill>
                  <a:srgbClr val="FFFFFF"/>
                </a:solidFill>
                <a:effectLst/>
                <a:uLnTx/>
                <a:uFillTx/>
                <a:latin typeface="Calibri"/>
                <a:ea typeface="+mn-ea"/>
                <a:cs typeface="+mn-cs"/>
              </a:rPr>
              <a:t>diferenciar</a:t>
            </a:r>
            <a:r>
              <a:rPr kumimoji="0" lang="en-US" sz="2000" b="0" i="0" u="none" strike="noStrike" kern="1200" cap="none" spc="0" normalizeH="0" baseline="0" noProof="0">
                <a:ln>
                  <a:noFill/>
                </a:ln>
                <a:solidFill>
                  <a:srgbClr val="FFFFFF"/>
                </a:solidFill>
                <a:effectLst/>
                <a:uLnTx/>
                <a:uFillTx/>
                <a:latin typeface="Calibri"/>
                <a:ea typeface="+mn-ea"/>
                <a:cs typeface="+mn-cs"/>
              </a:rPr>
              <a:t> a un </a:t>
            </a:r>
            <a:r>
              <a:rPr kumimoji="0" lang="en-US" sz="2000" b="1" i="0" u="none" strike="noStrike" kern="1200" cap="none" spc="0" normalizeH="0" baseline="0" noProof="0" err="1">
                <a:ln>
                  <a:noFill/>
                </a:ln>
                <a:solidFill>
                  <a:srgbClr val="6FC2B4"/>
                </a:solidFill>
                <a:effectLst/>
                <a:uLnTx/>
                <a:uFillTx/>
                <a:latin typeface="Calibri"/>
                <a:ea typeface="+mn-ea"/>
                <a:cs typeface="+mn-cs"/>
              </a:rPr>
              <a:t>perro</a:t>
            </a:r>
            <a:r>
              <a:rPr kumimoji="0" lang="en-US" sz="2000" b="0" i="0" u="none" strike="noStrike" kern="1200" cap="none" spc="0" normalizeH="0" baseline="0" noProof="0">
                <a:ln>
                  <a:noFill/>
                </a:ln>
                <a:solidFill>
                  <a:srgbClr val="FFFFFF"/>
                </a:solidFill>
                <a:effectLst/>
                <a:uLnTx/>
                <a:uFillTx/>
                <a:latin typeface="Calibri"/>
                <a:ea typeface="+mn-ea"/>
                <a:cs typeface="+mn-cs"/>
              </a:rPr>
              <a:t> del </a:t>
            </a:r>
            <a:r>
              <a:rPr kumimoji="0" lang="en-US" sz="2000" b="1" i="0" u="none" strike="noStrike" kern="1200" cap="none" spc="0" normalizeH="0" baseline="0" noProof="0">
                <a:ln>
                  <a:noFill/>
                </a:ln>
                <a:solidFill>
                  <a:srgbClr val="0097A9"/>
                </a:solidFill>
                <a:effectLst/>
                <a:uLnTx/>
                <a:uFillTx/>
                <a:latin typeface="Calibri"/>
                <a:ea typeface="+mn-ea"/>
                <a:cs typeface="+mn-cs"/>
              </a:rPr>
              <a:t>resto de </a:t>
            </a:r>
            <a:r>
              <a:rPr kumimoji="0" lang="en-US" sz="2000" b="1" i="0" u="none" strike="noStrike" kern="1200" cap="none" spc="0" normalizeH="0" baseline="0" noProof="0" err="1">
                <a:ln>
                  <a:noFill/>
                </a:ln>
                <a:solidFill>
                  <a:srgbClr val="0097A9"/>
                </a:solidFill>
                <a:effectLst/>
                <a:uLnTx/>
                <a:uFillTx/>
                <a:latin typeface="Calibri"/>
                <a:ea typeface="+mn-ea"/>
                <a:cs typeface="+mn-cs"/>
              </a:rPr>
              <a:t>los</a:t>
            </a:r>
            <a:r>
              <a:rPr kumimoji="0" lang="en-US" sz="2000" b="1" i="0" u="none" strike="noStrike" kern="1200" cap="none" spc="0" normalizeH="0" baseline="0" noProof="0">
                <a:ln>
                  <a:noFill/>
                </a:ln>
                <a:solidFill>
                  <a:srgbClr val="0097A9"/>
                </a:solidFill>
                <a:effectLst/>
                <a:uLnTx/>
                <a:uFillTx/>
                <a:latin typeface="Calibri"/>
                <a:ea typeface="+mn-ea"/>
                <a:cs typeface="+mn-cs"/>
              </a:rPr>
              <a:t> </a:t>
            </a:r>
            <a:r>
              <a:rPr kumimoji="0" lang="en-US" sz="2000" b="1" i="0" u="none" strike="noStrike" kern="1200" cap="none" spc="0" normalizeH="0" baseline="0" noProof="0" err="1">
                <a:ln>
                  <a:noFill/>
                </a:ln>
                <a:solidFill>
                  <a:srgbClr val="0097A9"/>
                </a:solidFill>
                <a:effectLst/>
                <a:uLnTx/>
                <a:uFillTx/>
                <a:latin typeface="Calibri"/>
                <a:ea typeface="+mn-ea"/>
                <a:cs typeface="+mn-cs"/>
              </a:rPr>
              <a:t>animales</a:t>
            </a:r>
            <a:r>
              <a:rPr kumimoji="0" lang="en-US" sz="2000" b="0" i="0" u="none" strike="noStrike" kern="1200" cap="none" spc="0" normalizeH="0" baseline="0" noProof="0">
                <a:ln>
                  <a:noFill/>
                </a:ln>
                <a:solidFill>
                  <a:srgbClr val="FFFFFF"/>
                </a:solidFill>
                <a:effectLst/>
                <a:uLnTx/>
                <a:uFillTx/>
                <a:latin typeface="Calibri"/>
                <a:ea typeface="+mn-ea"/>
                <a:cs typeface="+mn-cs"/>
              </a:rPr>
              <a:t>?</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descr="A white chalk drawing of a speech bubble&#10;&#10;Description automatically generated">
            <a:extLst>
              <a:ext uri="{FF2B5EF4-FFF2-40B4-BE49-F238E27FC236}">
                <a16:creationId xmlns:a16="http://schemas.microsoft.com/office/drawing/2014/main" id="{0EDF5A49-DE9A-03CE-8F02-A30C8FC69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4205" y="1190351"/>
            <a:ext cx="3049377" cy="1344153"/>
          </a:xfrm>
          <a:prstGeom prst="rect">
            <a:avLst/>
          </a:prstGeom>
        </p:spPr>
      </p:pic>
      <p:sp>
        <p:nvSpPr>
          <p:cNvPr id="3" name="Freeform 7">
            <a:extLst>
              <a:ext uri="{FF2B5EF4-FFF2-40B4-BE49-F238E27FC236}">
                <a16:creationId xmlns:a16="http://schemas.microsoft.com/office/drawing/2014/main" id="{6B8B50A7-7249-02A1-7CE8-5F5D6EB073B1}"/>
              </a:ext>
            </a:extLst>
          </p:cNvPr>
          <p:cNvSpPr/>
          <p:nvPr/>
        </p:nvSpPr>
        <p:spPr>
          <a:xfrm>
            <a:off x="7770826" y="197383"/>
            <a:ext cx="2117164" cy="1539755"/>
          </a:xfrm>
          <a:custGeom>
            <a:avLst/>
            <a:gdLst/>
            <a:ahLst/>
            <a:cxnLst/>
            <a:rect l="l" t="t" r="r" b="b"/>
            <a:pathLst>
              <a:path w="2685976" h="1953437">
                <a:moveTo>
                  <a:pt x="0" y="0"/>
                </a:moveTo>
                <a:lnTo>
                  <a:pt x="2685976" y="0"/>
                </a:lnTo>
                <a:lnTo>
                  <a:pt x="2685976" y="1953437"/>
                </a:lnTo>
                <a:lnTo>
                  <a:pt x="0" y="1953437"/>
                </a:lnTo>
                <a:lnTo>
                  <a:pt x="0" y="0"/>
                </a:lnTo>
                <a:close/>
              </a:path>
            </a:pathLst>
          </a:custGeom>
          <a:blipFill>
            <a:blip r:embed="rId4"/>
            <a:stretch>
              <a:fillRect/>
            </a:stretch>
          </a:blipFill>
        </p:spPr>
      </p:sp>
      <p:sp>
        <p:nvSpPr>
          <p:cNvPr id="4" name="Freeform 13">
            <a:extLst>
              <a:ext uri="{FF2B5EF4-FFF2-40B4-BE49-F238E27FC236}">
                <a16:creationId xmlns:a16="http://schemas.microsoft.com/office/drawing/2014/main" id="{418CB178-2E3F-BDCE-9E78-C3261F4B1460}"/>
              </a:ext>
            </a:extLst>
          </p:cNvPr>
          <p:cNvSpPr/>
          <p:nvPr/>
        </p:nvSpPr>
        <p:spPr>
          <a:xfrm>
            <a:off x="7752292" y="2046237"/>
            <a:ext cx="2095965" cy="1179563"/>
          </a:xfrm>
          <a:custGeom>
            <a:avLst/>
            <a:gdLst/>
            <a:ahLst/>
            <a:cxnLst/>
            <a:rect l="l" t="t" r="r" b="b"/>
            <a:pathLst>
              <a:path w="3143948" h="1769344">
                <a:moveTo>
                  <a:pt x="0" y="0"/>
                </a:moveTo>
                <a:lnTo>
                  <a:pt x="3143948" y="0"/>
                </a:lnTo>
                <a:lnTo>
                  <a:pt x="3143948" y="1769344"/>
                </a:lnTo>
                <a:lnTo>
                  <a:pt x="0" y="1769344"/>
                </a:lnTo>
                <a:lnTo>
                  <a:pt x="0" y="0"/>
                </a:lnTo>
                <a:close/>
              </a:path>
            </a:pathLst>
          </a:custGeom>
          <a:blipFill>
            <a:blip r:embed="rId5"/>
            <a:stretch>
              <a:fillRect/>
            </a:stretch>
          </a:blipFill>
        </p:spPr>
      </p:sp>
      <p:sp>
        <p:nvSpPr>
          <p:cNvPr id="5" name="Freeform 19">
            <a:extLst>
              <a:ext uri="{FF2B5EF4-FFF2-40B4-BE49-F238E27FC236}">
                <a16:creationId xmlns:a16="http://schemas.microsoft.com/office/drawing/2014/main" id="{CF81CCE1-7FCF-429A-3B2B-20676156C418}"/>
              </a:ext>
            </a:extLst>
          </p:cNvPr>
          <p:cNvSpPr/>
          <p:nvPr/>
        </p:nvSpPr>
        <p:spPr>
          <a:xfrm>
            <a:off x="7727216" y="3644210"/>
            <a:ext cx="2146116" cy="1207190"/>
          </a:xfrm>
          <a:custGeom>
            <a:avLst/>
            <a:gdLst/>
            <a:ahLst/>
            <a:cxnLst/>
            <a:rect l="l" t="t" r="r" b="b"/>
            <a:pathLst>
              <a:path w="3219174" h="1810785">
                <a:moveTo>
                  <a:pt x="0" y="0"/>
                </a:moveTo>
                <a:lnTo>
                  <a:pt x="3219174" y="0"/>
                </a:lnTo>
                <a:lnTo>
                  <a:pt x="3219174" y="1810785"/>
                </a:lnTo>
                <a:lnTo>
                  <a:pt x="0" y="1810785"/>
                </a:lnTo>
                <a:lnTo>
                  <a:pt x="0" y="0"/>
                </a:lnTo>
                <a:close/>
              </a:path>
            </a:pathLst>
          </a:custGeom>
          <a:blipFill>
            <a:blip r:embed="rId6"/>
            <a:stretch>
              <a:fillRect/>
            </a:stretch>
          </a:blipFill>
        </p:spPr>
      </p:sp>
      <p:sp>
        <p:nvSpPr>
          <p:cNvPr id="6" name="Freeform 25">
            <a:extLst>
              <a:ext uri="{FF2B5EF4-FFF2-40B4-BE49-F238E27FC236}">
                <a16:creationId xmlns:a16="http://schemas.microsoft.com/office/drawing/2014/main" id="{F51FEECD-9126-C45F-505A-7C745F1AFA15}"/>
              </a:ext>
            </a:extLst>
          </p:cNvPr>
          <p:cNvSpPr/>
          <p:nvPr/>
        </p:nvSpPr>
        <p:spPr>
          <a:xfrm>
            <a:off x="7694548" y="5234241"/>
            <a:ext cx="2211452" cy="1263687"/>
          </a:xfrm>
          <a:custGeom>
            <a:avLst/>
            <a:gdLst/>
            <a:ahLst/>
            <a:cxnLst/>
            <a:rect l="l" t="t" r="r" b="b"/>
            <a:pathLst>
              <a:path w="3317178" h="1895530">
                <a:moveTo>
                  <a:pt x="0" y="0"/>
                </a:moveTo>
                <a:lnTo>
                  <a:pt x="3317178" y="0"/>
                </a:lnTo>
                <a:lnTo>
                  <a:pt x="3317178" y="1895530"/>
                </a:lnTo>
                <a:lnTo>
                  <a:pt x="0" y="1895530"/>
                </a:lnTo>
                <a:lnTo>
                  <a:pt x="0" y="0"/>
                </a:lnTo>
                <a:close/>
              </a:path>
            </a:pathLst>
          </a:custGeom>
          <a:blipFill>
            <a:blip r:embed="rId7"/>
            <a:stretch>
              <a:fillRect/>
            </a:stretch>
          </a:blipFill>
        </p:spPr>
      </p:sp>
      <p:sp>
        <p:nvSpPr>
          <p:cNvPr id="13" name="TextBox 26">
            <a:extLst>
              <a:ext uri="{FF2B5EF4-FFF2-40B4-BE49-F238E27FC236}">
                <a16:creationId xmlns:a16="http://schemas.microsoft.com/office/drawing/2014/main" id="{D73CFB86-D32F-2A8B-09C6-EE2571B6FE91}"/>
              </a:ext>
            </a:extLst>
          </p:cNvPr>
          <p:cNvSpPr txBox="1"/>
          <p:nvPr/>
        </p:nvSpPr>
        <p:spPr>
          <a:xfrm>
            <a:off x="5599077" y="736600"/>
            <a:ext cx="2948993" cy="373885"/>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Canva Sans Bold"/>
                <a:ea typeface="+mn-ea"/>
                <a:cs typeface="+mn-cs"/>
              </a:rPr>
              <a:t>A</a:t>
            </a:r>
          </a:p>
        </p:txBody>
      </p:sp>
      <p:sp>
        <p:nvSpPr>
          <p:cNvPr id="14" name="TextBox 26">
            <a:extLst>
              <a:ext uri="{FF2B5EF4-FFF2-40B4-BE49-F238E27FC236}">
                <a16:creationId xmlns:a16="http://schemas.microsoft.com/office/drawing/2014/main" id="{E45F7B3C-54A1-CF01-EE5D-E26FCEF1211F}"/>
              </a:ext>
            </a:extLst>
          </p:cNvPr>
          <p:cNvSpPr txBox="1"/>
          <p:nvPr/>
        </p:nvSpPr>
        <p:spPr>
          <a:xfrm>
            <a:off x="5599077" y="2534963"/>
            <a:ext cx="2948993" cy="373885"/>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nva Sans Bold"/>
                <a:ea typeface="+mn-ea"/>
                <a:cs typeface="+mn-cs"/>
              </a:rPr>
              <a:t>B</a:t>
            </a:r>
            <a:endParaRPr kumimoji="0" lang="en-US" sz="2266" b="0" i="0" u="none" strike="noStrike" kern="1200" cap="none" spc="0" normalizeH="0" baseline="0" noProof="0">
              <a:ln>
                <a:noFill/>
              </a:ln>
              <a:solidFill>
                <a:prstClr val="white"/>
              </a:solidFill>
              <a:effectLst/>
              <a:uLnTx/>
              <a:uFillTx/>
              <a:latin typeface="Canva Sans Bold"/>
              <a:ea typeface="+mn-ea"/>
              <a:cs typeface="+mn-cs"/>
            </a:endParaRPr>
          </a:p>
        </p:txBody>
      </p:sp>
      <p:sp>
        <p:nvSpPr>
          <p:cNvPr id="15" name="TextBox 26">
            <a:extLst>
              <a:ext uri="{FF2B5EF4-FFF2-40B4-BE49-F238E27FC236}">
                <a16:creationId xmlns:a16="http://schemas.microsoft.com/office/drawing/2014/main" id="{66261C53-1161-E7B9-D89B-01B769420755}"/>
              </a:ext>
            </a:extLst>
          </p:cNvPr>
          <p:cNvSpPr txBox="1"/>
          <p:nvPr/>
        </p:nvSpPr>
        <p:spPr>
          <a:xfrm>
            <a:off x="5599077" y="4131639"/>
            <a:ext cx="2948993" cy="373885"/>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nva Sans Bold"/>
                <a:ea typeface="+mn-ea"/>
                <a:cs typeface="+mn-cs"/>
              </a:rPr>
              <a:t>C</a:t>
            </a:r>
            <a:endParaRPr kumimoji="0" lang="en-US" sz="2266" b="0" i="0" u="none" strike="noStrike" kern="1200" cap="none" spc="0" normalizeH="0" baseline="0" noProof="0">
              <a:ln>
                <a:noFill/>
              </a:ln>
              <a:solidFill>
                <a:prstClr val="white"/>
              </a:solidFill>
              <a:effectLst/>
              <a:uLnTx/>
              <a:uFillTx/>
              <a:latin typeface="Canva Sans Bold"/>
              <a:ea typeface="+mn-ea"/>
              <a:cs typeface="+mn-cs"/>
            </a:endParaRPr>
          </a:p>
        </p:txBody>
      </p:sp>
      <p:sp>
        <p:nvSpPr>
          <p:cNvPr id="16" name="TextBox 26">
            <a:extLst>
              <a:ext uri="{FF2B5EF4-FFF2-40B4-BE49-F238E27FC236}">
                <a16:creationId xmlns:a16="http://schemas.microsoft.com/office/drawing/2014/main" id="{0F040430-62B6-D381-B336-8EDEA6BB56DC}"/>
              </a:ext>
            </a:extLst>
          </p:cNvPr>
          <p:cNvSpPr txBox="1"/>
          <p:nvPr/>
        </p:nvSpPr>
        <p:spPr>
          <a:xfrm>
            <a:off x="5599077" y="5930002"/>
            <a:ext cx="2948993" cy="373885"/>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nva Sans Bold"/>
                <a:ea typeface="+mn-ea"/>
                <a:cs typeface="+mn-cs"/>
              </a:rPr>
              <a:t>D</a:t>
            </a:r>
            <a:endParaRPr kumimoji="0" lang="en-US" sz="2266" b="0" i="0" u="none" strike="noStrike" kern="1200" cap="none" spc="0" normalizeH="0" baseline="0" noProof="0">
              <a:ln>
                <a:noFill/>
              </a:ln>
              <a:solidFill>
                <a:prstClr val="white"/>
              </a:solidFill>
              <a:effectLst/>
              <a:uLnTx/>
              <a:uFillTx/>
              <a:latin typeface="Canva Sans Bold"/>
              <a:ea typeface="+mn-ea"/>
              <a:cs typeface="+mn-cs"/>
            </a:endParaRPr>
          </a:p>
        </p:txBody>
      </p:sp>
      <p:sp>
        <p:nvSpPr>
          <p:cNvPr id="18" name="Rectangle 17">
            <a:extLst>
              <a:ext uri="{FF2B5EF4-FFF2-40B4-BE49-F238E27FC236}">
                <a16:creationId xmlns:a16="http://schemas.microsoft.com/office/drawing/2014/main" id="{5D773BDB-B139-50F4-556B-117883144E22}"/>
              </a:ext>
            </a:extLst>
          </p:cNvPr>
          <p:cNvSpPr/>
          <p:nvPr/>
        </p:nvSpPr>
        <p:spPr>
          <a:xfrm>
            <a:off x="7702141" y="3632200"/>
            <a:ext cx="2185849" cy="1263687"/>
          </a:xfrm>
          <a:prstGeom prst="rect">
            <a:avLst/>
          </a:prstGeom>
          <a:solidFill>
            <a:srgbClr val="9DD4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2133" b="1"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E834FE2D-E575-334D-511E-9D62D7BC5D3B}"/>
              </a:ext>
            </a:extLst>
          </p:cNvPr>
          <p:cNvSpPr/>
          <p:nvPr/>
        </p:nvSpPr>
        <p:spPr>
          <a:xfrm>
            <a:off x="7702141" y="5234241"/>
            <a:ext cx="2211452" cy="1263687"/>
          </a:xfrm>
          <a:prstGeom prst="rect">
            <a:avLst/>
          </a:prstGeom>
          <a:solidFill>
            <a:srgbClr val="6FC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3600" b="1" i="0" u="none" strike="noStrike" kern="1200" cap="none" spc="0" normalizeH="0" baseline="0" noProof="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856795F8-3905-DFD1-5DDB-0174E89B0FE9}"/>
              </a:ext>
            </a:extLst>
          </p:cNvPr>
          <p:cNvSpPr/>
          <p:nvPr/>
        </p:nvSpPr>
        <p:spPr>
          <a:xfrm>
            <a:off x="7702141" y="2008611"/>
            <a:ext cx="2185849" cy="1263687"/>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3600" b="1" i="0" u="none" strike="noStrike" kern="1200" cap="none" spc="0" normalizeH="0" baseline="0" noProof="0">
              <a:ln>
                <a:noFill/>
              </a:ln>
              <a:solidFill>
                <a:prstClr val="white"/>
              </a:solidFill>
              <a:effectLst/>
              <a:uLnTx/>
              <a:uFillTx/>
              <a:latin typeface="Calibri"/>
              <a:ea typeface="+mn-ea"/>
              <a:cs typeface="+mn-cs"/>
            </a:endParaRPr>
          </a:p>
        </p:txBody>
      </p:sp>
      <p:sp>
        <p:nvSpPr>
          <p:cNvPr id="21" name="TextBox 26">
            <a:extLst>
              <a:ext uri="{FF2B5EF4-FFF2-40B4-BE49-F238E27FC236}">
                <a16:creationId xmlns:a16="http://schemas.microsoft.com/office/drawing/2014/main" id="{C083C4C2-1494-F4B6-0FF2-8D3B2E5B9536}"/>
              </a:ext>
            </a:extLst>
          </p:cNvPr>
          <p:cNvSpPr txBox="1"/>
          <p:nvPr/>
        </p:nvSpPr>
        <p:spPr>
          <a:xfrm>
            <a:off x="1327182" y="1545951"/>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Calibri"/>
                <a:ea typeface="+mn-ea"/>
                <a:cs typeface="+mn-cs"/>
              </a:rPr>
              <a:t>¿</a:t>
            </a:r>
            <a:r>
              <a:rPr kumimoji="0" lang="en-US" sz="2266" b="0" i="0" u="none" strike="noStrike" kern="1200" cap="none" spc="0" normalizeH="0" baseline="0" noProof="0" err="1">
                <a:ln>
                  <a:noFill/>
                </a:ln>
                <a:solidFill>
                  <a:prstClr val="white"/>
                </a:solidFill>
                <a:effectLst/>
                <a:uLnTx/>
                <a:uFillTx/>
                <a:latin typeface="Calibri"/>
                <a:ea typeface="+mn-ea"/>
                <a:cs typeface="+mn-cs"/>
              </a:rPr>
              <a:t>Esto</a:t>
            </a:r>
            <a:r>
              <a:rPr kumimoji="0" lang="en-US" sz="2266" b="0" i="0" u="none" strike="noStrike" kern="1200" cap="none" spc="0" normalizeH="0" baseline="0" noProof="0">
                <a:ln>
                  <a:noFill/>
                </a:ln>
                <a:solidFill>
                  <a:prstClr val="white"/>
                </a:solidFill>
                <a:effectLst/>
                <a:uLnTx/>
                <a:uFillTx/>
                <a:latin typeface="Calibri"/>
                <a:ea typeface="+mn-ea"/>
                <a:cs typeface="+mn-cs"/>
              </a:rPr>
              <a:t> es un </a:t>
            </a:r>
            <a:r>
              <a:rPr kumimoji="0" lang="en-US" sz="2266" b="0" i="0" u="none" strike="noStrike" kern="1200" cap="none" spc="0" normalizeH="0" baseline="0" noProof="0" err="1">
                <a:ln>
                  <a:noFill/>
                </a:ln>
                <a:solidFill>
                  <a:prstClr val="white"/>
                </a:solidFill>
                <a:effectLst/>
                <a:uLnTx/>
                <a:uFillTx/>
                <a:latin typeface="Calibri"/>
                <a:ea typeface="+mn-ea"/>
                <a:cs typeface="+mn-cs"/>
              </a:rPr>
              <a:t>perro</a:t>
            </a:r>
            <a:r>
              <a:rPr kumimoji="0" lang="en-US" sz="2266" b="0" i="0" u="none" strike="noStrike" kern="1200" cap="none" spc="0" normalizeH="0" baseline="0" noProof="0">
                <a:ln>
                  <a:noFill/>
                </a:ln>
                <a:solidFill>
                  <a:prstClr val="white"/>
                </a:solidFill>
                <a:effectLst/>
                <a:uLnTx/>
                <a:uFillTx/>
                <a:latin typeface="Calibri"/>
                <a:ea typeface="+mn-ea"/>
                <a:cs typeface="+mn-cs"/>
              </a:rPr>
              <a:t>?</a:t>
            </a:r>
          </a:p>
        </p:txBody>
      </p:sp>
      <p:grpSp>
        <p:nvGrpSpPr>
          <p:cNvPr id="2" name="object 352">
            <a:extLst>
              <a:ext uri="{FF2B5EF4-FFF2-40B4-BE49-F238E27FC236}">
                <a16:creationId xmlns:a16="http://schemas.microsoft.com/office/drawing/2014/main" id="{21003135-2889-2E21-B116-F998F1CB3042}"/>
              </a:ext>
            </a:extLst>
          </p:cNvPr>
          <p:cNvGrpSpPr/>
          <p:nvPr/>
        </p:nvGrpSpPr>
        <p:grpSpPr>
          <a:xfrm flipH="1">
            <a:off x="455480" y="2197986"/>
            <a:ext cx="1985495" cy="4685414"/>
            <a:chOff x="3863476" y="2167213"/>
            <a:chExt cx="1422400" cy="3356610"/>
          </a:xfrm>
        </p:grpSpPr>
        <p:sp>
          <p:nvSpPr>
            <p:cNvPr id="8" name="object 353">
              <a:extLst>
                <a:ext uri="{FF2B5EF4-FFF2-40B4-BE49-F238E27FC236}">
                  <a16:creationId xmlns:a16="http://schemas.microsoft.com/office/drawing/2014/main" id="{B94D5638-9016-58A2-96A7-DED6B1A31D01}"/>
                </a:ext>
              </a:extLst>
            </p:cNvPr>
            <p:cNvSpPr/>
            <p:nvPr/>
          </p:nvSpPr>
          <p:spPr>
            <a:xfrm>
              <a:off x="4068353" y="5206448"/>
              <a:ext cx="253365" cy="265430"/>
            </a:xfrm>
            <a:custGeom>
              <a:avLst/>
              <a:gdLst/>
              <a:ahLst/>
              <a:cxnLst/>
              <a:rect l="l" t="t" r="r" b="b"/>
              <a:pathLst>
                <a:path w="253364" h="265429">
                  <a:moveTo>
                    <a:pt x="253133" y="0"/>
                  </a:moveTo>
                  <a:lnTo>
                    <a:pt x="151084" y="0"/>
                  </a:lnTo>
                  <a:lnTo>
                    <a:pt x="135665" y="77596"/>
                  </a:lnTo>
                  <a:lnTo>
                    <a:pt x="119692" y="123624"/>
                  </a:lnTo>
                  <a:lnTo>
                    <a:pt x="93416" y="156231"/>
                  </a:lnTo>
                  <a:lnTo>
                    <a:pt x="47087" y="193564"/>
                  </a:lnTo>
                  <a:lnTo>
                    <a:pt x="0" y="235919"/>
                  </a:lnTo>
                  <a:lnTo>
                    <a:pt x="138739" y="265143"/>
                  </a:lnTo>
                  <a:lnTo>
                    <a:pt x="213134" y="215585"/>
                  </a:lnTo>
                  <a:lnTo>
                    <a:pt x="206705" y="192203"/>
                  </a:lnTo>
                  <a:lnTo>
                    <a:pt x="211252" y="152338"/>
                  </a:lnTo>
                  <a:lnTo>
                    <a:pt x="227512" y="87361"/>
                  </a:lnTo>
                  <a:lnTo>
                    <a:pt x="244976" y="26754"/>
                  </a:lnTo>
                  <a:lnTo>
                    <a:pt x="253133" y="0"/>
                  </a:lnTo>
                  <a:close/>
                </a:path>
              </a:pathLst>
            </a:custGeom>
            <a:solidFill>
              <a:srgbClr val="F4D1AC"/>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354">
              <a:extLst>
                <a:ext uri="{FF2B5EF4-FFF2-40B4-BE49-F238E27FC236}">
                  <a16:creationId xmlns:a16="http://schemas.microsoft.com/office/drawing/2014/main" id="{ECDEB185-D5AF-DA31-30DA-041B03A789B2}"/>
                </a:ext>
              </a:extLst>
            </p:cNvPr>
            <p:cNvSpPr/>
            <p:nvPr/>
          </p:nvSpPr>
          <p:spPr>
            <a:xfrm>
              <a:off x="3868793" y="5387055"/>
              <a:ext cx="430530" cy="118110"/>
            </a:xfrm>
            <a:custGeom>
              <a:avLst/>
              <a:gdLst/>
              <a:ahLst/>
              <a:cxnLst/>
              <a:rect l="l" t="t" r="r" b="b"/>
              <a:pathLst>
                <a:path w="430529" h="118110">
                  <a:moveTo>
                    <a:pt x="228171" y="0"/>
                  </a:moveTo>
                  <a:lnTo>
                    <a:pt x="187408" y="24227"/>
                  </a:lnTo>
                  <a:lnTo>
                    <a:pt x="131390" y="47869"/>
                  </a:lnTo>
                  <a:lnTo>
                    <a:pt x="90279" y="58197"/>
                  </a:lnTo>
                  <a:lnTo>
                    <a:pt x="51252" y="66909"/>
                  </a:lnTo>
                  <a:lnTo>
                    <a:pt x="22935" y="73760"/>
                  </a:lnTo>
                  <a:lnTo>
                    <a:pt x="5720" y="81914"/>
                  </a:lnTo>
                  <a:lnTo>
                    <a:pt x="0" y="94531"/>
                  </a:lnTo>
                  <a:lnTo>
                    <a:pt x="40698" y="110690"/>
                  </a:lnTo>
                  <a:lnTo>
                    <a:pt x="129960" y="116971"/>
                  </a:lnTo>
                  <a:lnTo>
                    <a:pt x="219169" y="117623"/>
                  </a:lnTo>
                  <a:lnTo>
                    <a:pt x="259709" y="116896"/>
                  </a:lnTo>
                  <a:lnTo>
                    <a:pt x="430374" y="111368"/>
                  </a:lnTo>
                  <a:lnTo>
                    <a:pt x="418468" y="27308"/>
                  </a:lnTo>
                  <a:lnTo>
                    <a:pt x="387499" y="36533"/>
                  </a:lnTo>
                  <a:lnTo>
                    <a:pt x="367199" y="41270"/>
                  </a:lnTo>
                  <a:lnTo>
                    <a:pt x="348590" y="43016"/>
                  </a:lnTo>
                  <a:lnTo>
                    <a:pt x="322691" y="43265"/>
                  </a:lnTo>
                  <a:lnTo>
                    <a:pt x="291592" y="42003"/>
                  </a:lnTo>
                  <a:lnTo>
                    <a:pt x="266645" y="38726"/>
                  </a:lnTo>
                  <a:lnTo>
                    <a:pt x="247161" y="34201"/>
                  </a:lnTo>
                  <a:lnTo>
                    <a:pt x="232453" y="29192"/>
                  </a:lnTo>
                  <a:lnTo>
                    <a:pt x="239316" y="17342"/>
                  </a:lnTo>
                  <a:lnTo>
                    <a:pt x="237007" y="8117"/>
                  </a:lnTo>
                  <a:lnTo>
                    <a:pt x="231350" y="2131"/>
                  </a:lnTo>
                  <a:lnTo>
                    <a:pt x="228171" y="0"/>
                  </a:lnTo>
                  <a:close/>
                </a:path>
              </a:pathLst>
            </a:custGeom>
            <a:solidFill>
              <a:srgbClr val="EEB841"/>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355">
              <a:extLst>
                <a:ext uri="{FF2B5EF4-FFF2-40B4-BE49-F238E27FC236}">
                  <a16:creationId xmlns:a16="http://schemas.microsoft.com/office/drawing/2014/main" id="{A0AA7CCA-0726-55A5-DEFF-3CA2809890DC}"/>
                </a:ext>
              </a:extLst>
            </p:cNvPr>
            <p:cNvSpPr/>
            <p:nvPr/>
          </p:nvSpPr>
          <p:spPr>
            <a:xfrm>
              <a:off x="3863467" y="5417953"/>
              <a:ext cx="436880" cy="105410"/>
            </a:xfrm>
            <a:custGeom>
              <a:avLst/>
              <a:gdLst/>
              <a:ahLst/>
              <a:cxnLst/>
              <a:rect l="l" t="t" r="r" b="b"/>
              <a:pathLst>
                <a:path w="436879" h="105410">
                  <a:moveTo>
                    <a:pt x="280568" y="10325"/>
                  </a:moveTo>
                  <a:lnTo>
                    <a:pt x="268630" y="8064"/>
                  </a:lnTo>
                  <a:lnTo>
                    <a:pt x="258279" y="5499"/>
                  </a:lnTo>
                  <a:lnTo>
                    <a:pt x="249389" y="2781"/>
                  </a:lnTo>
                  <a:lnTo>
                    <a:pt x="241858" y="0"/>
                  </a:lnTo>
                  <a:lnTo>
                    <a:pt x="225018" y="7251"/>
                  </a:lnTo>
                  <a:lnTo>
                    <a:pt x="211404" y="12649"/>
                  </a:lnTo>
                  <a:lnTo>
                    <a:pt x="189001" y="21120"/>
                  </a:lnTo>
                  <a:lnTo>
                    <a:pt x="178943" y="29578"/>
                  </a:lnTo>
                  <a:lnTo>
                    <a:pt x="179387" y="39166"/>
                  </a:lnTo>
                  <a:lnTo>
                    <a:pt x="190360" y="44335"/>
                  </a:lnTo>
                  <a:lnTo>
                    <a:pt x="211912" y="39522"/>
                  </a:lnTo>
                  <a:lnTo>
                    <a:pt x="280568" y="10325"/>
                  </a:lnTo>
                  <a:close/>
                </a:path>
                <a:path w="436879" h="105410">
                  <a:moveTo>
                    <a:pt x="436397" y="78536"/>
                  </a:moveTo>
                  <a:lnTo>
                    <a:pt x="149034" y="78536"/>
                  </a:lnTo>
                  <a:lnTo>
                    <a:pt x="90538" y="76974"/>
                  </a:lnTo>
                  <a:lnTo>
                    <a:pt x="44284" y="73533"/>
                  </a:lnTo>
                  <a:lnTo>
                    <a:pt x="13779" y="70065"/>
                  </a:lnTo>
                  <a:lnTo>
                    <a:pt x="2540" y="68453"/>
                  </a:lnTo>
                  <a:lnTo>
                    <a:pt x="0" y="95250"/>
                  </a:lnTo>
                  <a:lnTo>
                    <a:pt x="12026" y="96989"/>
                  </a:lnTo>
                  <a:lnTo>
                    <a:pt x="42646" y="100431"/>
                  </a:lnTo>
                  <a:lnTo>
                    <a:pt x="89204" y="103797"/>
                  </a:lnTo>
                  <a:lnTo>
                    <a:pt x="149034" y="105308"/>
                  </a:lnTo>
                  <a:lnTo>
                    <a:pt x="436397" y="105308"/>
                  </a:lnTo>
                  <a:lnTo>
                    <a:pt x="436397" y="78536"/>
                  </a:lnTo>
                  <a:close/>
                </a:path>
              </a:pathLst>
            </a:custGeom>
            <a:solidFill>
              <a:srgbClr val="A0A0A0"/>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pic>
          <p:nvPicPr>
            <p:cNvPr id="12" name="object 356">
              <a:extLst>
                <a:ext uri="{FF2B5EF4-FFF2-40B4-BE49-F238E27FC236}">
                  <a16:creationId xmlns:a16="http://schemas.microsoft.com/office/drawing/2014/main" id="{E68C3E6D-61BA-D17F-48D4-28E9595DDE07}"/>
                </a:ext>
              </a:extLst>
            </p:cNvPr>
            <p:cNvPicPr/>
            <p:nvPr/>
          </p:nvPicPr>
          <p:blipFill>
            <a:blip r:embed="rId8" cstate="print"/>
            <a:stretch>
              <a:fillRect/>
            </a:stretch>
          </p:blipFill>
          <p:spPr>
            <a:xfrm>
              <a:off x="4748485" y="5222807"/>
              <a:ext cx="212361" cy="300450"/>
            </a:xfrm>
            <a:prstGeom prst="rect">
              <a:avLst/>
            </a:prstGeom>
          </p:spPr>
        </p:pic>
        <p:sp>
          <p:nvSpPr>
            <p:cNvPr id="17" name="object 357">
              <a:extLst>
                <a:ext uri="{FF2B5EF4-FFF2-40B4-BE49-F238E27FC236}">
                  <a16:creationId xmlns:a16="http://schemas.microsoft.com/office/drawing/2014/main" id="{6EC673FB-AAEC-C7C5-567A-8659D3DDF889}"/>
                </a:ext>
              </a:extLst>
            </p:cNvPr>
            <p:cNvSpPr/>
            <p:nvPr/>
          </p:nvSpPr>
          <p:spPr>
            <a:xfrm>
              <a:off x="4162597" y="3566747"/>
              <a:ext cx="945515" cy="1798320"/>
            </a:xfrm>
            <a:custGeom>
              <a:avLst/>
              <a:gdLst/>
              <a:ahLst/>
              <a:cxnLst/>
              <a:rect l="l" t="t" r="r" b="b"/>
              <a:pathLst>
                <a:path w="945514" h="1798320">
                  <a:moveTo>
                    <a:pt x="330345" y="534"/>
                  </a:moveTo>
                  <a:lnTo>
                    <a:pt x="165230" y="895909"/>
                  </a:lnTo>
                  <a:lnTo>
                    <a:pt x="0" y="1751580"/>
                  </a:lnTo>
                  <a:lnTo>
                    <a:pt x="184434" y="1797819"/>
                  </a:lnTo>
                  <a:lnTo>
                    <a:pt x="382585" y="967248"/>
                  </a:lnTo>
                  <a:lnTo>
                    <a:pt x="600473" y="372093"/>
                  </a:lnTo>
                  <a:lnTo>
                    <a:pt x="945348" y="372093"/>
                  </a:lnTo>
                  <a:lnTo>
                    <a:pt x="945489" y="318471"/>
                  </a:lnTo>
                  <a:lnTo>
                    <a:pt x="928799" y="198659"/>
                  </a:lnTo>
                  <a:lnTo>
                    <a:pt x="896298" y="96968"/>
                  </a:lnTo>
                  <a:lnTo>
                    <a:pt x="864608" y="26410"/>
                  </a:lnTo>
                  <a:lnTo>
                    <a:pt x="852001" y="3057"/>
                  </a:lnTo>
                  <a:lnTo>
                    <a:pt x="603259" y="3057"/>
                  </a:lnTo>
                  <a:lnTo>
                    <a:pt x="330345" y="534"/>
                  </a:lnTo>
                  <a:close/>
                </a:path>
                <a:path w="945514" h="1798320">
                  <a:moveTo>
                    <a:pt x="945347" y="372606"/>
                  </a:moveTo>
                  <a:lnTo>
                    <a:pt x="631059" y="372606"/>
                  </a:lnTo>
                  <a:lnTo>
                    <a:pt x="611175" y="1742889"/>
                  </a:lnTo>
                  <a:lnTo>
                    <a:pt x="770301" y="1765181"/>
                  </a:lnTo>
                  <a:lnTo>
                    <a:pt x="874014" y="1022198"/>
                  </a:lnTo>
                  <a:lnTo>
                    <a:pt x="926834" y="623838"/>
                  </a:lnTo>
                  <a:lnTo>
                    <a:pt x="945184" y="434472"/>
                  </a:lnTo>
                  <a:lnTo>
                    <a:pt x="945347" y="372606"/>
                  </a:lnTo>
                  <a:close/>
                </a:path>
                <a:path w="945514" h="1798320">
                  <a:moveTo>
                    <a:pt x="945348" y="372093"/>
                  </a:moveTo>
                  <a:lnTo>
                    <a:pt x="600473" y="372093"/>
                  </a:lnTo>
                  <a:lnTo>
                    <a:pt x="606463" y="374135"/>
                  </a:lnTo>
                  <a:lnTo>
                    <a:pt x="620776" y="374428"/>
                  </a:lnTo>
                  <a:lnTo>
                    <a:pt x="631059" y="372606"/>
                  </a:lnTo>
                  <a:lnTo>
                    <a:pt x="945347" y="372606"/>
                  </a:lnTo>
                  <a:lnTo>
                    <a:pt x="945348" y="372093"/>
                  </a:lnTo>
                  <a:close/>
                </a:path>
                <a:path w="945514" h="1798320">
                  <a:moveTo>
                    <a:pt x="850351" y="0"/>
                  </a:moveTo>
                  <a:lnTo>
                    <a:pt x="629111" y="3057"/>
                  </a:lnTo>
                  <a:lnTo>
                    <a:pt x="852001" y="3057"/>
                  </a:lnTo>
                  <a:lnTo>
                    <a:pt x="850351" y="0"/>
                  </a:lnTo>
                  <a:close/>
                </a:path>
              </a:pathLst>
            </a:custGeom>
            <a:solidFill>
              <a:srgbClr val="9DDCF8"/>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358">
              <a:extLst>
                <a:ext uri="{FF2B5EF4-FFF2-40B4-BE49-F238E27FC236}">
                  <a16:creationId xmlns:a16="http://schemas.microsoft.com/office/drawing/2014/main" id="{A7ACA818-2152-7D31-2050-892FDBC3206D}"/>
                </a:ext>
              </a:extLst>
            </p:cNvPr>
            <p:cNvSpPr/>
            <p:nvPr/>
          </p:nvSpPr>
          <p:spPr>
            <a:xfrm>
              <a:off x="4773764" y="3939355"/>
              <a:ext cx="66675" cy="1370330"/>
            </a:xfrm>
            <a:custGeom>
              <a:avLst/>
              <a:gdLst/>
              <a:ahLst/>
              <a:cxnLst/>
              <a:rect l="l" t="t" r="r" b="b"/>
              <a:pathLst>
                <a:path w="66675" h="1370329">
                  <a:moveTo>
                    <a:pt x="66306" y="809244"/>
                  </a:moveTo>
                  <a:lnTo>
                    <a:pt x="64884" y="705459"/>
                  </a:lnTo>
                  <a:lnTo>
                    <a:pt x="56032" y="525183"/>
                  </a:lnTo>
                  <a:lnTo>
                    <a:pt x="40767" y="290461"/>
                  </a:lnTo>
                  <a:lnTo>
                    <a:pt x="26314" y="86880"/>
                  </a:lnTo>
                  <a:lnTo>
                    <a:pt x="19888" y="0"/>
                  </a:lnTo>
                  <a:lnTo>
                    <a:pt x="0" y="1370291"/>
                  </a:lnTo>
                  <a:lnTo>
                    <a:pt x="39941" y="1079334"/>
                  </a:lnTo>
                  <a:lnTo>
                    <a:pt x="60020" y="913091"/>
                  </a:lnTo>
                  <a:lnTo>
                    <a:pt x="66306" y="809244"/>
                  </a:lnTo>
                  <a:close/>
                </a:path>
              </a:pathLst>
            </a:custGeom>
            <a:solidFill>
              <a:srgbClr val="9DDCF8">
                <a:alpha val="30999"/>
              </a:srgbClr>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359">
              <a:extLst>
                <a:ext uri="{FF2B5EF4-FFF2-40B4-BE49-F238E27FC236}">
                  <a16:creationId xmlns:a16="http://schemas.microsoft.com/office/drawing/2014/main" id="{49DA76D7-040E-A120-47D1-77B31FF4081A}"/>
                </a:ext>
              </a:extLst>
            </p:cNvPr>
            <p:cNvSpPr/>
            <p:nvPr/>
          </p:nvSpPr>
          <p:spPr>
            <a:xfrm>
              <a:off x="4311269" y="3934131"/>
              <a:ext cx="451484" cy="1430655"/>
            </a:xfrm>
            <a:custGeom>
              <a:avLst/>
              <a:gdLst/>
              <a:ahLst/>
              <a:cxnLst/>
              <a:rect l="l" t="t" r="r" b="b"/>
              <a:pathLst>
                <a:path w="451485" h="1430654">
                  <a:moveTo>
                    <a:pt x="451305" y="0"/>
                  </a:moveTo>
                  <a:lnTo>
                    <a:pt x="281436" y="407160"/>
                  </a:lnTo>
                  <a:lnTo>
                    <a:pt x="260135" y="451197"/>
                  </a:lnTo>
                  <a:lnTo>
                    <a:pt x="240005" y="495754"/>
                  </a:lnTo>
                  <a:lnTo>
                    <a:pt x="221054" y="540806"/>
                  </a:lnTo>
                  <a:lnTo>
                    <a:pt x="203290" y="586331"/>
                  </a:lnTo>
                  <a:lnTo>
                    <a:pt x="186724" y="632305"/>
                  </a:lnTo>
                  <a:lnTo>
                    <a:pt x="171365" y="678705"/>
                  </a:lnTo>
                  <a:lnTo>
                    <a:pt x="157220" y="725507"/>
                  </a:lnTo>
                  <a:lnTo>
                    <a:pt x="144299" y="772688"/>
                  </a:lnTo>
                  <a:lnTo>
                    <a:pt x="0" y="1419621"/>
                  </a:lnTo>
                  <a:lnTo>
                    <a:pt x="35758" y="1430438"/>
                  </a:lnTo>
                  <a:lnTo>
                    <a:pt x="233919" y="599866"/>
                  </a:lnTo>
                  <a:lnTo>
                    <a:pt x="451305" y="0"/>
                  </a:lnTo>
                  <a:close/>
                </a:path>
              </a:pathLst>
            </a:custGeom>
            <a:solidFill>
              <a:srgbClr val="9DDCF8">
                <a:alpha val="44999"/>
              </a:srgbClr>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pic>
          <p:nvPicPr>
            <p:cNvPr id="24" name="object 360">
              <a:extLst>
                <a:ext uri="{FF2B5EF4-FFF2-40B4-BE49-F238E27FC236}">
                  <a16:creationId xmlns:a16="http://schemas.microsoft.com/office/drawing/2014/main" id="{E852D19E-1126-038A-C7C0-60123BA846B3}"/>
                </a:ext>
              </a:extLst>
            </p:cNvPr>
            <p:cNvPicPr/>
            <p:nvPr/>
          </p:nvPicPr>
          <p:blipFill>
            <a:blip r:embed="rId9" cstate="print"/>
            <a:stretch>
              <a:fillRect/>
            </a:stretch>
          </p:blipFill>
          <p:spPr>
            <a:xfrm>
              <a:off x="4420417" y="2653405"/>
              <a:ext cx="660702" cy="1084741"/>
            </a:xfrm>
            <a:prstGeom prst="rect">
              <a:avLst/>
            </a:prstGeom>
          </p:spPr>
        </p:pic>
        <p:pic>
          <p:nvPicPr>
            <p:cNvPr id="25" name="object 361">
              <a:extLst>
                <a:ext uri="{FF2B5EF4-FFF2-40B4-BE49-F238E27FC236}">
                  <a16:creationId xmlns:a16="http://schemas.microsoft.com/office/drawing/2014/main" id="{EC5A13AA-C073-1983-1EC5-E1BBA349C156}"/>
                </a:ext>
              </a:extLst>
            </p:cNvPr>
            <p:cNvPicPr/>
            <p:nvPr/>
          </p:nvPicPr>
          <p:blipFill>
            <a:blip r:embed="rId10" cstate="print"/>
            <a:stretch>
              <a:fillRect/>
            </a:stretch>
          </p:blipFill>
          <p:spPr>
            <a:xfrm>
              <a:off x="4277273" y="2167213"/>
              <a:ext cx="1007984" cy="1678113"/>
            </a:xfrm>
            <a:prstGeom prst="rect">
              <a:avLst/>
            </a:prstGeom>
          </p:spPr>
        </p:pic>
      </p:grpSp>
    </p:spTree>
    <p:extLst>
      <p:ext uri="{BB962C8B-B14F-4D97-AF65-F5344CB8AC3E}">
        <p14:creationId xmlns:p14="http://schemas.microsoft.com/office/powerpoint/2010/main" val="5308883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Freeform 7">
            <a:extLst>
              <a:ext uri="{FF2B5EF4-FFF2-40B4-BE49-F238E27FC236}">
                <a16:creationId xmlns:a16="http://schemas.microsoft.com/office/drawing/2014/main" id="{6B8B50A7-7249-02A1-7CE8-5F5D6EB073B1}"/>
              </a:ext>
            </a:extLst>
          </p:cNvPr>
          <p:cNvSpPr/>
          <p:nvPr/>
        </p:nvSpPr>
        <p:spPr>
          <a:xfrm>
            <a:off x="7770826" y="197383"/>
            <a:ext cx="2117164" cy="1539755"/>
          </a:xfrm>
          <a:custGeom>
            <a:avLst/>
            <a:gdLst/>
            <a:ahLst/>
            <a:cxnLst/>
            <a:rect l="l" t="t" r="r" b="b"/>
            <a:pathLst>
              <a:path w="2685976" h="1953437">
                <a:moveTo>
                  <a:pt x="0" y="0"/>
                </a:moveTo>
                <a:lnTo>
                  <a:pt x="2685976" y="0"/>
                </a:lnTo>
                <a:lnTo>
                  <a:pt x="2685976" y="1953437"/>
                </a:lnTo>
                <a:lnTo>
                  <a:pt x="0" y="1953437"/>
                </a:lnTo>
                <a:lnTo>
                  <a:pt x="0" y="0"/>
                </a:lnTo>
                <a:close/>
              </a:path>
            </a:pathLst>
          </a:custGeom>
          <a:blipFill>
            <a:blip r:embed="rId2"/>
            <a:stretch>
              <a:fillRect/>
            </a:stretch>
          </a:blipFill>
        </p:spPr>
      </p:sp>
      <p:sp>
        <p:nvSpPr>
          <p:cNvPr id="4" name="Freeform 13">
            <a:extLst>
              <a:ext uri="{FF2B5EF4-FFF2-40B4-BE49-F238E27FC236}">
                <a16:creationId xmlns:a16="http://schemas.microsoft.com/office/drawing/2014/main" id="{418CB178-2E3F-BDCE-9E78-C3261F4B1460}"/>
              </a:ext>
            </a:extLst>
          </p:cNvPr>
          <p:cNvSpPr/>
          <p:nvPr/>
        </p:nvSpPr>
        <p:spPr>
          <a:xfrm>
            <a:off x="7752292" y="2046237"/>
            <a:ext cx="2095965" cy="1179563"/>
          </a:xfrm>
          <a:custGeom>
            <a:avLst/>
            <a:gdLst/>
            <a:ahLst/>
            <a:cxnLst/>
            <a:rect l="l" t="t" r="r" b="b"/>
            <a:pathLst>
              <a:path w="3143948" h="1769344">
                <a:moveTo>
                  <a:pt x="0" y="0"/>
                </a:moveTo>
                <a:lnTo>
                  <a:pt x="3143948" y="0"/>
                </a:lnTo>
                <a:lnTo>
                  <a:pt x="3143948" y="1769344"/>
                </a:lnTo>
                <a:lnTo>
                  <a:pt x="0" y="1769344"/>
                </a:lnTo>
                <a:lnTo>
                  <a:pt x="0" y="0"/>
                </a:lnTo>
                <a:close/>
              </a:path>
            </a:pathLst>
          </a:custGeom>
          <a:blipFill>
            <a:blip r:embed="rId3"/>
            <a:stretch>
              <a:fillRect/>
            </a:stretch>
          </a:blipFill>
        </p:spPr>
      </p:sp>
      <p:sp>
        <p:nvSpPr>
          <p:cNvPr id="5" name="Freeform 19">
            <a:extLst>
              <a:ext uri="{FF2B5EF4-FFF2-40B4-BE49-F238E27FC236}">
                <a16:creationId xmlns:a16="http://schemas.microsoft.com/office/drawing/2014/main" id="{CF81CCE1-7FCF-429A-3B2B-20676156C418}"/>
              </a:ext>
            </a:extLst>
          </p:cNvPr>
          <p:cNvSpPr/>
          <p:nvPr/>
        </p:nvSpPr>
        <p:spPr>
          <a:xfrm>
            <a:off x="7727216" y="3644210"/>
            <a:ext cx="2146116" cy="1207190"/>
          </a:xfrm>
          <a:custGeom>
            <a:avLst/>
            <a:gdLst/>
            <a:ahLst/>
            <a:cxnLst/>
            <a:rect l="l" t="t" r="r" b="b"/>
            <a:pathLst>
              <a:path w="3219174" h="1810785">
                <a:moveTo>
                  <a:pt x="0" y="0"/>
                </a:moveTo>
                <a:lnTo>
                  <a:pt x="3219174" y="0"/>
                </a:lnTo>
                <a:lnTo>
                  <a:pt x="3219174" y="1810785"/>
                </a:lnTo>
                <a:lnTo>
                  <a:pt x="0" y="1810785"/>
                </a:lnTo>
                <a:lnTo>
                  <a:pt x="0" y="0"/>
                </a:lnTo>
                <a:close/>
              </a:path>
            </a:pathLst>
          </a:custGeom>
          <a:blipFill>
            <a:blip r:embed="rId4"/>
            <a:stretch>
              <a:fillRect/>
            </a:stretch>
          </a:blipFill>
        </p:spPr>
      </p:sp>
      <p:sp>
        <p:nvSpPr>
          <p:cNvPr id="6" name="Freeform 25">
            <a:extLst>
              <a:ext uri="{FF2B5EF4-FFF2-40B4-BE49-F238E27FC236}">
                <a16:creationId xmlns:a16="http://schemas.microsoft.com/office/drawing/2014/main" id="{F51FEECD-9126-C45F-505A-7C745F1AFA15}"/>
              </a:ext>
            </a:extLst>
          </p:cNvPr>
          <p:cNvSpPr/>
          <p:nvPr/>
        </p:nvSpPr>
        <p:spPr>
          <a:xfrm>
            <a:off x="7694548" y="5234241"/>
            <a:ext cx="2211452" cy="1263687"/>
          </a:xfrm>
          <a:custGeom>
            <a:avLst/>
            <a:gdLst/>
            <a:ahLst/>
            <a:cxnLst/>
            <a:rect l="l" t="t" r="r" b="b"/>
            <a:pathLst>
              <a:path w="3317178" h="1895530">
                <a:moveTo>
                  <a:pt x="0" y="0"/>
                </a:moveTo>
                <a:lnTo>
                  <a:pt x="3317178" y="0"/>
                </a:lnTo>
                <a:lnTo>
                  <a:pt x="3317178" y="1895530"/>
                </a:lnTo>
                <a:lnTo>
                  <a:pt x="0" y="1895530"/>
                </a:lnTo>
                <a:lnTo>
                  <a:pt x="0" y="0"/>
                </a:lnTo>
                <a:close/>
              </a:path>
            </a:pathLst>
          </a:custGeom>
          <a:blipFill>
            <a:blip r:embed="rId5"/>
            <a:stretch>
              <a:fillRect/>
            </a:stretch>
          </a:blipFill>
        </p:spPr>
      </p:sp>
      <p:sp>
        <p:nvSpPr>
          <p:cNvPr id="13" name="TextBox 26">
            <a:extLst>
              <a:ext uri="{FF2B5EF4-FFF2-40B4-BE49-F238E27FC236}">
                <a16:creationId xmlns:a16="http://schemas.microsoft.com/office/drawing/2014/main" id="{D73CFB86-D32F-2A8B-09C6-EE2571B6FE91}"/>
              </a:ext>
            </a:extLst>
          </p:cNvPr>
          <p:cNvSpPr txBox="1"/>
          <p:nvPr/>
        </p:nvSpPr>
        <p:spPr>
          <a:xfrm>
            <a:off x="5599077" y="736600"/>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Calibri"/>
                <a:ea typeface="+mn-ea"/>
                <a:cs typeface="+mn-cs"/>
              </a:rPr>
              <a:t>A</a:t>
            </a:r>
          </a:p>
        </p:txBody>
      </p:sp>
      <p:sp>
        <p:nvSpPr>
          <p:cNvPr id="14" name="TextBox 26">
            <a:extLst>
              <a:ext uri="{FF2B5EF4-FFF2-40B4-BE49-F238E27FC236}">
                <a16:creationId xmlns:a16="http://schemas.microsoft.com/office/drawing/2014/main" id="{E45F7B3C-54A1-CF01-EE5D-E26FCEF1211F}"/>
              </a:ext>
            </a:extLst>
          </p:cNvPr>
          <p:cNvSpPr txBox="1"/>
          <p:nvPr/>
        </p:nvSpPr>
        <p:spPr>
          <a:xfrm>
            <a:off x="5599077" y="2534963"/>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B</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15" name="TextBox 26">
            <a:extLst>
              <a:ext uri="{FF2B5EF4-FFF2-40B4-BE49-F238E27FC236}">
                <a16:creationId xmlns:a16="http://schemas.microsoft.com/office/drawing/2014/main" id="{66261C53-1161-E7B9-D89B-01B769420755}"/>
              </a:ext>
            </a:extLst>
          </p:cNvPr>
          <p:cNvSpPr txBox="1"/>
          <p:nvPr/>
        </p:nvSpPr>
        <p:spPr>
          <a:xfrm>
            <a:off x="5599077" y="4131639"/>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C</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16" name="TextBox 26">
            <a:extLst>
              <a:ext uri="{FF2B5EF4-FFF2-40B4-BE49-F238E27FC236}">
                <a16:creationId xmlns:a16="http://schemas.microsoft.com/office/drawing/2014/main" id="{0F040430-62B6-D381-B336-8EDEA6BB56DC}"/>
              </a:ext>
            </a:extLst>
          </p:cNvPr>
          <p:cNvSpPr txBox="1"/>
          <p:nvPr/>
        </p:nvSpPr>
        <p:spPr>
          <a:xfrm>
            <a:off x="5599077" y="5930002"/>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D</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F5EA299F-4EA2-75F0-DC4E-85718151475D}"/>
              </a:ext>
            </a:extLst>
          </p:cNvPr>
          <p:cNvSpPr/>
          <p:nvPr/>
        </p:nvSpPr>
        <p:spPr>
          <a:xfrm>
            <a:off x="7702141" y="3632200"/>
            <a:ext cx="2185849" cy="1263687"/>
          </a:xfrm>
          <a:prstGeom prst="rect">
            <a:avLst/>
          </a:prstGeom>
          <a:solidFill>
            <a:srgbClr val="9DD4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2133" b="1"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51CBCE60-59FA-0854-9F0D-F0C975C70472}"/>
              </a:ext>
            </a:extLst>
          </p:cNvPr>
          <p:cNvSpPr/>
          <p:nvPr/>
        </p:nvSpPr>
        <p:spPr>
          <a:xfrm>
            <a:off x="7720151" y="197383"/>
            <a:ext cx="2185849" cy="1539755"/>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3600" b="1" i="0" u="none" strike="noStrike" kern="1200" cap="none" spc="0" normalizeH="0" baseline="0" noProof="0">
              <a:ln>
                <a:noFill/>
              </a:ln>
              <a:solidFill>
                <a:prstClr val="white"/>
              </a:solidFill>
              <a:effectLst/>
              <a:uLnTx/>
              <a:uFillTx/>
              <a:latin typeface="Calibri"/>
              <a:ea typeface="+mn-ea"/>
              <a:cs typeface="+mn-cs"/>
            </a:endParaRPr>
          </a:p>
        </p:txBody>
      </p:sp>
      <p:pic>
        <p:nvPicPr>
          <p:cNvPr id="44" name="Picture 43" descr="A white chalk drawing of a speech bubble&#10;&#10;Description automatically generated">
            <a:extLst>
              <a:ext uri="{FF2B5EF4-FFF2-40B4-BE49-F238E27FC236}">
                <a16:creationId xmlns:a16="http://schemas.microsoft.com/office/drawing/2014/main" id="{D07500BF-DA7A-C3DF-A8DC-F8C327632F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24205" y="1190351"/>
            <a:ext cx="3049377" cy="1344153"/>
          </a:xfrm>
          <a:prstGeom prst="rect">
            <a:avLst/>
          </a:prstGeom>
        </p:spPr>
      </p:pic>
      <p:sp>
        <p:nvSpPr>
          <p:cNvPr id="45" name="TextBox 26">
            <a:extLst>
              <a:ext uri="{FF2B5EF4-FFF2-40B4-BE49-F238E27FC236}">
                <a16:creationId xmlns:a16="http://schemas.microsoft.com/office/drawing/2014/main" id="{7AB9D2C0-94E4-0147-D7A0-56B350A4DF5E}"/>
              </a:ext>
            </a:extLst>
          </p:cNvPr>
          <p:cNvSpPr txBox="1"/>
          <p:nvPr/>
        </p:nvSpPr>
        <p:spPr>
          <a:xfrm>
            <a:off x="1327182" y="1545951"/>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Calibri"/>
                <a:ea typeface="+mn-ea"/>
                <a:cs typeface="+mn-cs"/>
              </a:rPr>
              <a:t>¿</a:t>
            </a:r>
            <a:r>
              <a:rPr kumimoji="0" lang="en-US" sz="2266" b="0" i="0" u="none" strike="noStrike" kern="1200" cap="none" spc="0" normalizeH="0" baseline="0" noProof="0" err="1">
                <a:ln>
                  <a:noFill/>
                </a:ln>
                <a:solidFill>
                  <a:prstClr val="white"/>
                </a:solidFill>
                <a:effectLst/>
                <a:uLnTx/>
                <a:uFillTx/>
                <a:latin typeface="Calibri"/>
                <a:ea typeface="+mn-ea"/>
                <a:cs typeface="+mn-cs"/>
              </a:rPr>
              <a:t>Esto</a:t>
            </a:r>
            <a:r>
              <a:rPr kumimoji="0" lang="en-US" sz="2266" b="0" i="0" u="none" strike="noStrike" kern="1200" cap="none" spc="0" normalizeH="0" baseline="0" noProof="0">
                <a:ln>
                  <a:noFill/>
                </a:ln>
                <a:solidFill>
                  <a:prstClr val="white"/>
                </a:solidFill>
                <a:effectLst/>
                <a:uLnTx/>
                <a:uFillTx/>
                <a:latin typeface="Calibri"/>
                <a:ea typeface="+mn-ea"/>
                <a:cs typeface="+mn-cs"/>
              </a:rPr>
              <a:t> es un </a:t>
            </a:r>
            <a:r>
              <a:rPr kumimoji="0" lang="en-US" sz="2266" b="0" i="0" u="none" strike="noStrike" kern="1200" cap="none" spc="0" normalizeH="0" baseline="0" noProof="0" err="1">
                <a:ln>
                  <a:noFill/>
                </a:ln>
                <a:solidFill>
                  <a:prstClr val="white"/>
                </a:solidFill>
                <a:effectLst/>
                <a:uLnTx/>
                <a:uFillTx/>
                <a:latin typeface="Calibri"/>
                <a:ea typeface="+mn-ea"/>
                <a:cs typeface="+mn-cs"/>
              </a:rPr>
              <a:t>perro</a:t>
            </a:r>
            <a:r>
              <a:rPr kumimoji="0" lang="en-US" sz="2266" b="0" i="0" u="none" strike="noStrike" kern="1200" cap="none" spc="0" normalizeH="0" baseline="0" noProof="0">
                <a:ln>
                  <a:noFill/>
                </a:ln>
                <a:solidFill>
                  <a:prstClr val="white"/>
                </a:solidFill>
                <a:effectLst/>
                <a:uLnTx/>
                <a:uFillTx/>
                <a:latin typeface="Calibri"/>
                <a:ea typeface="+mn-ea"/>
                <a:cs typeface="+mn-cs"/>
              </a:rPr>
              <a:t>?</a:t>
            </a:r>
          </a:p>
        </p:txBody>
      </p:sp>
      <p:grpSp>
        <p:nvGrpSpPr>
          <p:cNvPr id="7" name="object 352">
            <a:extLst>
              <a:ext uri="{FF2B5EF4-FFF2-40B4-BE49-F238E27FC236}">
                <a16:creationId xmlns:a16="http://schemas.microsoft.com/office/drawing/2014/main" id="{2357C817-2672-FB4E-FC40-A3D0C6443100}"/>
              </a:ext>
            </a:extLst>
          </p:cNvPr>
          <p:cNvGrpSpPr/>
          <p:nvPr/>
        </p:nvGrpSpPr>
        <p:grpSpPr>
          <a:xfrm flipH="1">
            <a:off x="455480" y="2197986"/>
            <a:ext cx="1985495" cy="4685414"/>
            <a:chOff x="3863476" y="2167213"/>
            <a:chExt cx="1422400" cy="3356610"/>
          </a:xfrm>
        </p:grpSpPr>
        <p:sp>
          <p:nvSpPr>
            <p:cNvPr id="9" name="object 353">
              <a:extLst>
                <a:ext uri="{FF2B5EF4-FFF2-40B4-BE49-F238E27FC236}">
                  <a16:creationId xmlns:a16="http://schemas.microsoft.com/office/drawing/2014/main" id="{316D98DE-DC59-69A6-4CF2-B55247396D11}"/>
                </a:ext>
              </a:extLst>
            </p:cNvPr>
            <p:cNvSpPr/>
            <p:nvPr/>
          </p:nvSpPr>
          <p:spPr>
            <a:xfrm>
              <a:off x="4068353" y="5206448"/>
              <a:ext cx="253365" cy="265430"/>
            </a:xfrm>
            <a:custGeom>
              <a:avLst/>
              <a:gdLst/>
              <a:ahLst/>
              <a:cxnLst/>
              <a:rect l="l" t="t" r="r" b="b"/>
              <a:pathLst>
                <a:path w="253364" h="265429">
                  <a:moveTo>
                    <a:pt x="253133" y="0"/>
                  </a:moveTo>
                  <a:lnTo>
                    <a:pt x="151084" y="0"/>
                  </a:lnTo>
                  <a:lnTo>
                    <a:pt x="135665" y="77596"/>
                  </a:lnTo>
                  <a:lnTo>
                    <a:pt x="119692" y="123624"/>
                  </a:lnTo>
                  <a:lnTo>
                    <a:pt x="93416" y="156231"/>
                  </a:lnTo>
                  <a:lnTo>
                    <a:pt x="47087" y="193564"/>
                  </a:lnTo>
                  <a:lnTo>
                    <a:pt x="0" y="235919"/>
                  </a:lnTo>
                  <a:lnTo>
                    <a:pt x="138739" y="265143"/>
                  </a:lnTo>
                  <a:lnTo>
                    <a:pt x="213134" y="215585"/>
                  </a:lnTo>
                  <a:lnTo>
                    <a:pt x="206705" y="192203"/>
                  </a:lnTo>
                  <a:lnTo>
                    <a:pt x="211252" y="152338"/>
                  </a:lnTo>
                  <a:lnTo>
                    <a:pt x="227512" y="87361"/>
                  </a:lnTo>
                  <a:lnTo>
                    <a:pt x="244976" y="26754"/>
                  </a:lnTo>
                  <a:lnTo>
                    <a:pt x="253133" y="0"/>
                  </a:lnTo>
                  <a:close/>
                </a:path>
              </a:pathLst>
            </a:custGeom>
            <a:solidFill>
              <a:srgbClr val="F4D1AC"/>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354">
              <a:extLst>
                <a:ext uri="{FF2B5EF4-FFF2-40B4-BE49-F238E27FC236}">
                  <a16:creationId xmlns:a16="http://schemas.microsoft.com/office/drawing/2014/main" id="{43B1319A-1F8B-0C3F-EBB8-7BAD3EA04728}"/>
                </a:ext>
              </a:extLst>
            </p:cNvPr>
            <p:cNvSpPr/>
            <p:nvPr/>
          </p:nvSpPr>
          <p:spPr>
            <a:xfrm>
              <a:off x="3868793" y="5387055"/>
              <a:ext cx="430530" cy="118110"/>
            </a:xfrm>
            <a:custGeom>
              <a:avLst/>
              <a:gdLst/>
              <a:ahLst/>
              <a:cxnLst/>
              <a:rect l="l" t="t" r="r" b="b"/>
              <a:pathLst>
                <a:path w="430529" h="118110">
                  <a:moveTo>
                    <a:pt x="228171" y="0"/>
                  </a:moveTo>
                  <a:lnTo>
                    <a:pt x="187408" y="24227"/>
                  </a:lnTo>
                  <a:lnTo>
                    <a:pt x="131390" y="47869"/>
                  </a:lnTo>
                  <a:lnTo>
                    <a:pt x="90279" y="58197"/>
                  </a:lnTo>
                  <a:lnTo>
                    <a:pt x="51252" y="66909"/>
                  </a:lnTo>
                  <a:lnTo>
                    <a:pt x="22935" y="73760"/>
                  </a:lnTo>
                  <a:lnTo>
                    <a:pt x="5720" y="81914"/>
                  </a:lnTo>
                  <a:lnTo>
                    <a:pt x="0" y="94531"/>
                  </a:lnTo>
                  <a:lnTo>
                    <a:pt x="40698" y="110690"/>
                  </a:lnTo>
                  <a:lnTo>
                    <a:pt x="129960" y="116971"/>
                  </a:lnTo>
                  <a:lnTo>
                    <a:pt x="219169" y="117623"/>
                  </a:lnTo>
                  <a:lnTo>
                    <a:pt x="259709" y="116896"/>
                  </a:lnTo>
                  <a:lnTo>
                    <a:pt x="430374" y="111368"/>
                  </a:lnTo>
                  <a:lnTo>
                    <a:pt x="418468" y="27308"/>
                  </a:lnTo>
                  <a:lnTo>
                    <a:pt x="387499" y="36533"/>
                  </a:lnTo>
                  <a:lnTo>
                    <a:pt x="367199" y="41270"/>
                  </a:lnTo>
                  <a:lnTo>
                    <a:pt x="348590" y="43016"/>
                  </a:lnTo>
                  <a:lnTo>
                    <a:pt x="322691" y="43265"/>
                  </a:lnTo>
                  <a:lnTo>
                    <a:pt x="291592" y="42003"/>
                  </a:lnTo>
                  <a:lnTo>
                    <a:pt x="266645" y="38726"/>
                  </a:lnTo>
                  <a:lnTo>
                    <a:pt x="247161" y="34201"/>
                  </a:lnTo>
                  <a:lnTo>
                    <a:pt x="232453" y="29192"/>
                  </a:lnTo>
                  <a:lnTo>
                    <a:pt x="239316" y="17342"/>
                  </a:lnTo>
                  <a:lnTo>
                    <a:pt x="237007" y="8117"/>
                  </a:lnTo>
                  <a:lnTo>
                    <a:pt x="231350" y="2131"/>
                  </a:lnTo>
                  <a:lnTo>
                    <a:pt x="228171" y="0"/>
                  </a:lnTo>
                  <a:close/>
                </a:path>
              </a:pathLst>
            </a:custGeom>
            <a:solidFill>
              <a:srgbClr val="EEB841"/>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355">
              <a:extLst>
                <a:ext uri="{FF2B5EF4-FFF2-40B4-BE49-F238E27FC236}">
                  <a16:creationId xmlns:a16="http://schemas.microsoft.com/office/drawing/2014/main" id="{2411996C-6415-EAA8-5053-CE8AA97159E9}"/>
                </a:ext>
              </a:extLst>
            </p:cNvPr>
            <p:cNvSpPr/>
            <p:nvPr/>
          </p:nvSpPr>
          <p:spPr>
            <a:xfrm>
              <a:off x="3863467" y="5417953"/>
              <a:ext cx="436880" cy="105410"/>
            </a:xfrm>
            <a:custGeom>
              <a:avLst/>
              <a:gdLst/>
              <a:ahLst/>
              <a:cxnLst/>
              <a:rect l="l" t="t" r="r" b="b"/>
              <a:pathLst>
                <a:path w="436879" h="105410">
                  <a:moveTo>
                    <a:pt x="280568" y="10325"/>
                  </a:moveTo>
                  <a:lnTo>
                    <a:pt x="268630" y="8064"/>
                  </a:lnTo>
                  <a:lnTo>
                    <a:pt x="258279" y="5499"/>
                  </a:lnTo>
                  <a:lnTo>
                    <a:pt x="249389" y="2781"/>
                  </a:lnTo>
                  <a:lnTo>
                    <a:pt x="241858" y="0"/>
                  </a:lnTo>
                  <a:lnTo>
                    <a:pt x="225018" y="7251"/>
                  </a:lnTo>
                  <a:lnTo>
                    <a:pt x="211404" y="12649"/>
                  </a:lnTo>
                  <a:lnTo>
                    <a:pt x="189001" y="21120"/>
                  </a:lnTo>
                  <a:lnTo>
                    <a:pt x="178943" y="29578"/>
                  </a:lnTo>
                  <a:lnTo>
                    <a:pt x="179387" y="39166"/>
                  </a:lnTo>
                  <a:lnTo>
                    <a:pt x="190360" y="44335"/>
                  </a:lnTo>
                  <a:lnTo>
                    <a:pt x="211912" y="39522"/>
                  </a:lnTo>
                  <a:lnTo>
                    <a:pt x="280568" y="10325"/>
                  </a:lnTo>
                  <a:close/>
                </a:path>
                <a:path w="436879" h="105410">
                  <a:moveTo>
                    <a:pt x="436397" y="78536"/>
                  </a:moveTo>
                  <a:lnTo>
                    <a:pt x="149034" y="78536"/>
                  </a:lnTo>
                  <a:lnTo>
                    <a:pt x="90538" y="76974"/>
                  </a:lnTo>
                  <a:lnTo>
                    <a:pt x="44284" y="73533"/>
                  </a:lnTo>
                  <a:lnTo>
                    <a:pt x="13779" y="70065"/>
                  </a:lnTo>
                  <a:lnTo>
                    <a:pt x="2540" y="68453"/>
                  </a:lnTo>
                  <a:lnTo>
                    <a:pt x="0" y="95250"/>
                  </a:lnTo>
                  <a:lnTo>
                    <a:pt x="12026" y="96989"/>
                  </a:lnTo>
                  <a:lnTo>
                    <a:pt x="42646" y="100431"/>
                  </a:lnTo>
                  <a:lnTo>
                    <a:pt x="89204" y="103797"/>
                  </a:lnTo>
                  <a:lnTo>
                    <a:pt x="149034" y="105308"/>
                  </a:lnTo>
                  <a:lnTo>
                    <a:pt x="436397" y="105308"/>
                  </a:lnTo>
                  <a:lnTo>
                    <a:pt x="436397" y="78536"/>
                  </a:lnTo>
                  <a:close/>
                </a:path>
              </a:pathLst>
            </a:custGeom>
            <a:solidFill>
              <a:srgbClr val="A0A0A0"/>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pic>
          <p:nvPicPr>
            <p:cNvPr id="17" name="object 356">
              <a:extLst>
                <a:ext uri="{FF2B5EF4-FFF2-40B4-BE49-F238E27FC236}">
                  <a16:creationId xmlns:a16="http://schemas.microsoft.com/office/drawing/2014/main" id="{11998A38-1D50-9188-E6FD-5F883CECDFAC}"/>
                </a:ext>
              </a:extLst>
            </p:cNvPr>
            <p:cNvPicPr/>
            <p:nvPr/>
          </p:nvPicPr>
          <p:blipFill>
            <a:blip r:embed="rId7" cstate="print"/>
            <a:stretch>
              <a:fillRect/>
            </a:stretch>
          </p:blipFill>
          <p:spPr>
            <a:xfrm>
              <a:off x="4748485" y="5222807"/>
              <a:ext cx="212361" cy="300450"/>
            </a:xfrm>
            <a:prstGeom prst="rect">
              <a:avLst/>
            </a:prstGeom>
          </p:spPr>
        </p:pic>
        <p:sp>
          <p:nvSpPr>
            <p:cNvPr id="18" name="object 357">
              <a:extLst>
                <a:ext uri="{FF2B5EF4-FFF2-40B4-BE49-F238E27FC236}">
                  <a16:creationId xmlns:a16="http://schemas.microsoft.com/office/drawing/2014/main" id="{5EC6F01E-4F17-E1C4-6B0C-4776D6088B5E}"/>
                </a:ext>
              </a:extLst>
            </p:cNvPr>
            <p:cNvSpPr/>
            <p:nvPr/>
          </p:nvSpPr>
          <p:spPr>
            <a:xfrm>
              <a:off x="4162597" y="3566747"/>
              <a:ext cx="945515" cy="1798320"/>
            </a:xfrm>
            <a:custGeom>
              <a:avLst/>
              <a:gdLst/>
              <a:ahLst/>
              <a:cxnLst/>
              <a:rect l="l" t="t" r="r" b="b"/>
              <a:pathLst>
                <a:path w="945514" h="1798320">
                  <a:moveTo>
                    <a:pt x="330345" y="534"/>
                  </a:moveTo>
                  <a:lnTo>
                    <a:pt x="165230" y="895909"/>
                  </a:lnTo>
                  <a:lnTo>
                    <a:pt x="0" y="1751580"/>
                  </a:lnTo>
                  <a:lnTo>
                    <a:pt x="184434" y="1797819"/>
                  </a:lnTo>
                  <a:lnTo>
                    <a:pt x="382585" y="967248"/>
                  </a:lnTo>
                  <a:lnTo>
                    <a:pt x="600473" y="372093"/>
                  </a:lnTo>
                  <a:lnTo>
                    <a:pt x="945348" y="372093"/>
                  </a:lnTo>
                  <a:lnTo>
                    <a:pt x="945489" y="318471"/>
                  </a:lnTo>
                  <a:lnTo>
                    <a:pt x="928799" y="198659"/>
                  </a:lnTo>
                  <a:lnTo>
                    <a:pt x="896298" y="96968"/>
                  </a:lnTo>
                  <a:lnTo>
                    <a:pt x="864608" y="26410"/>
                  </a:lnTo>
                  <a:lnTo>
                    <a:pt x="852001" y="3057"/>
                  </a:lnTo>
                  <a:lnTo>
                    <a:pt x="603259" y="3057"/>
                  </a:lnTo>
                  <a:lnTo>
                    <a:pt x="330345" y="534"/>
                  </a:lnTo>
                  <a:close/>
                </a:path>
                <a:path w="945514" h="1798320">
                  <a:moveTo>
                    <a:pt x="945347" y="372606"/>
                  </a:moveTo>
                  <a:lnTo>
                    <a:pt x="631059" y="372606"/>
                  </a:lnTo>
                  <a:lnTo>
                    <a:pt x="611175" y="1742889"/>
                  </a:lnTo>
                  <a:lnTo>
                    <a:pt x="770301" y="1765181"/>
                  </a:lnTo>
                  <a:lnTo>
                    <a:pt x="874014" y="1022198"/>
                  </a:lnTo>
                  <a:lnTo>
                    <a:pt x="926834" y="623838"/>
                  </a:lnTo>
                  <a:lnTo>
                    <a:pt x="945184" y="434472"/>
                  </a:lnTo>
                  <a:lnTo>
                    <a:pt x="945347" y="372606"/>
                  </a:lnTo>
                  <a:close/>
                </a:path>
                <a:path w="945514" h="1798320">
                  <a:moveTo>
                    <a:pt x="945348" y="372093"/>
                  </a:moveTo>
                  <a:lnTo>
                    <a:pt x="600473" y="372093"/>
                  </a:lnTo>
                  <a:lnTo>
                    <a:pt x="606463" y="374135"/>
                  </a:lnTo>
                  <a:lnTo>
                    <a:pt x="620776" y="374428"/>
                  </a:lnTo>
                  <a:lnTo>
                    <a:pt x="631059" y="372606"/>
                  </a:lnTo>
                  <a:lnTo>
                    <a:pt x="945347" y="372606"/>
                  </a:lnTo>
                  <a:lnTo>
                    <a:pt x="945348" y="372093"/>
                  </a:lnTo>
                  <a:close/>
                </a:path>
                <a:path w="945514" h="1798320">
                  <a:moveTo>
                    <a:pt x="850351" y="0"/>
                  </a:moveTo>
                  <a:lnTo>
                    <a:pt x="629111" y="3057"/>
                  </a:lnTo>
                  <a:lnTo>
                    <a:pt x="852001" y="3057"/>
                  </a:lnTo>
                  <a:lnTo>
                    <a:pt x="850351" y="0"/>
                  </a:lnTo>
                  <a:close/>
                </a:path>
              </a:pathLst>
            </a:custGeom>
            <a:solidFill>
              <a:srgbClr val="9DDCF8"/>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358">
              <a:extLst>
                <a:ext uri="{FF2B5EF4-FFF2-40B4-BE49-F238E27FC236}">
                  <a16:creationId xmlns:a16="http://schemas.microsoft.com/office/drawing/2014/main" id="{74F80667-5965-BAD3-45D5-CBA303F5342F}"/>
                </a:ext>
              </a:extLst>
            </p:cNvPr>
            <p:cNvSpPr/>
            <p:nvPr/>
          </p:nvSpPr>
          <p:spPr>
            <a:xfrm>
              <a:off x="4773764" y="3939355"/>
              <a:ext cx="66675" cy="1370330"/>
            </a:xfrm>
            <a:custGeom>
              <a:avLst/>
              <a:gdLst/>
              <a:ahLst/>
              <a:cxnLst/>
              <a:rect l="l" t="t" r="r" b="b"/>
              <a:pathLst>
                <a:path w="66675" h="1370329">
                  <a:moveTo>
                    <a:pt x="66306" y="809244"/>
                  </a:moveTo>
                  <a:lnTo>
                    <a:pt x="64884" y="705459"/>
                  </a:lnTo>
                  <a:lnTo>
                    <a:pt x="56032" y="525183"/>
                  </a:lnTo>
                  <a:lnTo>
                    <a:pt x="40767" y="290461"/>
                  </a:lnTo>
                  <a:lnTo>
                    <a:pt x="26314" y="86880"/>
                  </a:lnTo>
                  <a:lnTo>
                    <a:pt x="19888" y="0"/>
                  </a:lnTo>
                  <a:lnTo>
                    <a:pt x="0" y="1370291"/>
                  </a:lnTo>
                  <a:lnTo>
                    <a:pt x="39941" y="1079334"/>
                  </a:lnTo>
                  <a:lnTo>
                    <a:pt x="60020" y="913091"/>
                  </a:lnTo>
                  <a:lnTo>
                    <a:pt x="66306" y="809244"/>
                  </a:lnTo>
                  <a:close/>
                </a:path>
              </a:pathLst>
            </a:custGeom>
            <a:solidFill>
              <a:srgbClr val="9DDCF8">
                <a:alpha val="30999"/>
              </a:srgbClr>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359">
              <a:extLst>
                <a:ext uri="{FF2B5EF4-FFF2-40B4-BE49-F238E27FC236}">
                  <a16:creationId xmlns:a16="http://schemas.microsoft.com/office/drawing/2014/main" id="{7588FC93-2B86-DFB5-E94A-8A56ABAD5DD8}"/>
                </a:ext>
              </a:extLst>
            </p:cNvPr>
            <p:cNvSpPr/>
            <p:nvPr/>
          </p:nvSpPr>
          <p:spPr>
            <a:xfrm>
              <a:off x="4311269" y="3934131"/>
              <a:ext cx="451484" cy="1430655"/>
            </a:xfrm>
            <a:custGeom>
              <a:avLst/>
              <a:gdLst/>
              <a:ahLst/>
              <a:cxnLst/>
              <a:rect l="l" t="t" r="r" b="b"/>
              <a:pathLst>
                <a:path w="451485" h="1430654">
                  <a:moveTo>
                    <a:pt x="451305" y="0"/>
                  </a:moveTo>
                  <a:lnTo>
                    <a:pt x="281436" y="407160"/>
                  </a:lnTo>
                  <a:lnTo>
                    <a:pt x="260135" y="451197"/>
                  </a:lnTo>
                  <a:lnTo>
                    <a:pt x="240005" y="495754"/>
                  </a:lnTo>
                  <a:lnTo>
                    <a:pt x="221054" y="540806"/>
                  </a:lnTo>
                  <a:lnTo>
                    <a:pt x="203290" y="586331"/>
                  </a:lnTo>
                  <a:lnTo>
                    <a:pt x="186724" y="632305"/>
                  </a:lnTo>
                  <a:lnTo>
                    <a:pt x="171365" y="678705"/>
                  </a:lnTo>
                  <a:lnTo>
                    <a:pt x="157220" y="725507"/>
                  </a:lnTo>
                  <a:lnTo>
                    <a:pt x="144299" y="772688"/>
                  </a:lnTo>
                  <a:lnTo>
                    <a:pt x="0" y="1419621"/>
                  </a:lnTo>
                  <a:lnTo>
                    <a:pt x="35758" y="1430438"/>
                  </a:lnTo>
                  <a:lnTo>
                    <a:pt x="233919" y="599866"/>
                  </a:lnTo>
                  <a:lnTo>
                    <a:pt x="451305" y="0"/>
                  </a:lnTo>
                  <a:close/>
                </a:path>
              </a:pathLst>
            </a:custGeom>
            <a:solidFill>
              <a:srgbClr val="9DDCF8">
                <a:alpha val="44999"/>
              </a:srgbClr>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pic>
          <p:nvPicPr>
            <p:cNvPr id="21" name="object 360">
              <a:extLst>
                <a:ext uri="{FF2B5EF4-FFF2-40B4-BE49-F238E27FC236}">
                  <a16:creationId xmlns:a16="http://schemas.microsoft.com/office/drawing/2014/main" id="{B79F48EE-EEFA-0509-72CF-7A1D6F0D2B11}"/>
                </a:ext>
              </a:extLst>
            </p:cNvPr>
            <p:cNvPicPr/>
            <p:nvPr/>
          </p:nvPicPr>
          <p:blipFill>
            <a:blip r:embed="rId8" cstate="print"/>
            <a:stretch>
              <a:fillRect/>
            </a:stretch>
          </p:blipFill>
          <p:spPr>
            <a:xfrm>
              <a:off x="4420417" y="2653405"/>
              <a:ext cx="660702" cy="1084741"/>
            </a:xfrm>
            <a:prstGeom prst="rect">
              <a:avLst/>
            </a:prstGeom>
          </p:spPr>
        </p:pic>
        <p:pic>
          <p:nvPicPr>
            <p:cNvPr id="22" name="object 361">
              <a:extLst>
                <a:ext uri="{FF2B5EF4-FFF2-40B4-BE49-F238E27FC236}">
                  <a16:creationId xmlns:a16="http://schemas.microsoft.com/office/drawing/2014/main" id="{0F228CD1-1E58-B172-ACF0-A93F484A7345}"/>
                </a:ext>
              </a:extLst>
            </p:cNvPr>
            <p:cNvPicPr/>
            <p:nvPr/>
          </p:nvPicPr>
          <p:blipFill>
            <a:blip r:embed="rId9" cstate="print"/>
            <a:stretch>
              <a:fillRect/>
            </a:stretch>
          </p:blipFill>
          <p:spPr>
            <a:xfrm>
              <a:off x="4277273" y="2167213"/>
              <a:ext cx="1007984" cy="1678113"/>
            </a:xfrm>
            <a:prstGeom prst="rect">
              <a:avLst/>
            </a:prstGeom>
          </p:spPr>
        </p:pic>
      </p:grpSp>
      <p:sp>
        <p:nvSpPr>
          <p:cNvPr id="23" name="Rectangle 22">
            <a:extLst>
              <a:ext uri="{FF2B5EF4-FFF2-40B4-BE49-F238E27FC236}">
                <a16:creationId xmlns:a16="http://schemas.microsoft.com/office/drawing/2014/main" id="{39FE588E-8AB2-7BA3-1653-17BA54A2387A}"/>
              </a:ext>
            </a:extLst>
          </p:cNvPr>
          <p:cNvSpPr/>
          <p:nvPr/>
        </p:nvSpPr>
        <p:spPr>
          <a:xfrm>
            <a:off x="7702141" y="5234241"/>
            <a:ext cx="2211452" cy="1263687"/>
          </a:xfrm>
          <a:prstGeom prst="rect">
            <a:avLst/>
          </a:prstGeom>
          <a:solidFill>
            <a:srgbClr val="6FC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3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589872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Freeform 7">
            <a:extLst>
              <a:ext uri="{FF2B5EF4-FFF2-40B4-BE49-F238E27FC236}">
                <a16:creationId xmlns:a16="http://schemas.microsoft.com/office/drawing/2014/main" id="{6B8B50A7-7249-02A1-7CE8-5F5D6EB073B1}"/>
              </a:ext>
            </a:extLst>
          </p:cNvPr>
          <p:cNvSpPr/>
          <p:nvPr/>
        </p:nvSpPr>
        <p:spPr>
          <a:xfrm>
            <a:off x="7770826" y="197383"/>
            <a:ext cx="2117164" cy="1539755"/>
          </a:xfrm>
          <a:custGeom>
            <a:avLst/>
            <a:gdLst/>
            <a:ahLst/>
            <a:cxnLst/>
            <a:rect l="l" t="t" r="r" b="b"/>
            <a:pathLst>
              <a:path w="2685976" h="1953437">
                <a:moveTo>
                  <a:pt x="0" y="0"/>
                </a:moveTo>
                <a:lnTo>
                  <a:pt x="2685976" y="0"/>
                </a:lnTo>
                <a:lnTo>
                  <a:pt x="2685976" y="1953437"/>
                </a:lnTo>
                <a:lnTo>
                  <a:pt x="0" y="1953437"/>
                </a:lnTo>
                <a:lnTo>
                  <a:pt x="0" y="0"/>
                </a:lnTo>
                <a:close/>
              </a:path>
            </a:pathLst>
          </a:custGeom>
          <a:blipFill>
            <a:blip r:embed="rId2"/>
            <a:stretch>
              <a:fillRect/>
            </a:stretch>
          </a:blipFill>
        </p:spPr>
      </p:sp>
      <p:sp>
        <p:nvSpPr>
          <p:cNvPr id="4" name="Freeform 13">
            <a:extLst>
              <a:ext uri="{FF2B5EF4-FFF2-40B4-BE49-F238E27FC236}">
                <a16:creationId xmlns:a16="http://schemas.microsoft.com/office/drawing/2014/main" id="{418CB178-2E3F-BDCE-9E78-C3261F4B1460}"/>
              </a:ext>
            </a:extLst>
          </p:cNvPr>
          <p:cNvSpPr/>
          <p:nvPr/>
        </p:nvSpPr>
        <p:spPr>
          <a:xfrm>
            <a:off x="7752292" y="2046237"/>
            <a:ext cx="2095965" cy="1179563"/>
          </a:xfrm>
          <a:custGeom>
            <a:avLst/>
            <a:gdLst/>
            <a:ahLst/>
            <a:cxnLst/>
            <a:rect l="l" t="t" r="r" b="b"/>
            <a:pathLst>
              <a:path w="3143948" h="1769344">
                <a:moveTo>
                  <a:pt x="0" y="0"/>
                </a:moveTo>
                <a:lnTo>
                  <a:pt x="3143948" y="0"/>
                </a:lnTo>
                <a:lnTo>
                  <a:pt x="3143948" y="1769344"/>
                </a:lnTo>
                <a:lnTo>
                  <a:pt x="0" y="1769344"/>
                </a:lnTo>
                <a:lnTo>
                  <a:pt x="0" y="0"/>
                </a:lnTo>
                <a:close/>
              </a:path>
            </a:pathLst>
          </a:custGeom>
          <a:blipFill>
            <a:blip r:embed="rId3"/>
            <a:stretch>
              <a:fillRect/>
            </a:stretch>
          </a:blipFill>
        </p:spPr>
      </p:sp>
      <p:sp>
        <p:nvSpPr>
          <p:cNvPr id="5" name="Freeform 19">
            <a:extLst>
              <a:ext uri="{FF2B5EF4-FFF2-40B4-BE49-F238E27FC236}">
                <a16:creationId xmlns:a16="http://schemas.microsoft.com/office/drawing/2014/main" id="{CF81CCE1-7FCF-429A-3B2B-20676156C418}"/>
              </a:ext>
            </a:extLst>
          </p:cNvPr>
          <p:cNvSpPr/>
          <p:nvPr/>
        </p:nvSpPr>
        <p:spPr>
          <a:xfrm>
            <a:off x="7727216" y="3644210"/>
            <a:ext cx="2146116" cy="1207190"/>
          </a:xfrm>
          <a:custGeom>
            <a:avLst/>
            <a:gdLst/>
            <a:ahLst/>
            <a:cxnLst/>
            <a:rect l="l" t="t" r="r" b="b"/>
            <a:pathLst>
              <a:path w="3219174" h="1810785">
                <a:moveTo>
                  <a:pt x="0" y="0"/>
                </a:moveTo>
                <a:lnTo>
                  <a:pt x="3219174" y="0"/>
                </a:lnTo>
                <a:lnTo>
                  <a:pt x="3219174" y="1810785"/>
                </a:lnTo>
                <a:lnTo>
                  <a:pt x="0" y="1810785"/>
                </a:lnTo>
                <a:lnTo>
                  <a:pt x="0" y="0"/>
                </a:lnTo>
                <a:close/>
              </a:path>
            </a:pathLst>
          </a:custGeom>
          <a:blipFill>
            <a:blip r:embed="rId4"/>
            <a:stretch>
              <a:fillRect/>
            </a:stretch>
          </a:blipFill>
        </p:spPr>
      </p:sp>
      <p:sp>
        <p:nvSpPr>
          <p:cNvPr id="6" name="Freeform 25">
            <a:extLst>
              <a:ext uri="{FF2B5EF4-FFF2-40B4-BE49-F238E27FC236}">
                <a16:creationId xmlns:a16="http://schemas.microsoft.com/office/drawing/2014/main" id="{F51FEECD-9126-C45F-505A-7C745F1AFA15}"/>
              </a:ext>
            </a:extLst>
          </p:cNvPr>
          <p:cNvSpPr/>
          <p:nvPr/>
        </p:nvSpPr>
        <p:spPr>
          <a:xfrm>
            <a:off x="7694548" y="5234241"/>
            <a:ext cx="2211452" cy="1263687"/>
          </a:xfrm>
          <a:custGeom>
            <a:avLst/>
            <a:gdLst/>
            <a:ahLst/>
            <a:cxnLst/>
            <a:rect l="l" t="t" r="r" b="b"/>
            <a:pathLst>
              <a:path w="3317178" h="1895530">
                <a:moveTo>
                  <a:pt x="0" y="0"/>
                </a:moveTo>
                <a:lnTo>
                  <a:pt x="3317178" y="0"/>
                </a:lnTo>
                <a:lnTo>
                  <a:pt x="3317178" y="1895530"/>
                </a:lnTo>
                <a:lnTo>
                  <a:pt x="0" y="1895530"/>
                </a:lnTo>
                <a:lnTo>
                  <a:pt x="0" y="0"/>
                </a:lnTo>
                <a:close/>
              </a:path>
            </a:pathLst>
          </a:custGeom>
          <a:blipFill>
            <a:blip r:embed="rId5"/>
            <a:stretch>
              <a:fillRect/>
            </a:stretch>
          </a:blipFill>
        </p:spPr>
      </p:sp>
      <p:sp>
        <p:nvSpPr>
          <p:cNvPr id="22" name="Rectangle 21">
            <a:extLst>
              <a:ext uri="{FF2B5EF4-FFF2-40B4-BE49-F238E27FC236}">
                <a16:creationId xmlns:a16="http://schemas.microsoft.com/office/drawing/2014/main" id="{40C8ABE0-1D57-9C7E-2AFA-53605D0FF25D}"/>
              </a:ext>
            </a:extLst>
          </p:cNvPr>
          <p:cNvSpPr/>
          <p:nvPr/>
        </p:nvSpPr>
        <p:spPr>
          <a:xfrm>
            <a:off x="7702141" y="2036472"/>
            <a:ext cx="2185849" cy="1263687"/>
          </a:xfrm>
          <a:prstGeom prst="rect">
            <a:avLst/>
          </a:prstGeom>
          <a:solidFill>
            <a:srgbClr val="9DD4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2133" b="1"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31A64FBD-D017-947C-F465-B19A2AEBBCC4}"/>
              </a:ext>
            </a:extLst>
          </p:cNvPr>
          <p:cNvSpPr/>
          <p:nvPr/>
        </p:nvSpPr>
        <p:spPr>
          <a:xfrm>
            <a:off x="7720151" y="197383"/>
            <a:ext cx="2185849" cy="1539755"/>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3600" b="1" i="0" u="none" strike="noStrike" kern="1200" cap="none" spc="0" normalizeH="0" baseline="0" noProof="0">
              <a:ln>
                <a:noFill/>
              </a:ln>
              <a:solidFill>
                <a:prstClr val="white"/>
              </a:solidFill>
              <a:effectLst/>
              <a:uLnTx/>
              <a:uFillTx/>
              <a:latin typeface="Calibri"/>
              <a:ea typeface="+mn-ea"/>
              <a:cs typeface="+mn-cs"/>
            </a:endParaRPr>
          </a:p>
        </p:txBody>
      </p:sp>
      <p:grpSp>
        <p:nvGrpSpPr>
          <p:cNvPr id="2" name="object 352">
            <a:extLst>
              <a:ext uri="{FF2B5EF4-FFF2-40B4-BE49-F238E27FC236}">
                <a16:creationId xmlns:a16="http://schemas.microsoft.com/office/drawing/2014/main" id="{808101F7-EF04-FCC7-5059-B22E657C15D2}"/>
              </a:ext>
            </a:extLst>
          </p:cNvPr>
          <p:cNvGrpSpPr/>
          <p:nvPr/>
        </p:nvGrpSpPr>
        <p:grpSpPr>
          <a:xfrm flipH="1">
            <a:off x="455480" y="2197986"/>
            <a:ext cx="1985495" cy="4685414"/>
            <a:chOff x="3863476" y="2167213"/>
            <a:chExt cx="1422400" cy="3356610"/>
          </a:xfrm>
        </p:grpSpPr>
        <p:sp>
          <p:nvSpPr>
            <p:cNvPr id="7" name="object 353">
              <a:extLst>
                <a:ext uri="{FF2B5EF4-FFF2-40B4-BE49-F238E27FC236}">
                  <a16:creationId xmlns:a16="http://schemas.microsoft.com/office/drawing/2014/main" id="{C64D0EDB-CDE9-D17D-C6F1-4A302D9EA9C5}"/>
                </a:ext>
              </a:extLst>
            </p:cNvPr>
            <p:cNvSpPr/>
            <p:nvPr/>
          </p:nvSpPr>
          <p:spPr>
            <a:xfrm>
              <a:off x="4068353" y="5206448"/>
              <a:ext cx="253365" cy="265430"/>
            </a:xfrm>
            <a:custGeom>
              <a:avLst/>
              <a:gdLst/>
              <a:ahLst/>
              <a:cxnLst/>
              <a:rect l="l" t="t" r="r" b="b"/>
              <a:pathLst>
                <a:path w="253364" h="265429">
                  <a:moveTo>
                    <a:pt x="253133" y="0"/>
                  </a:moveTo>
                  <a:lnTo>
                    <a:pt x="151084" y="0"/>
                  </a:lnTo>
                  <a:lnTo>
                    <a:pt x="135665" y="77596"/>
                  </a:lnTo>
                  <a:lnTo>
                    <a:pt x="119692" y="123624"/>
                  </a:lnTo>
                  <a:lnTo>
                    <a:pt x="93416" y="156231"/>
                  </a:lnTo>
                  <a:lnTo>
                    <a:pt x="47087" y="193564"/>
                  </a:lnTo>
                  <a:lnTo>
                    <a:pt x="0" y="235919"/>
                  </a:lnTo>
                  <a:lnTo>
                    <a:pt x="138739" y="265143"/>
                  </a:lnTo>
                  <a:lnTo>
                    <a:pt x="213134" y="215585"/>
                  </a:lnTo>
                  <a:lnTo>
                    <a:pt x="206705" y="192203"/>
                  </a:lnTo>
                  <a:lnTo>
                    <a:pt x="211252" y="152338"/>
                  </a:lnTo>
                  <a:lnTo>
                    <a:pt x="227512" y="87361"/>
                  </a:lnTo>
                  <a:lnTo>
                    <a:pt x="244976" y="26754"/>
                  </a:lnTo>
                  <a:lnTo>
                    <a:pt x="253133" y="0"/>
                  </a:lnTo>
                  <a:close/>
                </a:path>
              </a:pathLst>
            </a:custGeom>
            <a:solidFill>
              <a:srgbClr val="F4D1AC"/>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354">
              <a:extLst>
                <a:ext uri="{FF2B5EF4-FFF2-40B4-BE49-F238E27FC236}">
                  <a16:creationId xmlns:a16="http://schemas.microsoft.com/office/drawing/2014/main" id="{682E5908-2AB4-4F71-7B93-15A807223772}"/>
                </a:ext>
              </a:extLst>
            </p:cNvPr>
            <p:cNvSpPr/>
            <p:nvPr/>
          </p:nvSpPr>
          <p:spPr>
            <a:xfrm>
              <a:off x="3868793" y="5387055"/>
              <a:ext cx="430530" cy="118110"/>
            </a:xfrm>
            <a:custGeom>
              <a:avLst/>
              <a:gdLst/>
              <a:ahLst/>
              <a:cxnLst/>
              <a:rect l="l" t="t" r="r" b="b"/>
              <a:pathLst>
                <a:path w="430529" h="118110">
                  <a:moveTo>
                    <a:pt x="228171" y="0"/>
                  </a:moveTo>
                  <a:lnTo>
                    <a:pt x="187408" y="24227"/>
                  </a:lnTo>
                  <a:lnTo>
                    <a:pt x="131390" y="47869"/>
                  </a:lnTo>
                  <a:lnTo>
                    <a:pt x="90279" y="58197"/>
                  </a:lnTo>
                  <a:lnTo>
                    <a:pt x="51252" y="66909"/>
                  </a:lnTo>
                  <a:lnTo>
                    <a:pt x="22935" y="73760"/>
                  </a:lnTo>
                  <a:lnTo>
                    <a:pt x="5720" y="81914"/>
                  </a:lnTo>
                  <a:lnTo>
                    <a:pt x="0" y="94531"/>
                  </a:lnTo>
                  <a:lnTo>
                    <a:pt x="40698" y="110690"/>
                  </a:lnTo>
                  <a:lnTo>
                    <a:pt x="129960" y="116971"/>
                  </a:lnTo>
                  <a:lnTo>
                    <a:pt x="219169" y="117623"/>
                  </a:lnTo>
                  <a:lnTo>
                    <a:pt x="259709" y="116896"/>
                  </a:lnTo>
                  <a:lnTo>
                    <a:pt x="430374" y="111368"/>
                  </a:lnTo>
                  <a:lnTo>
                    <a:pt x="418468" y="27308"/>
                  </a:lnTo>
                  <a:lnTo>
                    <a:pt x="387499" y="36533"/>
                  </a:lnTo>
                  <a:lnTo>
                    <a:pt x="367199" y="41270"/>
                  </a:lnTo>
                  <a:lnTo>
                    <a:pt x="348590" y="43016"/>
                  </a:lnTo>
                  <a:lnTo>
                    <a:pt x="322691" y="43265"/>
                  </a:lnTo>
                  <a:lnTo>
                    <a:pt x="291592" y="42003"/>
                  </a:lnTo>
                  <a:lnTo>
                    <a:pt x="266645" y="38726"/>
                  </a:lnTo>
                  <a:lnTo>
                    <a:pt x="247161" y="34201"/>
                  </a:lnTo>
                  <a:lnTo>
                    <a:pt x="232453" y="29192"/>
                  </a:lnTo>
                  <a:lnTo>
                    <a:pt x="239316" y="17342"/>
                  </a:lnTo>
                  <a:lnTo>
                    <a:pt x="237007" y="8117"/>
                  </a:lnTo>
                  <a:lnTo>
                    <a:pt x="231350" y="2131"/>
                  </a:lnTo>
                  <a:lnTo>
                    <a:pt x="228171" y="0"/>
                  </a:lnTo>
                  <a:close/>
                </a:path>
              </a:pathLst>
            </a:custGeom>
            <a:solidFill>
              <a:srgbClr val="EEB841"/>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355">
              <a:extLst>
                <a:ext uri="{FF2B5EF4-FFF2-40B4-BE49-F238E27FC236}">
                  <a16:creationId xmlns:a16="http://schemas.microsoft.com/office/drawing/2014/main" id="{D8A9CCB9-A2D7-147E-BECB-80A3731EBD69}"/>
                </a:ext>
              </a:extLst>
            </p:cNvPr>
            <p:cNvSpPr/>
            <p:nvPr/>
          </p:nvSpPr>
          <p:spPr>
            <a:xfrm>
              <a:off x="3863467" y="5417953"/>
              <a:ext cx="436880" cy="105410"/>
            </a:xfrm>
            <a:custGeom>
              <a:avLst/>
              <a:gdLst/>
              <a:ahLst/>
              <a:cxnLst/>
              <a:rect l="l" t="t" r="r" b="b"/>
              <a:pathLst>
                <a:path w="436879" h="105410">
                  <a:moveTo>
                    <a:pt x="280568" y="10325"/>
                  </a:moveTo>
                  <a:lnTo>
                    <a:pt x="268630" y="8064"/>
                  </a:lnTo>
                  <a:lnTo>
                    <a:pt x="258279" y="5499"/>
                  </a:lnTo>
                  <a:lnTo>
                    <a:pt x="249389" y="2781"/>
                  </a:lnTo>
                  <a:lnTo>
                    <a:pt x="241858" y="0"/>
                  </a:lnTo>
                  <a:lnTo>
                    <a:pt x="225018" y="7251"/>
                  </a:lnTo>
                  <a:lnTo>
                    <a:pt x="211404" y="12649"/>
                  </a:lnTo>
                  <a:lnTo>
                    <a:pt x="189001" y="21120"/>
                  </a:lnTo>
                  <a:lnTo>
                    <a:pt x="178943" y="29578"/>
                  </a:lnTo>
                  <a:lnTo>
                    <a:pt x="179387" y="39166"/>
                  </a:lnTo>
                  <a:lnTo>
                    <a:pt x="190360" y="44335"/>
                  </a:lnTo>
                  <a:lnTo>
                    <a:pt x="211912" y="39522"/>
                  </a:lnTo>
                  <a:lnTo>
                    <a:pt x="280568" y="10325"/>
                  </a:lnTo>
                  <a:close/>
                </a:path>
                <a:path w="436879" h="105410">
                  <a:moveTo>
                    <a:pt x="436397" y="78536"/>
                  </a:moveTo>
                  <a:lnTo>
                    <a:pt x="149034" y="78536"/>
                  </a:lnTo>
                  <a:lnTo>
                    <a:pt x="90538" y="76974"/>
                  </a:lnTo>
                  <a:lnTo>
                    <a:pt x="44284" y="73533"/>
                  </a:lnTo>
                  <a:lnTo>
                    <a:pt x="13779" y="70065"/>
                  </a:lnTo>
                  <a:lnTo>
                    <a:pt x="2540" y="68453"/>
                  </a:lnTo>
                  <a:lnTo>
                    <a:pt x="0" y="95250"/>
                  </a:lnTo>
                  <a:lnTo>
                    <a:pt x="12026" y="96989"/>
                  </a:lnTo>
                  <a:lnTo>
                    <a:pt x="42646" y="100431"/>
                  </a:lnTo>
                  <a:lnTo>
                    <a:pt x="89204" y="103797"/>
                  </a:lnTo>
                  <a:lnTo>
                    <a:pt x="149034" y="105308"/>
                  </a:lnTo>
                  <a:lnTo>
                    <a:pt x="436397" y="105308"/>
                  </a:lnTo>
                  <a:lnTo>
                    <a:pt x="436397" y="78536"/>
                  </a:lnTo>
                  <a:close/>
                </a:path>
              </a:pathLst>
            </a:custGeom>
            <a:solidFill>
              <a:srgbClr val="A0A0A0"/>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pic>
          <p:nvPicPr>
            <p:cNvPr id="10" name="object 356">
              <a:extLst>
                <a:ext uri="{FF2B5EF4-FFF2-40B4-BE49-F238E27FC236}">
                  <a16:creationId xmlns:a16="http://schemas.microsoft.com/office/drawing/2014/main" id="{72237DC2-38A9-7238-D286-0195E7C67F40}"/>
                </a:ext>
              </a:extLst>
            </p:cNvPr>
            <p:cNvPicPr/>
            <p:nvPr/>
          </p:nvPicPr>
          <p:blipFill>
            <a:blip r:embed="rId6" cstate="print"/>
            <a:stretch>
              <a:fillRect/>
            </a:stretch>
          </p:blipFill>
          <p:spPr>
            <a:xfrm>
              <a:off x="4748485" y="5222807"/>
              <a:ext cx="212361" cy="300450"/>
            </a:xfrm>
            <a:prstGeom prst="rect">
              <a:avLst/>
            </a:prstGeom>
          </p:spPr>
        </p:pic>
        <p:sp>
          <p:nvSpPr>
            <p:cNvPr id="11" name="object 357">
              <a:extLst>
                <a:ext uri="{FF2B5EF4-FFF2-40B4-BE49-F238E27FC236}">
                  <a16:creationId xmlns:a16="http://schemas.microsoft.com/office/drawing/2014/main" id="{4ABEE3F5-97E7-3628-E75C-E9B10872A910}"/>
                </a:ext>
              </a:extLst>
            </p:cNvPr>
            <p:cNvSpPr/>
            <p:nvPr/>
          </p:nvSpPr>
          <p:spPr>
            <a:xfrm>
              <a:off x="4162597" y="3566747"/>
              <a:ext cx="945515" cy="1798320"/>
            </a:xfrm>
            <a:custGeom>
              <a:avLst/>
              <a:gdLst/>
              <a:ahLst/>
              <a:cxnLst/>
              <a:rect l="l" t="t" r="r" b="b"/>
              <a:pathLst>
                <a:path w="945514" h="1798320">
                  <a:moveTo>
                    <a:pt x="330345" y="534"/>
                  </a:moveTo>
                  <a:lnTo>
                    <a:pt x="165230" y="895909"/>
                  </a:lnTo>
                  <a:lnTo>
                    <a:pt x="0" y="1751580"/>
                  </a:lnTo>
                  <a:lnTo>
                    <a:pt x="184434" y="1797819"/>
                  </a:lnTo>
                  <a:lnTo>
                    <a:pt x="382585" y="967248"/>
                  </a:lnTo>
                  <a:lnTo>
                    <a:pt x="600473" y="372093"/>
                  </a:lnTo>
                  <a:lnTo>
                    <a:pt x="945348" y="372093"/>
                  </a:lnTo>
                  <a:lnTo>
                    <a:pt x="945489" y="318471"/>
                  </a:lnTo>
                  <a:lnTo>
                    <a:pt x="928799" y="198659"/>
                  </a:lnTo>
                  <a:lnTo>
                    <a:pt x="896298" y="96968"/>
                  </a:lnTo>
                  <a:lnTo>
                    <a:pt x="864608" y="26410"/>
                  </a:lnTo>
                  <a:lnTo>
                    <a:pt x="852001" y="3057"/>
                  </a:lnTo>
                  <a:lnTo>
                    <a:pt x="603259" y="3057"/>
                  </a:lnTo>
                  <a:lnTo>
                    <a:pt x="330345" y="534"/>
                  </a:lnTo>
                  <a:close/>
                </a:path>
                <a:path w="945514" h="1798320">
                  <a:moveTo>
                    <a:pt x="945347" y="372606"/>
                  </a:moveTo>
                  <a:lnTo>
                    <a:pt x="631059" y="372606"/>
                  </a:lnTo>
                  <a:lnTo>
                    <a:pt x="611175" y="1742889"/>
                  </a:lnTo>
                  <a:lnTo>
                    <a:pt x="770301" y="1765181"/>
                  </a:lnTo>
                  <a:lnTo>
                    <a:pt x="874014" y="1022198"/>
                  </a:lnTo>
                  <a:lnTo>
                    <a:pt x="926834" y="623838"/>
                  </a:lnTo>
                  <a:lnTo>
                    <a:pt x="945184" y="434472"/>
                  </a:lnTo>
                  <a:lnTo>
                    <a:pt x="945347" y="372606"/>
                  </a:lnTo>
                  <a:close/>
                </a:path>
                <a:path w="945514" h="1798320">
                  <a:moveTo>
                    <a:pt x="945348" y="372093"/>
                  </a:moveTo>
                  <a:lnTo>
                    <a:pt x="600473" y="372093"/>
                  </a:lnTo>
                  <a:lnTo>
                    <a:pt x="606463" y="374135"/>
                  </a:lnTo>
                  <a:lnTo>
                    <a:pt x="620776" y="374428"/>
                  </a:lnTo>
                  <a:lnTo>
                    <a:pt x="631059" y="372606"/>
                  </a:lnTo>
                  <a:lnTo>
                    <a:pt x="945347" y="372606"/>
                  </a:lnTo>
                  <a:lnTo>
                    <a:pt x="945348" y="372093"/>
                  </a:lnTo>
                  <a:close/>
                </a:path>
                <a:path w="945514" h="1798320">
                  <a:moveTo>
                    <a:pt x="850351" y="0"/>
                  </a:moveTo>
                  <a:lnTo>
                    <a:pt x="629111" y="3057"/>
                  </a:lnTo>
                  <a:lnTo>
                    <a:pt x="852001" y="3057"/>
                  </a:lnTo>
                  <a:lnTo>
                    <a:pt x="850351" y="0"/>
                  </a:lnTo>
                  <a:close/>
                </a:path>
              </a:pathLst>
            </a:custGeom>
            <a:solidFill>
              <a:srgbClr val="9DDCF8"/>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358">
              <a:extLst>
                <a:ext uri="{FF2B5EF4-FFF2-40B4-BE49-F238E27FC236}">
                  <a16:creationId xmlns:a16="http://schemas.microsoft.com/office/drawing/2014/main" id="{49533AA5-3FCC-AE94-FF67-016DFD172C90}"/>
                </a:ext>
              </a:extLst>
            </p:cNvPr>
            <p:cNvSpPr/>
            <p:nvPr/>
          </p:nvSpPr>
          <p:spPr>
            <a:xfrm>
              <a:off x="4773764" y="3939355"/>
              <a:ext cx="66675" cy="1370330"/>
            </a:xfrm>
            <a:custGeom>
              <a:avLst/>
              <a:gdLst/>
              <a:ahLst/>
              <a:cxnLst/>
              <a:rect l="l" t="t" r="r" b="b"/>
              <a:pathLst>
                <a:path w="66675" h="1370329">
                  <a:moveTo>
                    <a:pt x="66306" y="809244"/>
                  </a:moveTo>
                  <a:lnTo>
                    <a:pt x="64884" y="705459"/>
                  </a:lnTo>
                  <a:lnTo>
                    <a:pt x="56032" y="525183"/>
                  </a:lnTo>
                  <a:lnTo>
                    <a:pt x="40767" y="290461"/>
                  </a:lnTo>
                  <a:lnTo>
                    <a:pt x="26314" y="86880"/>
                  </a:lnTo>
                  <a:lnTo>
                    <a:pt x="19888" y="0"/>
                  </a:lnTo>
                  <a:lnTo>
                    <a:pt x="0" y="1370291"/>
                  </a:lnTo>
                  <a:lnTo>
                    <a:pt x="39941" y="1079334"/>
                  </a:lnTo>
                  <a:lnTo>
                    <a:pt x="60020" y="913091"/>
                  </a:lnTo>
                  <a:lnTo>
                    <a:pt x="66306" y="809244"/>
                  </a:lnTo>
                  <a:close/>
                </a:path>
              </a:pathLst>
            </a:custGeom>
            <a:solidFill>
              <a:srgbClr val="9DDCF8">
                <a:alpha val="30999"/>
              </a:srgbClr>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359">
              <a:extLst>
                <a:ext uri="{FF2B5EF4-FFF2-40B4-BE49-F238E27FC236}">
                  <a16:creationId xmlns:a16="http://schemas.microsoft.com/office/drawing/2014/main" id="{C79BF9E1-48A5-E7B5-30F7-7DF35CFE1499}"/>
                </a:ext>
              </a:extLst>
            </p:cNvPr>
            <p:cNvSpPr/>
            <p:nvPr/>
          </p:nvSpPr>
          <p:spPr>
            <a:xfrm>
              <a:off x="4311269" y="3934131"/>
              <a:ext cx="451484" cy="1430655"/>
            </a:xfrm>
            <a:custGeom>
              <a:avLst/>
              <a:gdLst/>
              <a:ahLst/>
              <a:cxnLst/>
              <a:rect l="l" t="t" r="r" b="b"/>
              <a:pathLst>
                <a:path w="451485" h="1430654">
                  <a:moveTo>
                    <a:pt x="451305" y="0"/>
                  </a:moveTo>
                  <a:lnTo>
                    <a:pt x="281436" y="407160"/>
                  </a:lnTo>
                  <a:lnTo>
                    <a:pt x="260135" y="451197"/>
                  </a:lnTo>
                  <a:lnTo>
                    <a:pt x="240005" y="495754"/>
                  </a:lnTo>
                  <a:lnTo>
                    <a:pt x="221054" y="540806"/>
                  </a:lnTo>
                  <a:lnTo>
                    <a:pt x="203290" y="586331"/>
                  </a:lnTo>
                  <a:lnTo>
                    <a:pt x="186724" y="632305"/>
                  </a:lnTo>
                  <a:lnTo>
                    <a:pt x="171365" y="678705"/>
                  </a:lnTo>
                  <a:lnTo>
                    <a:pt x="157220" y="725507"/>
                  </a:lnTo>
                  <a:lnTo>
                    <a:pt x="144299" y="772688"/>
                  </a:lnTo>
                  <a:lnTo>
                    <a:pt x="0" y="1419621"/>
                  </a:lnTo>
                  <a:lnTo>
                    <a:pt x="35758" y="1430438"/>
                  </a:lnTo>
                  <a:lnTo>
                    <a:pt x="233919" y="599866"/>
                  </a:lnTo>
                  <a:lnTo>
                    <a:pt x="451305" y="0"/>
                  </a:lnTo>
                  <a:close/>
                </a:path>
              </a:pathLst>
            </a:custGeom>
            <a:solidFill>
              <a:srgbClr val="9DDCF8">
                <a:alpha val="44999"/>
              </a:srgbClr>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pic>
          <p:nvPicPr>
            <p:cNvPr id="18" name="object 360">
              <a:extLst>
                <a:ext uri="{FF2B5EF4-FFF2-40B4-BE49-F238E27FC236}">
                  <a16:creationId xmlns:a16="http://schemas.microsoft.com/office/drawing/2014/main" id="{4C4E8AA0-9A21-7897-FF5C-A36EE048C5B8}"/>
                </a:ext>
              </a:extLst>
            </p:cNvPr>
            <p:cNvPicPr/>
            <p:nvPr/>
          </p:nvPicPr>
          <p:blipFill>
            <a:blip r:embed="rId7" cstate="print"/>
            <a:stretch>
              <a:fillRect/>
            </a:stretch>
          </p:blipFill>
          <p:spPr>
            <a:xfrm>
              <a:off x="4420417" y="2653405"/>
              <a:ext cx="660702" cy="1084741"/>
            </a:xfrm>
            <a:prstGeom prst="rect">
              <a:avLst/>
            </a:prstGeom>
          </p:spPr>
        </p:pic>
        <p:pic>
          <p:nvPicPr>
            <p:cNvPr id="19" name="object 361">
              <a:extLst>
                <a:ext uri="{FF2B5EF4-FFF2-40B4-BE49-F238E27FC236}">
                  <a16:creationId xmlns:a16="http://schemas.microsoft.com/office/drawing/2014/main" id="{1909CAB7-1106-D62C-0F02-8411A3A00BBB}"/>
                </a:ext>
              </a:extLst>
            </p:cNvPr>
            <p:cNvPicPr/>
            <p:nvPr/>
          </p:nvPicPr>
          <p:blipFill>
            <a:blip r:embed="rId8" cstate="print"/>
            <a:stretch>
              <a:fillRect/>
            </a:stretch>
          </p:blipFill>
          <p:spPr>
            <a:xfrm>
              <a:off x="4277273" y="2167213"/>
              <a:ext cx="1007984" cy="1678113"/>
            </a:xfrm>
            <a:prstGeom prst="rect">
              <a:avLst/>
            </a:prstGeom>
          </p:spPr>
        </p:pic>
      </p:grpSp>
      <p:pic>
        <p:nvPicPr>
          <p:cNvPr id="21" name="Picture 20" descr="A white chalk drawing of a speech bubble&#10;&#10;Description automatically generated">
            <a:extLst>
              <a:ext uri="{FF2B5EF4-FFF2-40B4-BE49-F238E27FC236}">
                <a16:creationId xmlns:a16="http://schemas.microsoft.com/office/drawing/2014/main" id="{D66B98F3-E063-3577-CFA1-8BA346235E9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24205" y="1190351"/>
            <a:ext cx="3049377" cy="1344153"/>
          </a:xfrm>
          <a:prstGeom prst="rect">
            <a:avLst/>
          </a:prstGeom>
        </p:spPr>
      </p:pic>
      <p:sp>
        <p:nvSpPr>
          <p:cNvPr id="26" name="TextBox 26">
            <a:extLst>
              <a:ext uri="{FF2B5EF4-FFF2-40B4-BE49-F238E27FC236}">
                <a16:creationId xmlns:a16="http://schemas.microsoft.com/office/drawing/2014/main" id="{202B3ECE-8918-F124-B6FA-C17AB7D550AC}"/>
              </a:ext>
            </a:extLst>
          </p:cNvPr>
          <p:cNvSpPr txBox="1"/>
          <p:nvPr/>
        </p:nvSpPr>
        <p:spPr>
          <a:xfrm>
            <a:off x="1327182" y="1545951"/>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Calibri"/>
                <a:ea typeface="+mn-ea"/>
                <a:cs typeface="+mn-cs"/>
              </a:rPr>
              <a:t>¿</a:t>
            </a:r>
            <a:r>
              <a:rPr kumimoji="0" lang="en-US" sz="2266" b="0" i="0" u="none" strike="noStrike" kern="1200" cap="none" spc="0" normalizeH="0" baseline="0" noProof="0" err="1">
                <a:ln>
                  <a:noFill/>
                </a:ln>
                <a:solidFill>
                  <a:prstClr val="white"/>
                </a:solidFill>
                <a:effectLst/>
                <a:uLnTx/>
                <a:uFillTx/>
                <a:latin typeface="Calibri"/>
                <a:ea typeface="+mn-ea"/>
                <a:cs typeface="+mn-cs"/>
              </a:rPr>
              <a:t>Esto</a:t>
            </a:r>
            <a:r>
              <a:rPr kumimoji="0" lang="en-US" sz="2266" b="0" i="0" u="none" strike="noStrike" kern="1200" cap="none" spc="0" normalizeH="0" baseline="0" noProof="0">
                <a:ln>
                  <a:noFill/>
                </a:ln>
                <a:solidFill>
                  <a:prstClr val="white"/>
                </a:solidFill>
                <a:effectLst/>
                <a:uLnTx/>
                <a:uFillTx/>
                <a:latin typeface="Calibri"/>
                <a:ea typeface="+mn-ea"/>
                <a:cs typeface="+mn-cs"/>
              </a:rPr>
              <a:t> es un </a:t>
            </a:r>
            <a:r>
              <a:rPr kumimoji="0" lang="en-US" sz="2266" b="0" i="0" u="none" strike="noStrike" kern="1200" cap="none" spc="0" normalizeH="0" baseline="0" noProof="0" err="1">
                <a:ln>
                  <a:noFill/>
                </a:ln>
                <a:solidFill>
                  <a:prstClr val="white"/>
                </a:solidFill>
                <a:effectLst/>
                <a:uLnTx/>
                <a:uFillTx/>
                <a:latin typeface="Calibri"/>
                <a:ea typeface="+mn-ea"/>
                <a:cs typeface="+mn-cs"/>
              </a:rPr>
              <a:t>perro</a:t>
            </a:r>
            <a:r>
              <a:rPr kumimoji="0" lang="en-US" sz="2266" b="0" i="0" u="none" strike="noStrike" kern="1200" cap="none" spc="0" normalizeH="0" baseline="0" noProof="0">
                <a:ln>
                  <a:noFill/>
                </a:ln>
                <a:solidFill>
                  <a:prstClr val="white"/>
                </a:solidFill>
                <a:effectLst/>
                <a:uLnTx/>
                <a:uFillTx/>
                <a:latin typeface="Calibri"/>
                <a:ea typeface="+mn-ea"/>
                <a:cs typeface="+mn-cs"/>
              </a:rPr>
              <a:t>?</a:t>
            </a:r>
          </a:p>
        </p:txBody>
      </p:sp>
      <p:sp>
        <p:nvSpPr>
          <p:cNvPr id="24" name="TextBox 26">
            <a:extLst>
              <a:ext uri="{FF2B5EF4-FFF2-40B4-BE49-F238E27FC236}">
                <a16:creationId xmlns:a16="http://schemas.microsoft.com/office/drawing/2014/main" id="{35EC4D77-95E5-AF1C-54BB-ECFEC5CEE3E7}"/>
              </a:ext>
            </a:extLst>
          </p:cNvPr>
          <p:cNvSpPr txBox="1"/>
          <p:nvPr/>
        </p:nvSpPr>
        <p:spPr>
          <a:xfrm>
            <a:off x="5599077" y="736600"/>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Calibri"/>
                <a:ea typeface="+mn-ea"/>
                <a:cs typeface="+mn-cs"/>
              </a:rPr>
              <a:t>A</a:t>
            </a:r>
          </a:p>
        </p:txBody>
      </p:sp>
      <p:sp>
        <p:nvSpPr>
          <p:cNvPr id="25" name="TextBox 26">
            <a:extLst>
              <a:ext uri="{FF2B5EF4-FFF2-40B4-BE49-F238E27FC236}">
                <a16:creationId xmlns:a16="http://schemas.microsoft.com/office/drawing/2014/main" id="{C096266A-B60B-9F1F-37D5-A57F921F73EE}"/>
              </a:ext>
            </a:extLst>
          </p:cNvPr>
          <p:cNvSpPr txBox="1"/>
          <p:nvPr/>
        </p:nvSpPr>
        <p:spPr>
          <a:xfrm>
            <a:off x="5599077" y="2534963"/>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B</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27" name="TextBox 26">
            <a:extLst>
              <a:ext uri="{FF2B5EF4-FFF2-40B4-BE49-F238E27FC236}">
                <a16:creationId xmlns:a16="http://schemas.microsoft.com/office/drawing/2014/main" id="{B4106F66-A754-E5EE-9394-9AA3BD1499AB}"/>
              </a:ext>
            </a:extLst>
          </p:cNvPr>
          <p:cNvSpPr txBox="1"/>
          <p:nvPr/>
        </p:nvSpPr>
        <p:spPr>
          <a:xfrm>
            <a:off x="5599077" y="4131639"/>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C</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28" name="TextBox 26">
            <a:extLst>
              <a:ext uri="{FF2B5EF4-FFF2-40B4-BE49-F238E27FC236}">
                <a16:creationId xmlns:a16="http://schemas.microsoft.com/office/drawing/2014/main" id="{9AC82CBE-DD81-9A9A-5BFD-13DCF5B37998}"/>
              </a:ext>
            </a:extLst>
          </p:cNvPr>
          <p:cNvSpPr txBox="1"/>
          <p:nvPr/>
        </p:nvSpPr>
        <p:spPr>
          <a:xfrm>
            <a:off x="5599077" y="5930002"/>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D</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765991F6-5A4D-3197-F3B7-2274DB2BE1E0}"/>
              </a:ext>
            </a:extLst>
          </p:cNvPr>
          <p:cNvSpPr/>
          <p:nvPr/>
        </p:nvSpPr>
        <p:spPr>
          <a:xfrm>
            <a:off x="7702141" y="5234241"/>
            <a:ext cx="2211452" cy="1263687"/>
          </a:xfrm>
          <a:prstGeom prst="rect">
            <a:avLst/>
          </a:prstGeom>
          <a:solidFill>
            <a:srgbClr val="6FC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3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9543790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266" name="Picture 4" descr="A picture containing colorful&#10;&#10;Description automatically generated">
            <a:extLst>
              <a:ext uri="{FF2B5EF4-FFF2-40B4-BE49-F238E27FC236}">
                <a16:creationId xmlns:a16="http://schemas.microsoft.com/office/drawing/2014/main" id="{C8E93FA6-E8F5-FCE6-B47B-DFF18E7684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8588" y="1206500"/>
            <a:ext cx="4546600" cy="454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TextBox 5">
            <a:extLst>
              <a:ext uri="{FF2B5EF4-FFF2-40B4-BE49-F238E27FC236}">
                <a16:creationId xmlns:a16="http://schemas.microsoft.com/office/drawing/2014/main" id="{79B3EBC4-A8DB-D31F-DF95-6C4A72C27B06}"/>
              </a:ext>
            </a:extLst>
          </p:cNvPr>
          <p:cNvSpPr txBox="1">
            <a:spLocks noChangeArrowheads="1"/>
          </p:cNvSpPr>
          <p:nvPr/>
        </p:nvSpPr>
        <p:spPr bwMode="auto">
          <a:xfrm>
            <a:off x="473075" y="5538788"/>
            <a:ext cx="412591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s-MX" altLang="en-US" sz="3200" b="1">
                <a:solidFill>
                  <a:srgbClr val="0097A9"/>
                </a:solidFill>
              </a:rPr>
              <a:t>Espacio TI</a:t>
            </a:r>
          </a:p>
          <a:p>
            <a:pPr eaLnBrk="1" hangingPunct="1">
              <a:lnSpc>
                <a:spcPct val="100000"/>
              </a:lnSpc>
              <a:spcBef>
                <a:spcPct val="0"/>
              </a:spcBef>
              <a:buFontTx/>
              <a:buNone/>
            </a:pPr>
            <a:r>
              <a:rPr lang="es-MX" altLang="en-US" sz="2200">
                <a:solidFill>
                  <a:schemeClr val="bg1"/>
                </a:solidFill>
              </a:rPr>
              <a:t>Diciembre 2023</a:t>
            </a:r>
          </a:p>
        </p:txBody>
      </p:sp>
      <p:pic>
        <p:nvPicPr>
          <p:cNvPr id="11268" name="Picture 7" descr="A picture containing text, clipart&#10;&#10;Description automatically generated">
            <a:extLst>
              <a:ext uri="{FF2B5EF4-FFF2-40B4-BE49-F238E27FC236}">
                <a16:creationId xmlns:a16="http://schemas.microsoft.com/office/drawing/2014/main" id="{C3505C2F-3CEC-25FD-F867-29E754677F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3075" y="471488"/>
            <a:ext cx="2614613"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Freeform 7">
            <a:extLst>
              <a:ext uri="{FF2B5EF4-FFF2-40B4-BE49-F238E27FC236}">
                <a16:creationId xmlns:a16="http://schemas.microsoft.com/office/drawing/2014/main" id="{6B8B50A7-7249-02A1-7CE8-5F5D6EB073B1}"/>
              </a:ext>
            </a:extLst>
          </p:cNvPr>
          <p:cNvSpPr/>
          <p:nvPr/>
        </p:nvSpPr>
        <p:spPr>
          <a:xfrm>
            <a:off x="7770826" y="197383"/>
            <a:ext cx="2117164" cy="1539755"/>
          </a:xfrm>
          <a:custGeom>
            <a:avLst/>
            <a:gdLst/>
            <a:ahLst/>
            <a:cxnLst/>
            <a:rect l="l" t="t" r="r" b="b"/>
            <a:pathLst>
              <a:path w="2685976" h="1953437">
                <a:moveTo>
                  <a:pt x="0" y="0"/>
                </a:moveTo>
                <a:lnTo>
                  <a:pt x="2685976" y="0"/>
                </a:lnTo>
                <a:lnTo>
                  <a:pt x="2685976" y="1953437"/>
                </a:lnTo>
                <a:lnTo>
                  <a:pt x="0" y="1953437"/>
                </a:lnTo>
                <a:lnTo>
                  <a:pt x="0" y="0"/>
                </a:lnTo>
                <a:close/>
              </a:path>
            </a:pathLst>
          </a:custGeom>
          <a:blipFill>
            <a:blip r:embed="rId2"/>
            <a:stretch>
              <a:fillRect/>
            </a:stretch>
          </a:blipFill>
        </p:spPr>
      </p:sp>
      <p:sp>
        <p:nvSpPr>
          <p:cNvPr id="4" name="Freeform 13">
            <a:extLst>
              <a:ext uri="{FF2B5EF4-FFF2-40B4-BE49-F238E27FC236}">
                <a16:creationId xmlns:a16="http://schemas.microsoft.com/office/drawing/2014/main" id="{418CB178-2E3F-BDCE-9E78-C3261F4B1460}"/>
              </a:ext>
            </a:extLst>
          </p:cNvPr>
          <p:cNvSpPr/>
          <p:nvPr/>
        </p:nvSpPr>
        <p:spPr>
          <a:xfrm>
            <a:off x="7752292" y="2046237"/>
            <a:ext cx="2095965" cy="1179563"/>
          </a:xfrm>
          <a:custGeom>
            <a:avLst/>
            <a:gdLst/>
            <a:ahLst/>
            <a:cxnLst/>
            <a:rect l="l" t="t" r="r" b="b"/>
            <a:pathLst>
              <a:path w="3143948" h="1769344">
                <a:moveTo>
                  <a:pt x="0" y="0"/>
                </a:moveTo>
                <a:lnTo>
                  <a:pt x="3143948" y="0"/>
                </a:lnTo>
                <a:lnTo>
                  <a:pt x="3143948" y="1769344"/>
                </a:lnTo>
                <a:lnTo>
                  <a:pt x="0" y="1769344"/>
                </a:lnTo>
                <a:lnTo>
                  <a:pt x="0" y="0"/>
                </a:lnTo>
                <a:close/>
              </a:path>
            </a:pathLst>
          </a:custGeom>
          <a:blipFill>
            <a:blip r:embed="rId3"/>
            <a:stretch>
              <a:fillRect/>
            </a:stretch>
          </a:blipFill>
        </p:spPr>
      </p:sp>
      <p:sp>
        <p:nvSpPr>
          <p:cNvPr id="5" name="Freeform 19">
            <a:extLst>
              <a:ext uri="{FF2B5EF4-FFF2-40B4-BE49-F238E27FC236}">
                <a16:creationId xmlns:a16="http://schemas.microsoft.com/office/drawing/2014/main" id="{CF81CCE1-7FCF-429A-3B2B-20676156C418}"/>
              </a:ext>
            </a:extLst>
          </p:cNvPr>
          <p:cNvSpPr/>
          <p:nvPr/>
        </p:nvSpPr>
        <p:spPr>
          <a:xfrm>
            <a:off x="7727216" y="3644210"/>
            <a:ext cx="2146116" cy="1207190"/>
          </a:xfrm>
          <a:custGeom>
            <a:avLst/>
            <a:gdLst/>
            <a:ahLst/>
            <a:cxnLst/>
            <a:rect l="l" t="t" r="r" b="b"/>
            <a:pathLst>
              <a:path w="3219174" h="1810785">
                <a:moveTo>
                  <a:pt x="0" y="0"/>
                </a:moveTo>
                <a:lnTo>
                  <a:pt x="3219174" y="0"/>
                </a:lnTo>
                <a:lnTo>
                  <a:pt x="3219174" y="1810785"/>
                </a:lnTo>
                <a:lnTo>
                  <a:pt x="0" y="1810785"/>
                </a:lnTo>
                <a:lnTo>
                  <a:pt x="0" y="0"/>
                </a:lnTo>
                <a:close/>
              </a:path>
            </a:pathLst>
          </a:custGeom>
          <a:blipFill>
            <a:blip r:embed="rId4"/>
            <a:stretch>
              <a:fillRect/>
            </a:stretch>
          </a:blipFill>
        </p:spPr>
      </p:sp>
      <p:sp>
        <p:nvSpPr>
          <p:cNvPr id="6" name="Freeform 25">
            <a:extLst>
              <a:ext uri="{FF2B5EF4-FFF2-40B4-BE49-F238E27FC236}">
                <a16:creationId xmlns:a16="http://schemas.microsoft.com/office/drawing/2014/main" id="{F51FEECD-9126-C45F-505A-7C745F1AFA15}"/>
              </a:ext>
            </a:extLst>
          </p:cNvPr>
          <p:cNvSpPr/>
          <p:nvPr/>
        </p:nvSpPr>
        <p:spPr>
          <a:xfrm>
            <a:off x="7694548" y="5234241"/>
            <a:ext cx="2211452" cy="1263687"/>
          </a:xfrm>
          <a:custGeom>
            <a:avLst/>
            <a:gdLst/>
            <a:ahLst/>
            <a:cxnLst/>
            <a:rect l="l" t="t" r="r" b="b"/>
            <a:pathLst>
              <a:path w="3317178" h="1895530">
                <a:moveTo>
                  <a:pt x="0" y="0"/>
                </a:moveTo>
                <a:lnTo>
                  <a:pt x="3317178" y="0"/>
                </a:lnTo>
                <a:lnTo>
                  <a:pt x="3317178" y="1895530"/>
                </a:lnTo>
                <a:lnTo>
                  <a:pt x="0" y="1895530"/>
                </a:lnTo>
                <a:lnTo>
                  <a:pt x="0" y="0"/>
                </a:lnTo>
                <a:close/>
              </a:path>
            </a:pathLst>
          </a:custGeom>
          <a:blipFill>
            <a:blip r:embed="rId5"/>
            <a:stretch>
              <a:fillRect/>
            </a:stretch>
          </a:blipFill>
        </p:spPr>
      </p:sp>
      <p:sp>
        <p:nvSpPr>
          <p:cNvPr id="12" name="Rectangle 11">
            <a:extLst>
              <a:ext uri="{FF2B5EF4-FFF2-40B4-BE49-F238E27FC236}">
                <a16:creationId xmlns:a16="http://schemas.microsoft.com/office/drawing/2014/main" id="{D7C7AEF0-6727-F126-E03B-3187A381B488}"/>
              </a:ext>
            </a:extLst>
          </p:cNvPr>
          <p:cNvSpPr/>
          <p:nvPr/>
        </p:nvSpPr>
        <p:spPr>
          <a:xfrm>
            <a:off x="7702141" y="2036472"/>
            <a:ext cx="2185849" cy="1263687"/>
          </a:xfrm>
          <a:prstGeom prst="rect">
            <a:avLst/>
          </a:prstGeom>
          <a:solidFill>
            <a:srgbClr val="9DD4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2133" b="1"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F0076A8D-E2F2-BBBD-09D0-8FC5E2DB0D68}"/>
              </a:ext>
            </a:extLst>
          </p:cNvPr>
          <p:cNvSpPr/>
          <p:nvPr/>
        </p:nvSpPr>
        <p:spPr>
          <a:xfrm>
            <a:off x="7720151" y="197383"/>
            <a:ext cx="2185849" cy="1539755"/>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3600" b="1" i="0" u="none" strike="noStrike" kern="1200" cap="none" spc="0" normalizeH="0" baseline="0" noProof="0">
              <a:ln>
                <a:noFill/>
              </a:ln>
              <a:solidFill>
                <a:prstClr val="white"/>
              </a:solidFill>
              <a:effectLst/>
              <a:uLnTx/>
              <a:uFillTx/>
              <a:latin typeface="Calibri"/>
              <a:ea typeface="+mn-ea"/>
              <a:cs typeface="+mn-cs"/>
            </a:endParaRPr>
          </a:p>
        </p:txBody>
      </p:sp>
      <p:grpSp>
        <p:nvGrpSpPr>
          <p:cNvPr id="2" name="object 352">
            <a:extLst>
              <a:ext uri="{FF2B5EF4-FFF2-40B4-BE49-F238E27FC236}">
                <a16:creationId xmlns:a16="http://schemas.microsoft.com/office/drawing/2014/main" id="{222899F8-E546-D515-D7B8-E84CC1305ADC}"/>
              </a:ext>
            </a:extLst>
          </p:cNvPr>
          <p:cNvGrpSpPr/>
          <p:nvPr/>
        </p:nvGrpSpPr>
        <p:grpSpPr>
          <a:xfrm flipH="1">
            <a:off x="455480" y="2197986"/>
            <a:ext cx="1985495" cy="4685414"/>
            <a:chOff x="3863476" y="2167213"/>
            <a:chExt cx="1422400" cy="3356610"/>
          </a:xfrm>
        </p:grpSpPr>
        <p:sp>
          <p:nvSpPr>
            <p:cNvPr id="7" name="object 353">
              <a:extLst>
                <a:ext uri="{FF2B5EF4-FFF2-40B4-BE49-F238E27FC236}">
                  <a16:creationId xmlns:a16="http://schemas.microsoft.com/office/drawing/2014/main" id="{2D80E064-96B2-5CB4-2EBE-01CA4353F175}"/>
                </a:ext>
              </a:extLst>
            </p:cNvPr>
            <p:cNvSpPr/>
            <p:nvPr/>
          </p:nvSpPr>
          <p:spPr>
            <a:xfrm>
              <a:off x="4068353" y="5206448"/>
              <a:ext cx="253365" cy="265430"/>
            </a:xfrm>
            <a:custGeom>
              <a:avLst/>
              <a:gdLst/>
              <a:ahLst/>
              <a:cxnLst/>
              <a:rect l="l" t="t" r="r" b="b"/>
              <a:pathLst>
                <a:path w="253364" h="265429">
                  <a:moveTo>
                    <a:pt x="253133" y="0"/>
                  </a:moveTo>
                  <a:lnTo>
                    <a:pt x="151084" y="0"/>
                  </a:lnTo>
                  <a:lnTo>
                    <a:pt x="135665" y="77596"/>
                  </a:lnTo>
                  <a:lnTo>
                    <a:pt x="119692" y="123624"/>
                  </a:lnTo>
                  <a:lnTo>
                    <a:pt x="93416" y="156231"/>
                  </a:lnTo>
                  <a:lnTo>
                    <a:pt x="47087" y="193564"/>
                  </a:lnTo>
                  <a:lnTo>
                    <a:pt x="0" y="235919"/>
                  </a:lnTo>
                  <a:lnTo>
                    <a:pt x="138739" y="265143"/>
                  </a:lnTo>
                  <a:lnTo>
                    <a:pt x="213134" y="215585"/>
                  </a:lnTo>
                  <a:lnTo>
                    <a:pt x="206705" y="192203"/>
                  </a:lnTo>
                  <a:lnTo>
                    <a:pt x="211252" y="152338"/>
                  </a:lnTo>
                  <a:lnTo>
                    <a:pt x="227512" y="87361"/>
                  </a:lnTo>
                  <a:lnTo>
                    <a:pt x="244976" y="26754"/>
                  </a:lnTo>
                  <a:lnTo>
                    <a:pt x="253133" y="0"/>
                  </a:lnTo>
                  <a:close/>
                </a:path>
              </a:pathLst>
            </a:custGeom>
            <a:solidFill>
              <a:srgbClr val="F4D1AC"/>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354">
              <a:extLst>
                <a:ext uri="{FF2B5EF4-FFF2-40B4-BE49-F238E27FC236}">
                  <a16:creationId xmlns:a16="http://schemas.microsoft.com/office/drawing/2014/main" id="{1CF92EB5-CB5B-D6D9-417E-5EE572E8942A}"/>
                </a:ext>
              </a:extLst>
            </p:cNvPr>
            <p:cNvSpPr/>
            <p:nvPr/>
          </p:nvSpPr>
          <p:spPr>
            <a:xfrm>
              <a:off x="3868793" y="5387055"/>
              <a:ext cx="430530" cy="118110"/>
            </a:xfrm>
            <a:custGeom>
              <a:avLst/>
              <a:gdLst/>
              <a:ahLst/>
              <a:cxnLst/>
              <a:rect l="l" t="t" r="r" b="b"/>
              <a:pathLst>
                <a:path w="430529" h="118110">
                  <a:moveTo>
                    <a:pt x="228171" y="0"/>
                  </a:moveTo>
                  <a:lnTo>
                    <a:pt x="187408" y="24227"/>
                  </a:lnTo>
                  <a:lnTo>
                    <a:pt x="131390" y="47869"/>
                  </a:lnTo>
                  <a:lnTo>
                    <a:pt x="90279" y="58197"/>
                  </a:lnTo>
                  <a:lnTo>
                    <a:pt x="51252" y="66909"/>
                  </a:lnTo>
                  <a:lnTo>
                    <a:pt x="22935" y="73760"/>
                  </a:lnTo>
                  <a:lnTo>
                    <a:pt x="5720" y="81914"/>
                  </a:lnTo>
                  <a:lnTo>
                    <a:pt x="0" y="94531"/>
                  </a:lnTo>
                  <a:lnTo>
                    <a:pt x="40698" y="110690"/>
                  </a:lnTo>
                  <a:lnTo>
                    <a:pt x="129960" y="116971"/>
                  </a:lnTo>
                  <a:lnTo>
                    <a:pt x="219169" y="117623"/>
                  </a:lnTo>
                  <a:lnTo>
                    <a:pt x="259709" y="116896"/>
                  </a:lnTo>
                  <a:lnTo>
                    <a:pt x="430374" y="111368"/>
                  </a:lnTo>
                  <a:lnTo>
                    <a:pt x="418468" y="27308"/>
                  </a:lnTo>
                  <a:lnTo>
                    <a:pt x="387499" y="36533"/>
                  </a:lnTo>
                  <a:lnTo>
                    <a:pt x="367199" y="41270"/>
                  </a:lnTo>
                  <a:lnTo>
                    <a:pt x="348590" y="43016"/>
                  </a:lnTo>
                  <a:lnTo>
                    <a:pt x="322691" y="43265"/>
                  </a:lnTo>
                  <a:lnTo>
                    <a:pt x="291592" y="42003"/>
                  </a:lnTo>
                  <a:lnTo>
                    <a:pt x="266645" y="38726"/>
                  </a:lnTo>
                  <a:lnTo>
                    <a:pt x="247161" y="34201"/>
                  </a:lnTo>
                  <a:lnTo>
                    <a:pt x="232453" y="29192"/>
                  </a:lnTo>
                  <a:lnTo>
                    <a:pt x="239316" y="17342"/>
                  </a:lnTo>
                  <a:lnTo>
                    <a:pt x="237007" y="8117"/>
                  </a:lnTo>
                  <a:lnTo>
                    <a:pt x="231350" y="2131"/>
                  </a:lnTo>
                  <a:lnTo>
                    <a:pt x="228171" y="0"/>
                  </a:lnTo>
                  <a:close/>
                </a:path>
              </a:pathLst>
            </a:custGeom>
            <a:solidFill>
              <a:srgbClr val="EEB841"/>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355">
              <a:extLst>
                <a:ext uri="{FF2B5EF4-FFF2-40B4-BE49-F238E27FC236}">
                  <a16:creationId xmlns:a16="http://schemas.microsoft.com/office/drawing/2014/main" id="{38CDE859-FB99-E2F9-680A-ABD7A59B81F2}"/>
                </a:ext>
              </a:extLst>
            </p:cNvPr>
            <p:cNvSpPr/>
            <p:nvPr/>
          </p:nvSpPr>
          <p:spPr>
            <a:xfrm>
              <a:off x="3863467" y="5417953"/>
              <a:ext cx="436880" cy="105410"/>
            </a:xfrm>
            <a:custGeom>
              <a:avLst/>
              <a:gdLst/>
              <a:ahLst/>
              <a:cxnLst/>
              <a:rect l="l" t="t" r="r" b="b"/>
              <a:pathLst>
                <a:path w="436879" h="105410">
                  <a:moveTo>
                    <a:pt x="280568" y="10325"/>
                  </a:moveTo>
                  <a:lnTo>
                    <a:pt x="268630" y="8064"/>
                  </a:lnTo>
                  <a:lnTo>
                    <a:pt x="258279" y="5499"/>
                  </a:lnTo>
                  <a:lnTo>
                    <a:pt x="249389" y="2781"/>
                  </a:lnTo>
                  <a:lnTo>
                    <a:pt x="241858" y="0"/>
                  </a:lnTo>
                  <a:lnTo>
                    <a:pt x="225018" y="7251"/>
                  </a:lnTo>
                  <a:lnTo>
                    <a:pt x="211404" y="12649"/>
                  </a:lnTo>
                  <a:lnTo>
                    <a:pt x="189001" y="21120"/>
                  </a:lnTo>
                  <a:lnTo>
                    <a:pt x="178943" y="29578"/>
                  </a:lnTo>
                  <a:lnTo>
                    <a:pt x="179387" y="39166"/>
                  </a:lnTo>
                  <a:lnTo>
                    <a:pt x="190360" y="44335"/>
                  </a:lnTo>
                  <a:lnTo>
                    <a:pt x="211912" y="39522"/>
                  </a:lnTo>
                  <a:lnTo>
                    <a:pt x="280568" y="10325"/>
                  </a:lnTo>
                  <a:close/>
                </a:path>
                <a:path w="436879" h="105410">
                  <a:moveTo>
                    <a:pt x="436397" y="78536"/>
                  </a:moveTo>
                  <a:lnTo>
                    <a:pt x="149034" y="78536"/>
                  </a:lnTo>
                  <a:lnTo>
                    <a:pt x="90538" y="76974"/>
                  </a:lnTo>
                  <a:lnTo>
                    <a:pt x="44284" y="73533"/>
                  </a:lnTo>
                  <a:lnTo>
                    <a:pt x="13779" y="70065"/>
                  </a:lnTo>
                  <a:lnTo>
                    <a:pt x="2540" y="68453"/>
                  </a:lnTo>
                  <a:lnTo>
                    <a:pt x="0" y="95250"/>
                  </a:lnTo>
                  <a:lnTo>
                    <a:pt x="12026" y="96989"/>
                  </a:lnTo>
                  <a:lnTo>
                    <a:pt x="42646" y="100431"/>
                  </a:lnTo>
                  <a:lnTo>
                    <a:pt x="89204" y="103797"/>
                  </a:lnTo>
                  <a:lnTo>
                    <a:pt x="149034" y="105308"/>
                  </a:lnTo>
                  <a:lnTo>
                    <a:pt x="436397" y="105308"/>
                  </a:lnTo>
                  <a:lnTo>
                    <a:pt x="436397" y="78536"/>
                  </a:lnTo>
                  <a:close/>
                </a:path>
              </a:pathLst>
            </a:custGeom>
            <a:solidFill>
              <a:srgbClr val="A0A0A0"/>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pic>
          <p:nvPicPr>
            <p:cNvPr id="10" name="object 356">
              <a:extLst>
                <a:ext uri="{FF2B5EF4-FFF2-40B4-BE49-F238E27FC236}">
                  <a16:creationId xmlns:a16="http://schemas.microsoft.com/office/drawing/2014/main" id="{49BCD9B0-3426-6D45-6D3B-4F3EEB8D05F4}"/>
                </a:ext>
              </a:extLst>
            </p:cNvPr>
            <p:cNvPicPr/>
            <p:nvPr/>
          </p:nvPicPr>
          <p:blipFill>
            <a:blip r:embed="rId6" cstate="print"/>
            <a:stretch>
              <a:fillRect/>
            </a:stretch>
          </p:blipFill>
          <p:spPr>
            <a:xfrm>
              <a:off x="4748485" y="5222807"/>
              <a:ext cx="212361" cy="300450"/>
            </a:xfrm>
            <a:prstGeom prst="rect">
              <a:avLst/>
            </a:prstGeom>
          </p:spPr>
        </p:pic>
        <p:sp>
          <p:nvSpPr>
            <p:cNvPr id="11" name="object 357">
              <a:extLst>
                <a:ext uri="{FF2B5EF4-FFF2-40B4-BE49-F238E27FC236}">
                  <a16:creationId xmlns:a16="http://schemas.microsoft.com/office/drawing/2014/main" id="{5A26A252-D00F-59E4-4E29-2139DF1A652F}"/>
                </a:ext>
              </a:extLst>
            </p:cNvPr>
            <p:cNvSpPr/>
            <p:nvPr/>
          </p:nvSpPr>
          <p:spPr>
            <a:xfrm>
              <a:off x="4162597" y="3566747"/>
              <a:ext cx="945515" cy="1798320"/>
            </a:xfrm>
            <a:custGeom>
              <a:avLst/>
              <a:gdLst/>
              <a:ahLst/>
              <a:cxnLst/>
              <a:rect l="l" t="t" r="r" b="b"/>
              <a:pathLst>
                <a:path w="945514" h="1798320">
                  <a:moveTo>
                    <a:pt x="330345" y="534"/>
                  </a:moveTo>
                  <a:lnTo>
                    <a:pt x="165230" y="895909"/>
                  </a:lnTo>
                  <a:lnTo>
                    <a:pt x="0" y="1751580"/>
                  </a:lnTo>
                  <a:lnTo>
                    <a:pt x="184434" y="1797819"/>
                  </a:lnTo>
                  <a:lnTo>
                    <a:pt x="382585" y="967248"/>
                  </a:lnTo>
                  <a:lnTo>
                    <a:pt x="600473" y="372093"/>
                  </a:lnTo>
                  <a:lnTo>
                    <a:pt x="945348" y="372093"/>
                  </a:lnTo>
                  <a:lnTo>
                    <a:pt x="945489" y="318471"/>
                  </a:lnTo>
                  <a:lnTo>
                    <a:pt x="928799" y="198659"/>
                  </a:lnTo>
                  <a:lnTo>
                    <a:pt x="896298" y="96968"/>
                  </a:lnTo>
                  <a:lnTo>
                    <a:pt x="864608" y="26410"/>
                  </a:lnTo>
                  <a:lnTo>
                    <a:pt x="852001" y="3057"/>
                  </a:lnTo>
                  <a:lnTo>
                    <a:pt x="603259" y="3057"/>
                  </a:lnTo>
                  <a:lnTo>
                    <a:pt x="330345" y="534"/>
                  </a:lnTo>
                  <a:close/>
                </a:path>
                <a:path w="945514" h="1798320">
                  <a:moveTo>
                    <a:pt x="945347" y="372606"/>
                  </a:moveTo>
                  <a:lnTo>
                    <a:pt x="631059" y="372606"/>
                  </a:lnTo>
                  <a:lnTo>
                    <a:pt x="611175" y="1742889"/>
                  </a:lnTo>
                  <a:lnTo>
                    <a:pt x="770301" y="1765181"/>
                  </a:lnTo>
                  <a:lnTo>
                    <a:pt x="874014" y="1022198"/>
                  </a:lnTo>
                  <a:lnTo>
                    <a:pt x="926834" y="623838"/>
                  </a:lnTo>
                  <a:lnTo>
                    <a:pt x="945184" y="434472"/>
                  </a:lnTo>
                  <a:lnTo>
                    <a:pt x="945347" y="372606"/>
                  </a:lnTo>
                  <a:close/>
                </a:path>
                <a:path w="945514" h="1798320">
                  <a:moveTo>
                    <a:pt x="945348" y="372093"/>
                  </a:moveTo>
                  <a:lnTo>
                    <a:pt x="600473" y="372093"/>
                  </a:lnTo>
                  <a:lnTo>
                    <a:pt x="606463" y="374135"/>
                  </a:lnTo>
                  <a:lnTo>
                    <a:pt x="620776" y="374428"/>
                  </a:lnTo>
                  <a:lnTo>
                    <a:pt x="631059" y="372606"/>
                  </a:lnTo>
                  <a:lnTo>
                    <a:pt x="945347" y="372606"/>
                  </a:lnTo>
                  <a:lnTo>
                    <a:pt x="945348" y="372093"/>
                  </a:lnTo>
                  <a:close/>
                </a:path>
                <a:path w="945514" h="1798320">
                  <a:moveTo>
                    <a:pt x="850351" y="0"/>
                  </a:moveTo>
                  <a:lnTo>
                    <a:pt x="629111" y="3057"/>
                  </a:lnTo>
                  <a:lnTo>
                    <a:pt x="852001" y="3057"/>
                  </a:lnTo>
                  <a:lnTo>
                    <a:pt x="850351" y="0"/>
                  </a:lnTo>
                  <a:close/>
                </a:path>
              </a:pathLst>
            </a:custGeom>
            <a:solidFill>
              <a:srgbClr val="9DDCF8"/>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358">
              <a:extLst>
                <a:ext uri="{FF2B5EF4-FFF2-40B4-BE49-F238E27FC236}">
                  <a16:creationId xmlns:a16="http://schemas.microsoft.com/office/drawing/2014/main" id="{25A125FE-901F-A235-EA15-A1BA2D7DBBF8}"/>
                </a:ext>
              </a:extLst>
            </p:cNvPr>
            <p:cNvSpPr/>
            <p:nvPr/>
          </p:nvSpPr>
          <p:spPr>
            <a:xfrm>
              <a:off x="4773764" y="3939355"/>
              <a:ext cx="66675" cy="1370330"/>
            </a:xfrm>
            <a:custGeom>
              <a:avLst/>
              <a:gdLst/>
              <a:ahLst/>
              <a:cxnLst/>
              <a:rect l="l" t="t" r="r" b="b"/>
              <a:pathLst>
                <a:path w="66675" h="1370329">
                  <a:moveTo>
                    <a:pt x="66306" y="809244"/>
                  </a:moveTo>
                  <a:lnTo>
                    <a:pt x="64884" y="705459"/>
                  </a:lnTo>
                  <a:lnTo>
                    <a:pt x="56032" y="525183"/>
                  </a:lnTo>
                  <a:lnTo>
                    <a:pt x="40767" y="290461"/>
                  </a:lnTo>
                  <a:lnTo>
                    <a:pt x="26314" y="86880"/>
                  </a:lnTo>
                  <a:lnTo>
                    <a:pt x="19888" y="0"/>
                  </a:lnTo>
                  <a:lnTo>
                    <a:pt x="0" y="1370291"/>
                  </a:lnTo>
                  <a:lnTo>
                    <a:pt x="39941" y="1079334"/>
                  </a:lnTo>
                  <a:lnTo>
                    <a:pt x="60020" y="913091"/>
                  </a:lnTo>
                  <a:lnTo>
                    <a:pt x="66306" y="809244"/>
                  </a:lnTo>
                  <a:close/>
                </a:path>
              </a:pathLst>
            </a:custGeom>
            <a:solidFill>
              <a:srgbClr val="9DDCF8">
                <a:alpha val="30999"/>
              </a:srgbClr>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359">
              <a:extLst>
                <a:ext uri="{FF2B5EF4-FFF2-40B4-BE49-F238E27FC236}">
                  <a16:creationId xmlns:a16="http://schemas.microsoft.com/office/drawing/2014/main" id="{44D2A200-0E3A-D48E-25D9-64846EDC5A22}"/>
                </a:ext>
              </a:extLst>
            </p:cNvPr>
            <p:cNvSpPr/>
            <p:nvPr/>
          </p:nvSpPr>
          <p:spPr>
            <a:xfrm>
              <a:off x="4311269" y="3934131"/>
              <a:ext cx="451484" cy="1430655"/>
            </a:xfrm>
            <a:custGeom>
              <a:avLst/>
              <a:gdLst/>
              <a:ahLst/>
              <a:cxnLst/>
              <a:rect l="l" t="t" r="r" b="b"/>
              <a:pathLst>
                <a:path w="451485" h="1430654">
                  <a:moveTo>
                    <a:pt x="451305" y="0"/>
                  </a:moveTo>
                  <a:lnTo>
                    <a:pt x="281436" y="407160"/>
                  </a:lnTo>
                  <a:lnTo>
                    <a:pt x="260135" y="451197"/>
                  </a:lnTo>
                  <a:lnTo>
                    <a:pt x="240005" y="495754"/>
                  </a:lnTo>
                  <a:lnTo>
                    <a:pt x="221054" y="540806"/>
                  </a:lnTo>
                  <a:lnTo>
                    <a:pt x="203290" y="586331"/>
                  </a:lnTo>
                  <a:lnTo>
                    <a:pt x="186724" y="632305"/>
                  </a:lnTo>
                  <a:lnTo>
                    <a:pt x="171365" y="678705"/>
                  </a:lnTo>
                  <a:lnTo>
                    <a:pt x="157220" y="725507"/>
                  </a:lnTo>
                  <a:lnTo>
                    <a:pt x="144299" y="772688"/>
                  </a:lnTo>
                  <a:lnTo>
                    <a:pt x="0" y="1419621"/>
                  </a:lnTo>
                  <a:lnTo>
                    <a:pt x="35758" y="1430438"/>
                  </a:lnTo>
                  <a:lnTo>
                    <a:pt x="233919" y="599866"/>
                  </a:lnTo>
                  <a:lnTo>
                    <a:pt x="451305" y="0"/>
                  </a:lnTo>
                  <a:close/>
                </a:path>
              </a:pathLst>
            </a:custGeom>
            <a:solidFill>
              <a:srgbClr val="9DDCF8">
                <a:alpha val="44999"/>
              </a:srgbClr>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pic>
          <p:nvPicPr>
            <p:cNvPr id="19" name="object 360">
              <a:extLst>
                <a:ext uri="{FF2B5EF4-FFF2-40B4-BE49-F238E27FC236}">
                  <a16:creationId xmlns:a16="http://schemas.microsoft.com/office/drawing/2014/main" id="{61EE0585-1729-DB98-FC41-AC82E8AF959A}"/>
                </a:ext>
              </a:extLst>
            </p:cNvPr>
            <p:cNvPicPr/>
            <p:nvPr/>
          </p:nvPicPr>
          <p:blipFill>
            <a:blip r:embed="rId7" cstate="print"/>
            <a:stretch>
              <a:fillRect/>
            </a:stretch>
          </p:blipFill>
          <p:spPr>
            <a:xfrm>
              <a:off x="4420417" y="2653405"/>
              <a:ext cx="660702" cy="1084741"/>
            </a:xfrm>
            <a:prstGeom prst="rect">
              <a:avLst/>
            </a:prstGeom>
          </p:spPr>
        </p:pic>
        <p:pic>
          <p:nvPicPr>
            <p:cNvPr id="21" name="object 361">
              <a:extLst>
                <a:ext uri="{FF2B5EF4-FFF2-40B4-BE49-F238E27FC236}">
                  <a16:creationId xmlns:a16="http://schemas.microsoft.com/office/drawing/2014/main" id="{31CBFCBE-4FE7-067C-0D98-B4BD4B1B95CA}"/>
                </a:ext>
              </a:extLst>
            </p:cNvPr>
            <p:cNvPicPr/>
            <p:nvPr/>
          </p:nvPicPr>
          <p:blipFill>
            <a:blip r:embed="rId8" cstate="print"/>
            <a:stretch>
              <a:fillRect/>
            </a:stretch>
          </p:blipFill>
          <p:spPr>
            <a:xfrm>
              <a:off x="4277273" y="2167213"/>
              <a:ext cx="1007984" cy="1678113"/>
            </a:xfrm>
            <a:prstGeom prst="rect">
              <a:avLst/>
            </a:prstGeom>
          </p:spPr>
        </p:pic>
      </p:grpSp>
      <p:pic>
        <p:nvPicPr>
          <p:cNvPr id="26" name="Picture 25" descr="A white chalk drawing of a speech bubble&#10;&#10;Description automatically generated">
            <a:extLst>
              <a:ext uri="{FF2B5EF4-FFF2-40B4-BE49-F238E27FC236}">
                <a16:creationId xmlns:a16="http://schemas.microsoft.com/office/drawing/2014/main" id="{BB6BE064-977B-2868-D698-166C7EA499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24205" y="1190351"/>
            <a:ext cx="3049377" cy="1344153"/>
          </a:xfrm>
          <a:prstGeom prst="rect">
            <a:avLst/>
          </a:prstGeom>
        </p:spPr>
      </p:pic>
      <p:sp>
        <p:nvSpPr>
          <p:cNvPr id="27" name="TextBox 26">
            <a:extLst>
              <a:ext uri="{FF2B5EF4-FFF2-40B4-BE49-F238E27FC236}">
                <a16:creationId xmlns:a16="http://schemas.microsoft.com/office/drawing/2014/main" id="{43E638ED-6C6C-1CB3-9428-5DFA69962D00}"/>
              </a:ext>
            </a:extLst>
          </p:cNvPr>
          <p:cNvSpPr txBox="1"/>
          <p:nvPr/>
        </p:nvSpPr>
        <p:spPr>
          <a:xfrm>
            <a:off x="1327182" y="1545951"/>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Calibri"/>
                <a:ea typeface="+mn-ea"/>
                <a:cs typeface="+mn-cs"/>
              </a:rPr>
              <a:t>¿</a:t>
            </a:r>
            <a:r>
              <a:rPr kumimoji="0" lang="en-US" sz="2266" b="0" i="0" u="none" strike="noStrike" kern="1200" cap="none" spc="0" normalizeH="0" baseline="0" noProof="0" err="1">
                <a:ln>
                  <a:noFill/>
                </a:ln>
                <a:solidFill>
                  <a:prstClr val="white"/>
                </a:solidFill>
                <a:effectLst/>
                <a:uLnTx/>
                <a:uFillTx/>
                <a:latin typeface="Calibri"/>
                <a:ea typeface="+mn-ea"/>
                <a:cs typeface="+mn-cs"/>
              </a:rPr>
              <a:t>Esto</a:t>
            </a:r>
            <a:r>
              <a:rPr kumimoji="0" lang="en-US" sz="2266" b="0" i="0" u="none" strike="noStrike" kern="1200" cap="none" spc="0" normalizeH="0" baseline="0" noProof="0">
                <a:ln>
                  <a:noFill/>
                </a:ln>
                <a:solidFill>
                  <a:prstClr val="white"/>
                </a:solidFill>
                <a:effectLst/>
                <a:uLnTx/>
                <a:uFillTx/>
                <a:latin typeface="Calibri"/>
                <a:ea typeface="+mn-ea"/>
                <a:cs typeface="+mn-cs"/>
              </a:rPr>
              <a:t> es un </a:t>
            </a:r>
            <a:r>
              <a:rPr kumimoji="0" lang="en-US" sz="2266" b="0" i="0" u="none" strike="noStrike" kern="1200" cap="none" spc="0" normalizeH="0" baseline="0" noProof="0" err="1">
                <a:ln>
                  <a:noFill/>
                </a:ln>
                <a:solidFill>
                  <a:prstClr val="white"/>
                </a:solidFill>
                <a:effectLst/>
                <a:uLnTx/>
                <a:uFillTx/>
                <a:latin typeface="Calibri"/>
                <a:ea typeface="+mn-ea"/>
                <a:cs typeface="+mn-cs"/>
              </a:rPr>
              <a:t>perro</a:t>
            </a:r>
            <a:r>
              <a:rPr kumimoji="0" lang="en-US" sz="2266" b="0" i="0" u="none" strike="noStrike" kern="1200" cap="none" spc="0" normalizeH="0" baseline="0" noProof="0">
                <a:ln>
                  <a:noFill/>
                </a:ln>
                <a:solidFill>
                  <a:prstClr val="white"/>
                </a:solidFill>
                <a:effectLst/>
                <a:uLnTx/>
                <a:uFillTx/>
                <a:latin typeface="Calibri"/>
                <a:ea typeface="+mn-ea"/>
                <a:cs typeface="+mn-cs"/>
              </a:rPr>
              <a:t>?</a:t>
            </a:r>
          </a:p>
        </p:txBody>
      </p:sp>
      <p:sp>
        <p:nvSpPr>
          <p:cNvPr id="23" name="TextBox 26">
            <a:extLst>
              <a:ext uri="{FF2B5EF4-FFF2-40B4-BE49-F238E27FC236}">
                <a16:creationId xmlns:a16="http://schemas.microsoft.com/office/drawing/2014/main" id="{942B294E-D5FE-6DB6-8888-340D3671FA95}"/>
              </a:ext>
            </a:extLst>
          </p:cNvPr>
          <p:cNvSpPr txBox="1"/>
          <p:nvPr/>
        </p:nvSpPr>
        <p:spPr>
          <a:xfrm>
            <a:off x="5599077" y="736600"/>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Calibri"/>
                <a:ea typeface="+mn-ea"/>
                <a:cs typeface="+mn-cs"/>
              </a:rPr>
              <a:t>A</a:t>
            </a:r>
          </a:p>
        </p:txBody>
      </p:sp>
      <p:sp>
        <p:nvSpPr>
          <p:cNvPr id="24" name="TextBox 26">
            <a:extLst>
              <a:ext uri="{FF2B5EF4-FFF2-40B4-BE49-F238E27FC236}">
                <a16:creationId xmlns:a16="http://schemas.microsoft.com/office/drawing/2014/main" id="{A07FD954-CD29-2406-8580-565059301B3E}"/>
              </a:ext>
            </a:extLst>
          </p:cNvPr>
          <p:cNvSpPr txBox="1"/>
          <p:nvPr/>
        </p:nvSpPr>
        <p:spPr>
          <a:xfrm>
            <a:off x="5599077" y="2534963"/>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B</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25" name="TextBox 26">
            <a:extLst>
              <a:ext uri="{FF2B5EF4-FFF2-40B4-BE49-F238E27FC236}">
                <a16:creationId xmlns:a16="http://schemas.microsoft.com/office/drawing/2014/main" id="{407793E9-4FED-87BC-012E-FF2412F7D49F}"/>
              </a:ext>
            </a:extLst>
          </p:cNvPr>
          <p:cNvSpPr txBox="1"/>
          <p:nvPr/>
        </p:nvSpPr>
        <p:spPr>
          <a:xfrm>
            <a:off x="5599077" y="4131639"/>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C</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28" name="TextBox 26">
            <a:extLst>
              <a:ext uri="{FF2B5EF4-FFF2-40B4-BE49-F238E27FC236}">
                <a16:creationId xmlns:a16="http://schemas.microsoft.com/office/drawing/2014/main" id="{0FF602EE-251A-8443-A8F6-2F2525B89593}"/>
              </a:ext>
            </a:extLst>
          </p:cNvPr>
          <p:cNvSpPr txBox="1"/>
          <p:nvPr/>
        </p:nvSpPr>
        <p:spPr>
          <a:xfrm>
            <a:off x="5599077" y="5930002"/>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D</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E048B4E8-BD45-3943-8402-2024D8A5A4B9}"/>
              </a:ext>
            </a:extLst>
          </p:cNvPr>
          <p:cNvSpPr/>
          <p:nvPr/>
        </p:nvSpPr>
        <p:spPr>
          <a:xfrm>
            <a:off x="7702141" y="3621341"/>
            <a:ext cx="2211452" cy="1263687"/>
          </a:xfrm>
          <a:prstGeom prst="rect">
            <a:avLst/>
          </a:prstGeom>
          <a:solidFill>
            <a:srgbClr val="6FC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s-MX" sz="3600" b="1" i="0" u="none" strike="noStrike" kern="1200" cap="none" spc="0" normalizeH="0" baseline="0" noProof="0">
                <a:ln>
                  <a:noFill/>
                </a:ln>
                <a:solidFill>
                  <a:prstClr val="white"/>
                </a:solidFill>
                <a:effectLst/>
                <a:uLnTx/>
                <a:uFillTx/>
                <a:latin typeface="Calibri"/>
                <a:ea typeface="+mn-ea"/>
                <a:cs typeface="+mn-cs"/>
              </a:rPr>
              <a:t>?</a:t>
            </a:r>
            <a:endParaRPr kumimoji="0" lang="en-US" sz="3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6446164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descr="A white chalk drawing of a speech bubble&#10;&#10;Description automatically generated">
            <a:extLst>
              <a:ext uri="{FF2B5EF4-FFF2-40B4-BE49-F238E27FC236}">
                <a16:creationId xmlns:a16="http://schemas.microsoft.com/office/drawing/2014/main" id="{0EDF5A49-DE9A-03CE-8F02-A30C8FC69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4205" y="1190351"/>
            <a:ext cx="3049377" cy="1344153"/>
          </a:xfrm>
          <a:prstGeom prst="rect">
            <a:avLst/>
          </a:prstGeom>
        </p:spPr>
      </p:pic>
      <p:sp>
        <p:nvSpPr>
          <p:cNvPr id="3" name="Freeform 7">
            <a:extLst>
              <a:ext uri="{FF2B5EF4-FFF2-40B4-BE49-F238E27FC236}">
                <a16:creationId xmlns:a16="http://schemas.microsoft.com/office/drawing/2014/main" id="{6B8B50A7-7249-02A1-7CE8-5F5D6EB073B1}"/>
              </a:ext>
            </a:extLst>
          </p:cNvPr>
          <p:cNvSpPr/>
          <p:nvPr/>
        </p:nvSpPr>
        <p:spPr>
          <a:xfrm>
            <a:off x="7770826" y="197383"/>
            <a:ext cx="2117164" cy="1539755"/>
          </a:xfrm>
          <a:custGeom>
            <a:avLst/>
            <a:gdLst/>
            <a:ahLst/>
            <a:cxnLst/>
            <a:rect l="l" t="t" r="r" b="b"/>
            <a:pathLst>
              <a:path w="2685976" h="1953437">
                <a:moveTo>
                  <a:pt x="0" y="0"/>
                </a:moveTo>
                <a:lnTo>
                  <a:pt x="2685976" y="0"/>
                </a:lnTo>
                <a:lnTo>
                  <a:pt x="2685976" y="1953437"/>
                </a:lnTo>
                <a:lnTo>
                  <a:pt x="0" y="1953437"/>
                </a:lnTo>
                <a:lnTo>
                  <a:pt x="0" y="0"/>
                </a:lnTo>
                <a:close/>
              </a:path>
            </a:pathLst>
          </a:custGeom>
          <a:blipFill>
            <a:blip r:embed="rId4"/>
            <a:stretch>
              <a:fillRect/>
            </a:stretch>
          </a:blipFill>
        </p:spPr>
      </p:sp>
      <p:sp>
        <p:nvSpPr>
          <p:cNvPr id="4" name="Freeform 13">
            <a:extLst>
              <a:ext uri="{FF2B5EF4-FFF2-40B4-BE49-F238E27FC236}">
                <a16:creationId xmlns:a16="http://schemas.microsoft.com/office/drawing/2014/main" id="{418CB178-2E3F-BDCE-9E78-C3261F4B1460}"/>
              </a:ext>
            </a:extLst>
          </p:cNvPr>
          <p:cNvSpPr/>
          <p:nvPr/>
        </p:nvSpPr>
        <p:spPr>
          <a:xfrm>
            <a:off x="7752292" y="2046237"/>
            <a:ext cx="2095965" cy="1179563"/>
          </a:xfrm>
          <a:custGeom>
            <a:avLst/>
            <a:gdLst/>
            <a:ahLst/>
            <a:cxnLst/>
            <a:rect l="l" t="t" r="r" b="b"/>
            <a:pathLst>
              <a:path w="3143948" h="1769344">
                <a:moveTo>
                  <a:pt x="0" y="0"/>
                </a:moveTo>
                <a:lnTo>
                  <a:pt x="3143948" y="0"/>
                </a:lnTo>
                <a:lnTo>
                  <a:pt x="3143948" y="1769344"/>
                </a:lnTo>
                <a:lnTo>
                  <a:pt x="0" y="1769344"/>
                </a:lnTo>
                <a:lnTo>
                  <a:pt x="0" y="0"/>
                </a:lnTo>
                <a:close/>
              </a:path>
            </a:pathLst>
          </a:custGeom>
          <a:blipFill>
            <a:blip r:embed="rId5"/>
            <a:stretch>
              <a:fillRect/>
            </a:stretch>
          </a:blipFill>
        </p:spPr>
      </p:sp>
      <p:sp>
        <p:nvSpPr>
          <p:cNvPr id="5" name="Freeform 19">
            <a:extLst>
              <a:ext uri="{FF2B5EF4-FFF2-40B4-BE49-F238E27FC236}">
                <a16:creationId xmlns:a16="http://schemas.microsoft.com/office/drawing/2014/main" id="{CF81CCE1-7FCF-429A-3B2B-20676156C418}"/>
              </a:ext>
            </a:extLst>
          </p:cNvPr>
          <p:cNvSpPr/>
          <p:nvPr/>
        </p:nvSpPr>
        <p:spPr>
          <a:xfrm>
            <a:off x="7727216" y="3644210"/>
            <a:ext cx="2146116" cy="1207190"/>
          </a:xfrm>
          <a:custGeom>
            <a:avLst/>
            <a:gdLst/>
            <a:ahLst/>
            <a:cxnLst/>
            <a:rect l="l" t="t" r="r" b="b"/>
            <a:pathLst>
              <a:path w="3219174" h="1810785">
                <a:moveTo>
                  <a:pt x="0" y="0"/>
                </a:moveTo>
                <a:lnTo>
                  <a:pt x="3219174" y="0"/>
                </a:lnTo>
                <a:lnTo>
                  <a:pt x="3219174" y="1810785"/>
                </a:lnTo>
                <a:lnTo>
                  <a:pt x="0" y="1810785"/>
                </a:lnTo>
                <a:lnTo>
                  <a:pt x="0" y="0"/>
                </a:lnTo>
                <a:close/>
              </a:path>
            </a:pathLst>
          </a:custGeom>
          <a:blipFill>
            <a:blip r:embed="rId6"/>
            <a:stretch>
              <a:fillRect/>
            </a:stretch>
          </a:blipFill>
        </p:spPr>
      </p:sp>
      <p:sp>
        <p:nvSpPr>
          <p:cNvPr id="6" name="Freeform 25">
            <a:extLst>
              <a:ext uri="{FF2B5EF4-FFF2-40B4-BE49-F238E27FC236}">
                <a16:creationId xmlns:a16="http://schemas.microsoft.com/office/drawing/2014/main" id="{F51FEECD-9126-C45F-505A-7C745F1AFA15}"/>
              </a:ext>
            </a:extLst>
          </p:cNvPr>
          <p:cNvSpPr/>
          <p:nvPr/>
        </p:nvSpPr>
        <p:spPr>
          <a:xfrm>
            <a:off x="7694548" y="5234241"/>
            <a:ext cx="2211452" cy="1263687"/>
          </a:xfrm>
          <a:custGeom>
            <a:avLst/>
            <a:gdLst/>
            <a:ahLst/>
            <a:cxnLst/>
            <a:rect l="l" t="t" r="r" b="b"/>
            <a:pathLst>
              <a:path w="3317178" h="1895530">
                <a:moveTo>
                  <a:pt x="0" y="0"/>
                </a:moveTo>
                <a:lnTo>
                  <a:pt x="3317178" y="0"/>
                </a:lnTo>
                <a:lnTo>
                  <a:pt x="3317178" y="1895530"/>
                </a:lnTo>
                <a:lnTo>
                  <a:pt x="0" y="1895530"/>
                </a:lnTo>
                <a:lnTo>
                  <a:pt x="0" y="0"/>
                </a:lnTo>
                <a:close/>
              </a:path>
            </a:pathLst>
          </a:custGeom>
          <a:blipFill>
            <a:blip r:embed="rId7"/>
            <a:stretch>
              <a:fillRect/>
            </a:stretch>
          </a:blipFill>
        </p:spPr>
      </p:sp>
      <p:sp>
        <p:nvSpPr>
          <p:cNvPr id="21" name="TextBox 26">
            <a:extLst>
              <a:ext uri="{FF2B5EF4-FFF2-40B4-BE49-F238E27FC236}">
                <a16:creationId xmlns:a16="http://schemas.microsoft.com/office/drawing/2014/main" id="{C083C4C2-1494-F4B6-0FF2-8D3B2E5B9536}"/>
              </a:ext>
            </a:extLst>
          </p:cNvPr>
          <p:cNvSpPr txBox="1"/>
          <p:nvPr/>
        </p:nvSpPr>
        <p:spPr>
          <a:xfrm>
            <a:off x="1327182" y="1545951"/>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Calibri"/>
                <a:ea typeface="+mn-ea"/>
                <a:cs typeface="+mn-cs"/>
              </a:rPr>
              <a:t>¡</a:t>
            </a:r>
            <a:r>
              <a:rPr kumimoji="0" lang="en-US" sz="2266" b="0" i="0" u="none" strike="noStrike" kern="1200" cap="none" spc="0" normalizeH="0" baseline="0" noProof="0" err="1">
                <a:ln>
                  <a:noFill/>
                </a:ln>
                <a:solidFill>
                  <a:prstClr val="white"/>
                </a:solidFill>
                <a:effectLst/>
                <a:uLnTx/>
                <a:uFillTx/>
                <a:latin typeface="Calibri"/>
                <a:ea typeface="+mn-ea"/>
                <a:cs typeface="+mn-cs"/>
              </a:rPr>
              <a:t>Esto</a:t>
            </a:r>
            <a:r>
              <a:rPr kumimoji="0" lang="en-US" sz="2266" b="0" i="0" u="none" strike="noStrike" kern="1200" cap="none" spc="0" normalizeH="0" baseline="0" noProof="0">
                <a:ln>
                  <a:noFill/>
                </a:ln>
                <a:solidFill>
                  <a:prstClr val="white"/>
                </a:solidFill>
                <a:effectLst/>
                <a:uLnTx/>
                <a:uFillTx/>
                <a:latin typeface="Calibri"/>
                <a:ea typeface="+mn-ea"/>
                <a:cs typeface="+mn-cs"/>
              </a:rPr>
              <a:t> es un </a:t>
            </a:r>
            <a:r>
              <a:rPr kumimoji="0" lang="en-US" sz="2266" b="0" i="0" u="none" strike="noStrike" kern="1200" cap="none" spc="0" normalizeH="0" baseline="0" noProof="0" err="1">
                <a:ln>
                  <a:noFill/>
                </a:ln>
                <a:solidFill>
                  <a:prstClr val="white"/>
                </a:solidFill>
                <a:effectLst/>
                <a:uLnTx/>
                <a:uFillTx/>
                <a:latin typeface="Calibri"/>
                <a:ea typeface="+mn-ea"/>
                <a:cs typeface="+mn-cs"/>
              </a:rPr>
              <a:t>perro</a:t>
            </a:r>
            <a:r>
              <a:rPr kumimoji="0" lang="en-US" sz="2266" b="0" i="0" u="none" strike="noStrike" kern="1200" cap="none" spc="0" normalizeH="0" baseline="0" noProof="0">
                <a:ln>
                  <a:noFill/>
                </a:ln>
                <a:solidFill>
                  <a:prstClr val="white"/>
                </a:solidFill>
                <a:effectLst/>
                <a:uLnTx/>
                <a:uFillTx/>
                <a:latin typeface="Calibri"/>
                <a:ea typeface="+mn-ea"/>
                <a:cs typeface="+mn-cs"/>
              </a:rPr>
              <a:t>!</a:t>
            </a:r>
          </a:p>
        </p:txBody>
      </p:sp>
      <p:grpSp>
        <p:nvGrpSpPr>
          <p:cNvPr id="2" name="object 352">
            <a:extLst>
              <a:ext uri="{FF2B5EF4-FFF2-40B4-BE49-F238E27FC236}">
                <a16:creationId xmlns:a16="http://schemas.microsoft.com/office/drawing/2014/main" id="{21003135-2889-2E21-B116-F998F1CB3042}"/>
              </a:ext>
            </a:extLst>
          </p:cNvPr>
          <p:cNvGrpSpPr/>
          <p:nvPr/>
        </p:nvGrpSpPr>
        <p:grpSpPr>
          <a:xfrm flipH="1">
            <a:off x="455480" y="2197986"/>
            <a:ext cx="1985495" cy="4685414"/>
            <a:chOff x="3863476" y="2167213"/>
            <a:chExt cx="1422400" cy="3356610"/>
          </a:xfrm>
        </p:grpSpPr>
        <p:sp>
          <p:nvSpPr>
            <p:cNvPr id="8" name="object 353">
              <a:extLst>
                <a:ext uri="{FF2B5EF4-FFF2-40B4-BE49-F238E27FC236}">
                  <a16:creationId xmlns:a16="http://schemas.microsoft.com/office/drawing/2014/main" id="{B94D5638-9016-58A2-96A7-DED6B1A31D01}"/>
                </a:ext>
              </a:extLst>
            </p:cNvPr>
            <p:cNvSpPr/>
            <p:nvPr/>
          </p:nvSpPr>
          <p:spPr>
            <a:xfrm>
              <a:off x="4068353" y="5206448"/>
              <a:ext cx="253365" cy="265430"/>
            </a:xfrm>
            <a:custGeom>
              <a:avLst/>
              <a:gdLst/>
              <a:ahLst/>
              <a:cxnLst/>
              <a:rect l="l" t="t" r="r" b="b"/>
              <a:pathLst>
                <a:path w="253364" h="265429">
                  <a:moveTo>
                    <a:pt x="253133" y="0"/>
                  </a:moveTo>
                  <a:lnTo>
                    <a:pt x="151084" y="0"/>
                  </a:lnTo>
                  <a:lnTo>
                    <a:pt x="135665" y="77596"/>
                  </a:lnTo>
                  <a:lnTo>
                    <a:pt x="119692" y="123624"/>
                  </a:lnTo>
                  <a:lnTo>
                    <a:pt x="93416" y="156231"/>
                  </a:lnTo>
                  <a:lnTo>
                    <a:pt x="47087" y="193564"/>
                  </a:lnTo>
                  <a:lnTo>
                    <a:pt x="0" y="235919"/>
                  </a:lnTo>
                  <a:lnTo>
                    <a:pt x="138739" y="265143"/>
                  </a:lnTo>
                  <a:lnTo>
                    <a:pt x="213134" y="215585"/>
                  </a:lnTo>
                  <a:lnTo>
                    <a:pt x="206705" y="192203"/>
                  </a:lnTo>
                  <a:lnTo>
                    <a:pt x="211252" y="152338"/>
                  </a:lnTo>
                  <a:lnTo>
                    <a:pt x="227512" y="87361"/>
                  </a:lnTo>
                  <a:lnTo>
                    <a:pt x="244976" y="26754"/>
                  </a:lnTo>
                  <a:lnTo>
                    <a:pt x="253133" y="0"/>
                  </a:lnTo>
                  <a:close/>
                </a:path>
              </a:pathLst>
            </a:custGeom>
            <a:solidFill>
              <a:srgbClr val="F4D1AC"/>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354">
              <a:extLst>
                <a:ext uri="{FF2B5EF4-FFF2-40B4-BE49-F238E27FC236}">
                  <a16:creationId xmlns:a16="http://schemas.microsoft.com/office/drawing/2014/main" id="{ECDEB185-D5AF-DA31-30DA-041B03A789B2}"/>
                </a:ext>
              </a:extLst>
            </p:cNvPr>
            <p:cNvSpPr/>
            <p:nvPr/>
          </p:nvSpPr>
          <p:spPr>
            <a:xfrm>
              <a:off x="3868793" y="5387055"/>
              <a:ext cx="430530" cy="118110"/>
            </a:xfrm>
            <a:custGeom>
              <a:avLst/>
              <a:gdLst/>
              <a:ahLst/>
              <a:cxnLst/>
              <a:rect l="l" t="t" r="r" b="b"/>
              <a:pathLst>
                <a:path w="430529" h="118110">
                  <a:moveTo>
                    <a:pt x="228171" y="0"/>
                  </a:moveTo>
                  <a:lnTo>
                    <a:pt x="187408" y="24227"/>
                  </a:lnTo>
                  <a:lnTo>
                    <a:pt x="131390" y="47869"/>
                  </a:lnTo>
                  <a:lnTo>
                    <a:pt x="90279" y="58197"/>
                  </a:lnTo>
                  <a:lnTo>
                    <a:pt x="51252" y="66909"/>
                  </a:lnTo>
                  <a:lnTo>
                    <a:pt x="22935" y="73760"/>
                  </a:lnTo>
                  <a:lnTo>
                    <a:pt x="5720" y="81914"/>
                  </a:lnTo>
                  <a:lnTo>
                    <a:pt x="0" y="94531"/>
                  </a:lnTo>
                  <a:lnTo>
                    <a:pt x="40698" y="110690"/>
                  </a:lnTo>
                  <a:lnTo>
                    <a:pt x="129960" y="116971"/>
                  </a:lnTo>
                  <a:lnTo>
                    <a:pt x="219169" y="117623"/>
                  </a:lnTo>
                  <a:lnTo>
                    <a:pt x="259709" y="116896"/>
                  </a:lnTo>
                  <a:lnTo>
                    <a:pt x="430374" y="111368"/>
                  </a:lnTo>
                  <a:lnTo>
                    <a:pt x="418468" y="27308"/>
                  </a:lnTo>
                  <a:lnTo>
                    <a:pt x="387499" y="36533"/>
                  </a:lnTo>
                  <a:lnTo>
                    <a:pt x="367199" y="41270"/>
                  </a:lnTo>
                  <a:lnTo>
                    <a:pt x="348590" y="43016"/>
                  </a:lnTo>
                  <a:lnTo>
                    <a:pt x="322691" y="43265"/>
                  </a:lnTo>
                  <a:lnTo>
                    <a:pt x="291592" y="42003"/>
                  </a:lnTo>
                  <a:lnTo>
                    <a:pt x="266645" y="38726"/>
                  </a:lnTo>
                  <a:lnTo>
                    <a:pt x="247161" y="34201"/>
                  </a:lnTo>
                  <a:lnTo>
                    <a:pt x="232453" y="29192"/>
                  </a:lnTo>
                  <a:lnTo>
                    <a:pt x="239316" y="17342"/>
                  </a:lnTo>
                  <a:lnTo>
                    <a:pt x="237007" y="8117"/>
                  </a:lnTo>
                  <a:lnTo>
                    <a:pt x="231350" y="2131"/>
                  </a:lnTo>
                  <a:lnTo>
                    <a:pt x="228171" y="0"/>
                  </a:lnTo>
                  <a:close/>
                </a:path>
              </a:pathLst>
            </a:custGeom>
            <a:solidFill>
              <a:srgbClr val="EEB841"/>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355">
              <a:extLst>
                <a:ext uri="{FF2B5EF4-FFF2-40B4-BE49-F238E27FC236}">
                  <a16:creationId xmlns:a16="http://schemas.microsoft.com/office/drawing/2014/main" id="{A0AA7CCA-0726-55A5-DEFF-3CA2809890DC}"/>
                </a:ext>
              </a:extLst>
            </p:cNvPr>
            <p:cNvSpPr/>
            <p:nvPr/>
          </p:nvSpPr>
          <p:spPr>
            <a:xfrm>
              <a:off x="3863467" y="5417953"/>
              <a:ext cx="436880" cy="105410"/>
            </a:xfrm>
            <a:custGeom>
              <a:avLst/>
              <a:gdLst/>
              <a:ahLst/>
              <a:cxnLst/>
              <a:rect l="l" t="t" r="r" b="b"/>
              <a:pathLst>
                <a:path w="436879" h="105410">
                  <a:moveTo>
                    <a:pt x="280568" y="10325"/>
                  </a:moveTo>
                  <a:lnTo>
                    <a:pt x="268630" y="8064"/>
                  </a:lnTo>
                  <a:lnTo>
                    <a:pt x="258279" y="5499"/>
                  </a:lnTo>
                  <a:lnTo>
                    <a:pt x="249389" y="2781"/>
                  </a:lnTo>
                  <a:lnTo>
                    <a:pt x="241858" y="0"/>
                  </a:lnTo>
                  <a:lnTo>
                    <a:pt x="225018" y="7251"/>
                  </a:lnTo>
                  <a:lnTo>
                    <a:pt x="211404" y="12649"/>
                  </a:lnTo>
                  <a:lnTo>
                    <a:pt x="189001" y="21120"/>
                  </a:lnTo>
                  <a:lnTo>
                    <a:pt x="178943" y="29578"/>
                  </a:lnTo>
                  <a:lnTo>
                    <a:pt x="179387" y="39166"/>
                  </a:lnTo>
                  <a:lnTo>
                    <a:pt x="190360" y="44335"/>
                  </a:lnTo>
                  <a:lnTo>
                    <a:pt x="211912" y="39522"/>
                  </a:lnTo>
                  <a:lnTo>
                    <a:pt x="280568" y="10325"/>
                  </a:lnTo>
                  <a:close/>
                </a:path>
                <a:path w="436879" h="105410">
                  <a:moveTo>
                    <a:pt x="436397" y="78536"/>
                  </a:moveTo>
                  <a:lnTo>
                    <a:pt x="149034" y="78536"/>
                  </a:lnTo>
                  <a:lnTo>
                    <a:pt x="90538" y="76974"/>
                  </a:lnTo>
                  <a:lnTo>
                    <a:pt x="44284" y="73533"/>
                  </a:lnTo>
                  <a:lnTo>
                    <a:pt x="13779" y="70065"/>
                  </a:lnTo>
                  <a:lnTo>
                    <a:pt x="2540" y="68453"/>
                  </a:lnTo>
                  <a:lnTo>
                    <a:pt x="0" y="95250"/>
                  </a:lnTo>
                  <a:lnTo>
                    <a:pt x="12026" y="96989"/>
                  </a:lnTo>
                  <a:lnTo>
                    <a:pt x="42646" y="100431"/>
                  </a:lnTo>
                  <a:lnTo>
                    <a:pt x="89204" y="103797"/>
                  </a:lnTo>
                  <a:lnTo>
                    <a:pt x="149034" y="105308"/>
                  </a:lnTo>
                  <a:lnTo>
                    <a:pt x="436397" y="105308"/>
                  </a:lnTo>
                  <a:lnTo>
                    <a:pt x="436397" y="78536"/>
                  </a:lnTo>
                  <a:close/>
                </a:path>
              </a:pathLst>
            </a:custGeom>
            <a:solidFill>
              <a:srgbClr val="A0A0A0"/>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pic>
          <p:nvPicPr>
            <p:cNvPr id="12" name="object 356">
              <a:extLst>
                <a:ext uri="{FF2B5EF4-FFF2-40B4-BE49-F238E27FC236}">
                  <a16:creationId xmlns:a16="http://schemas.microsoft.com/office/drawing/2014/main" id="{E68C3E6D-61BA-D17F-48D4-28E9595DDE07}"/>
                </a:ext>
              </a:extLst>
            </p:cNvPr>
            <p:cNvPicPr/>
            <p:nvPr/>
          </p:nvPicPr>
          <p:blipFill>
            <a:blip r:embed="rId8" cstate="print"/>
            <a:stretch>
              <a:fillRect/>
            </a:stretch>
          </p:blipFill>
          <p:spPr>
            <a:xfrm>
              <a:off x="4748485" y="5222807"/>
              <a:ext cx="212361" cy="300450"/>
            </a:xfrm>
            <a:prstGeom prst="rect">
              <a:avLst/>
            </a:prstGeom>
          </p:spPr>
        </p:pic>
        <p:sp>
          <p:nvSpPr>
            <p:cNvPr id="17" name="object 357">
              <a:extLst>
                <a:ext uri="{FF2B5EF4-FFF2-40B4-BE49-F238E27FC236}">
                  <a16:creationId xmlns:a16="http://schemas.microsoft.com/office/drawing/2014/main" id="{6EC673FB-AAEC-C7C5-567A-8659D3DDF889}"/>
                </a:ext>
              </a:extLst>
            </p:cNvPr>
            <p:cNvSpPr/>
            <p:nvPr/>
          </p:nvSpPr>
          <p:spPr>
            <a:xfrm>
              <a:off x="4162597" y="3566747"/>
              <a:ext cx="945515" cy="1798320"/>
            </a:xfrm>
            <a:custGeom>
              <a:avLst/>
              <a:gdLst/>
              <a:ahLst/>
              <a:cxnLst/>
              <a:rect l="l" t="t" r="r" b="b"/>
              <a:pathLst>
                <a:path w="945514" h="1798320">
                  <a:moveTo>
                    <a:pt x="330345" y="534"/>
                  </a:moveTo>
                  <a:lnTo>
                    <a:pt x="165230" y="895909"/>
                  </a:lnTo>
                  <a:lnTo>
                    <a:pt x="0" y="1751580"/>
                  </a:lnTo>
                  <a:lnTo>
                    <a:pt x="184434" y="1797819"/>
                  </a:lnTo>
                  <a:lnTo>
                    <a:pt x="382585" y="967248"/>
                  </a:lnTo>
                  <a:lnTo>
                    <a:pt x="600473" y="372093"/>
                  </a:lnTo>
                  <a:lnTo>
                    <a:pt x="945348" y="372093"/>
                  </a:lnTo>
                  <a:lnTo>
                    <a:pt x="945489" y="318471"/>
                  </a:lnTo>
                  <a:lnTo>
                    <a:pt x="928799" y="198659"/>
                  </a:lnTo>
                  <a:lnTo>
                    <a:pt x="896298" y="96968"/>
                  </a:lnTo>
                  <a:lnTo>
                    <a:pt x="864608" y="26410"/>
                  </a:lnTo>
                  <a:lnTo>
                    <a:pt x="852001" y="3057"/>
                  </a:lnTo>
                  <a:lnTo>
                    <a:pt x="603259" y="3057"/>
                  </a:lnTo>
                  <a:lnTo>
                    <a:pt x="330345" y="534"/>
                  </a:lnTo>
                  <a:close/>
                </a:path>
                <a:path w="945514" h="1798320">
                  <a:moveTo>
                    <a:pt x="945347" y="372606"/>
                  </a:moveTo>
                  <a:lnTo>
                    <a:pt x="631059" y="372606"/>
                  </a:lnTo>
                  <a:lnTo>
                    <a:pt x="611175" y="1742889"/>
                  </a:lnTo>
                  <a:lnTo>
                    <a:pt x="770301" y="1765181"/>
                  </a:lnTo>
                  <a:lnTo>
                    <a:pt x="874014" y="1022198"/>
                  </a:lnTo>
                  <a:lnTo>
                    <a:pt x="926834" y="623838"/>
                  </a:lnTo>
                  <a:lnTo>
                    <a:pt x="945184" y="434472"/>
                  </a:lnTo>
                  <a:lnTo>
                    <a:pt x="945347" y="372606"/>
                  </a:lnTo>
                  <a:close/>
                </a:path>
                <a:path w="945514" h="1798320">
                  <a:moveTo>
                    <a:pt x="945348" y="372093"/>
                  </a:moveTo>
                  <a:lnTo>
                    <a:pt x="600473" y="372093"/>
                  </a:lnTo>
                  <a:lnTo>
                    <a:pt x="606463" y="374135"/>
                  </a:lnTo>
                  <a:lnTo>
                    <a:pt x="620776" y="374428"/>
                  </a:lnTo>
                  <a:lnTo>
                    <a:pt x="631059" y="372606"/>
                  </a:lnTo>
                  <a:lnTo>
                    <a:pt x="945347" y="372606"/>
                  </a:lnTo>
                  <a:lnTo>
                    <a:pt x="945348" y="372093"/>
                  </a:lnTo>
                  <a:close/>
                </a:path>
                <a:path w="945514" h="1798320">
                  <a:moveTo>
                    <a:pt x="850351" y="0"/>
                  </a:moveTo>
                  <a:lnTo>
                    <a:pt x="629111" y="3057"/>
                  </a:lnTo>
                  <a:lnTo>
                    <a:pt x="852001" y="3057"/>
                  </a:lnTo>
                  <a:lnTo>
                    <a:pt x="850351" y="0"/>
                  </a:lnTo>
                  <a:close/>
                </a:path>
              </a:pathLst>
            </a:custGeom>
            <a:solidFill>
              <a:srgbClr val="9DDCF8"/>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358">
              <a:extLst>
                <a:ext uri="{FF2B5EF4-FFF2-40B4-BE49-F238E27FC236}">
                  <a16:creationId xmlns:a16="http://schemas.microsoft.com/office/drawing/2014/main" id="{A7ACA818-2152-7D31-2050-892FDBC3206D}"/>
                </a:ext>
              </a:extLst>
            </p:cNvPr>
            <p:cNvSpPr/>
            <p:nvPr/>
          </p:nvSpPr>
          <p:spPr>
            <a:xfrm>
              <a:off x="4773764" y="3939355"/>
              <a:ext cx="66675" cy="1370330"/>
            </a:xfrm>
            <a:custGeom>
              <a:avLst/>
              <a:gdLst/>
              <a:ahLst/>
              <a:cxnLst/>
              <a:rect l="l" t="t" r="r" b="b"/>
              <a:pathLst>
                <a:path w="66675" h="1370329">
                  <a:moveTo>
                    <a:pt x="66306" y="809244"/>
                  </a:moveTo>
                  <a:lnTo>
                    <a:pt x="64884" y="705459"/>
                  </a:lnTo>
                  <a:lnTo>
                    <a:pt x="56032" y="525183"/>
                  </a:lnTo>
                  <a:lnTo>
                    <a:pt x="40767" y="290461"/>
                  </a:lnTo>
                  <a:lnTo>
                    <a:pt x="26314" y="86880"/>
                  </a:lnTo>
                  <a:lnTo>
                    <a:pt x="19888" y="0"/>
                  </a:lnTo>
                  <a:lnTo>
                    <a:pt x="0" y="1370291"/>
                  </a:lnTo>
                  <a:lnTo>
                    <a:pt x="39941" y="1079334"/>
                  </a:lnTo>
                  <a:lnTo>
                    <a:pt x="60020" y="913091"/>
                  </a:lnTo>
                  <a:lnTo>
                    <a:pt x="66306" y="809244"/>
                  </a:lnTo>
                  <a:close/>
                </a:path>
              </a:pathLst>
            </a:custGeom>
            <a:solidFill>
              <a:srgbClr val="9DDCF8">
                <a:alpha val="30999"/>
              </a:srgbClr>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359">
              <a:extLst>
                <a:ext uri="{FF2B5EF4-FFF2-40B4-BE49-F238E27FC236}">
                  <a16:creationId xmlns:a16="http://schemas.microsoft.com/office/drawing/2014/main" id="{49DA76D7-040E-A120-47D1-77B31FF4081A}"/>
                </a:ext>
              </a:extLst>
            </p:cNvPr>
            <p:cNvSpPr/>
            <p:nvPr/>
          </p:nvSpPr>
          <p:spPr>
            <a:xfrm>
              <a:off x="4311269" y="3934131"/>
              <a:ext cx="451484" cy="1430655"/>
            </a:xfrm>
            <a:custGeom>
              <a:avLst/>
              <a:gdLst/>
              <a:ahLst/>
              <a:cxnLst/>
              <a:rect l="l" t="t" r="r" b="b"/>
              <a:pathLst>
                <a:path w="451485" h="1430654">
                  <a:moveTo>
                    <a:pt x="451305" y="0"/>
                  </a:moveTo>
                  <a:lnTo>
                    <a:pt x="281436" y="407160"/>
                  </a:lnTo>
                  <a:lnTo>
                    <a:pt x="260135" y="451197"/>
                  </a:lnTo>
                  <a:lnTo>
                    <a:pt x="240005" y="495754"/>
                  </a:lnTo>
                  <a:lnTo>
                    <a:pt x="221054" y="540806"/>
                  </a:lnTo>
                  <a:lnTo>
                    <a:pt x="203290" y="586331"/>
                  </a:lnTo>
                  <a:lnTo>
                    <a:pt x="186724" y="632305"/>
                  </a:lnTo>
                  <a:lnTo>
                    <a:pt x="171365" y="678705"/>
                  </a:lnTo>
                  <a:lnTo>
                    <a:pt x="157220" y="725507"/>
                  </a:lnTo>
                  <a:lnTo>
                    <a:pt x="144299" y="772688"/>
                  </a:lnTo>
                  <a:lnTo>
                    <a:pt x="0" y="1419621"/>
                  </a:lnTo>
                  <a:lnTo>
                    <a:pt x="35758" y="1430438"/>
                  </a:lnTo>
                  <a:lnTo>
                    <a:pt x="233919" y="599866"/>
                  </a:lnTo>
                  <a:lnTo>
                    <a:pt x="451305" y="0"/>
                  </a:lnTo>
                  <a:close/>
                </a:path>
              </a:pathLst>
            </a:custGeom>
            <a:solidFill>
              <a:srgbClr val="9DDCF8">
                <a:alpha val="44999"/>
              </a:srgbClr>
            </a:solidFill>
          </p:spPr>
          <p:txBody>
            <a:bodyPr wrap="square" lIns="0" tIns="0" rIns="0" bIns="0" rtlCol="0"/>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pic>
          <p:nvPicPr>
            <p:cNvPr id="24" name="object 360">
              <a:extLst>
                <a:ext uri="{FF2B5EF4-FFF2-40B4-BE49-F238E27FC236}">
                  <a16:creationId xmlns:a16="http://schemas.microsoft.com/office/drawing/2014/main" id="{E852D19E-1126-038A-C7C0-60123BA846B3}"/>
                </a:ext>
              </a:extLst>
            </p:cNvPr>
            <p:cNvPicPr/>
            <p:nvPr/>
          </p:nvPicPr>
          <p:blipFill>
            <a:blip r:embed="rId9" cstate="print"/>
            <a:stretch>
              <a:fillRect/>
            </a:stretch>
          </p:blipFill>
          <p:spPr>
            <a:xfrm>
              <a:off x="4420417" y="2653405"/>
              <a:ext cx="660702" cy="1084741"/>
            </a:xfrm>
            <a:prstGeom prst="rect">
              <a:avLst/>
            </a:prstGeom>
          </p:spPr>
        </p:pic>
        <p:pic>
          <p:nvPicPr>
            <p:cNvPr id="25" name="object 361">
              <a:extLst>
                <a:ext uri="{FF2B5EF4-FFF2-40B4-BE49-F238E27FC236}">
                  <a16:creationId xmlns:a16="http://schemas.microsoft.com/office/drawing/2014/main" id="{EC5A13AA-C073-1983-1EC5-E1BBA349C156}"/>
                </a:ext>
              </a:extLst>
            </p:cNvPr>
            <p:cNvPicPr/>
            <p:nvPr/>
          </p:nvPicPr>
          <p:blipFill>
            <a:blip r:embed="rId10" cstate="print"/>
            <a:stretch>
              <a:fillRect/>
            </a:stretch>
          </p:blipFill>
          <p:spPr>
            <a:xfrm>
              <a:off x="4277273" y="2167213"/>
              <a:ext cx="1007984" cy="1678113"/>
            </a:xfrm>
            <a:prstGeom prst="rect">
              <a:avLst/>
            </a:prstGeom>
          </p:spPr>
        </p:pic>
      </p:grpSp>
      <p:sp>
        <p:nvSpPr>
          <p:cNvPr id="7" name="TextBox 6">
            <a:extLst>
              <a:ext uri="{FF2B5EF4-FFF2-40B4-BE49-F238E27FC236}">
                <a16:creationId xmlns:a16="http://schemas.microsoft.com/office/drawing/2014/main" id="{85507AA5-2C1F-9666-4F3E-AF0B0142058D}"/>
              </a:ext>
            </a:extLst>
          </p:cNvPr>
          <p:cNvSpPr txBox="1"/>
          <p:nvPr/>
        </p:nvSpPr>
        <p:spPr>
          <a:xfrm>
            <a:off x="4978400" y="3429000"/>
            <a:ext cx="1219200" cy="707886"/>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es-MX" sz="4000" b="0" i="0" u="none" strike="noStrike" kern="1200" cap="none" spc="0" normalizeH="0" baseline="0" noProof="0">
                <a:ln>
                  <a:noFill/>
                </a:ln>
                <a:solidFill>
                  <a:prstClr val="black"/>
                </a:solidFill>
                <a:effectLst/>
                <a:uLnTx/>
                <a:uFillTx/>
                <a:latin typeface="Calibri"/>
                <a:ea typeface="+mn-ea"/>
                <a:cs typeface="+mn-cs"/>
              </a:rPr>
              <a:t>x</a:t>
            </a:r>
            <a:endParaRPr kumimoji="0" lang="en-US" sz="4000" b="0" i="0" u="none" strike="noStrike" kern="1200" cap="none" spc="0" normalizeH="0" baseline="0" noProof="0">
              <a:ln>
                <a:noFill/>
              </a:ln>
              <a:solidFill>
                <a:prstClr val="black"/>
              </a:solidFill>
              <a:effectLst/>
              <a:uLnTx/>
              <a:uFillTx/>
              <a:latin typeface="Calibri"/>
              <a:ea typeface="+mn-ea"/>
              <a:cs typeface="+mn-cs"/>
            </a:endParaRPr>
          </a:p>
        </p:txBody>
      </p:sp>
      <p:sp>
        <p:nvSpPr>
          <p:cNvPr id="26" name="Multiplication Sign 25">
            <a:extLst>
              <a:ext uri="{FF2B5EF4-FFF2-40B4-BE49-F238E27FC236}">
                <a16:creationId xmlns:a16="http://schemas.microsoft.com/office/drawing/2014/main" id="{EC3EFD66-8960-4342-0BF5-52285DB8EDA4}"/>
              </a:ext>
            </a:extLst>
          </p:cNvPr>
          <p:cNvSpPr/>
          <p:nvPr/>
        </p:nvSpPr>
        <p:spPr>
          <a:xfrm>
            <a:off x="8270608" y="2051848"/>
            <a:ext cx="1117600" cy="1117600"/>
          </a:xfrm>
          <a:prstGeom prst="mathMultiply">
            <a:avLst>
              <a:gd name="adj1" fmla="val 1734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27" name="Multiplication Sign 26">
            <a:extLst>
              <a:ext uri="{FF2B5EF4-FFF2-40B4-BE49-F238E27FC236}">
                <a16:creationId xmlns:a16="http://schemas.microsoft.com/office/drawing/2014/main" id="{109A973B-C2F9-7F9F-602C-AA41494039B7}"/>
              </a:ext>
            </a:extLst>
          </p:cNvPr>
          <p:cNvSpPr/>
          <p:nvPr/>
        </p:nvSpPr>
        <p:spPr>
          <a:xfrm>
            <a:off x="8270608" y="5363919"/>
            <a:ext cx="1117600" cy="1117600"/>
          </a:xfrm>
          <a:prstGeom prst="mathMultiply">
            <a:avLst>
              <a:gd name="adj1" fmla="val 1734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8" name="TextBox 26">
            <a:extLst>
              <a:ext uri="{FF2B5EF4-FFF2-40B4-BE49-F238E27FC236}">
                <a16:creationId xmlns:a16="http://schemas.microsoft.com/office/drawing/2014/main" id="{B2AE2626-D9B4-ECA1-4425-54F50F0D935C}"/>
              </a:ext>
            </a:extLst>
          </p:cNvPr>
          <p:cNvSpPr txBox="1"/>
          <p:nvPr/>
        </p:nvSpPr>
        <p:spPr>
          <a:xfrm>
            <a:off x="5599077" y="736600"/>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n-US" sz="2266" b="0" i="0" u="none" strike="noStrike" kern="1200" cap="none" spc="0" normalizeH="0" baseline="0" noProof="0">
                <a:ln>
                  <a:noFill/>
                </a:ln>
                <a:solidFill>
                  <a:prstClr val="white"/>
                </a:solidFill>
                <a:effectLst/>
                <a:uLnTx/>
                <a:uFillTx/>
                <a:latin typeface="Calibri"/>
                <a:ea typeface="+mn-ea"/>
                <a:cs typeface="+mn-cs"/>
              </a:rPr>
              <a:t>A</a:t>
            </a:r>
          </a:p>
        </p:txBody>
      </p:sp>
      <p:sp>
        <p:nvSpPr>
          <p:cNvPr id="19" name="TextBox 26">
            <a:extLst>
              <a:ext uri="{FF2B5EF4-FFF2-40B4-BE49-F238E27FC236}">
                <a16:creationId xmlns:a16="http://schemas.microsoft.com/office/drawing/2014/main" id="{0B074E0C-42F9-DC97-13A6-8060969DC82A}"/>
              </a:ext>
            </a:extLst>
          </p:cNvPr>
          <p:cNvSpPr txBox="1"/>
          <p:nvPr/>
        </p:nvSpPr>
        <p:spPr>
          <a:xfrm>
            <a:off x="5599077" y="2534963"/>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B</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20" name="TextBox 26">
            <a:extLst>
              <a:ext uri="{FF2B5EF4-FFF2-40B4-BE49-F238E27FC236}">
                <a16:creationId xmlns:a16="http://schemas.microsoft.com/office/drawing/2014/main" id="{F0AB99B3-50D7-4A90-01F5-D57AD556DFCF}"/>
              </a:ext>
            </a:extLst>
          </p:cNvPr>
          <p:cNvSpPr txBox="1"/>
          <p:nvPr/>
        </p:nvSpPr>
        <p:spPr>
          <a:xfrm>
            <a:off x="5599077" y="4131639"/>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C</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
        <p:nvSpPr>
          <p:cNvPr id="28" name="TextBox 26">
            <a:extLst>
              <a:ext uri="{FF2B5EF4-FFF2-40B4-BE49-F238E27FC236}">
                <a16:creationId xmlns:a16="http://schemas.microsoft.com/office/drawing/2014/main" id="{40730A54-6A37-F66E-BD97-DED2234BDC75}"/>
              </a:ext>
            </a:extLst>
          </p:cNvPr>
          <p:cNvSpPr txBox="1"/>
          <p:nvPr/>
        </p:nvSpPr>
        <p:spPr>
          <a:xfrm>
            <a:off x="5599077" y="5930002"/>
            <a:ext cx="2948993" cy="384464"/>
          </a:xfrm>
          <a:prstGeom prst="rect">
            <a:avLst/>
          </a:prstGeom>
        </p:spPr>
        <p:txBody>
          <a:bodyPr wrap="square" lIns="0" tIns="0" rIns="0" bIns="0" rtlCol="0" anchor="t">
            <a:spAutoFit/>
          </a:bodyPr>
          <a:lstStyle/>
          <a:p>
            <a:pPr marL="0" marR="0" lvl="0" indent="0" algn="ctr" defTabSz="609630" rtl="0" eaLnBrk="1" fontAlgn="auto" latinLnBrk="0" hangingPunct="1">
              <a:lnSpc>
                <a:spcPts val="3173"/>
              </a:lnSpc>
              <a:spcBef>
                <a:spcPts val="0"/>
              </a:spcBef>
              <a:spcAft>
                <a:spcPts val="0"/>
              </a:spcAft>
              <a:buClrTx/>
              <a:buSzTx/>
              <a:buFontTx/>
              <a:buNone/>
              <a:tabLst/>
              <a:defRPr/>
            </a:pPr>
            <a:r>
              <a:rPr kumimoji="0" lang="es-MX" sz="2266" b="0" i="0" u="none" strike="noStrike" kern="1200" cap="none" spc="0" normalizeH="0" baseline="0" noProof="0">
                <a:ln>
                  <a:noFill/>
                </a:ln>
                <a:solidFill>
                  <a:prstClr val="white"/>
                </a:solidFill>
                <a:effectLst/>
                <a:uLnTx/>
                <a:uFillTx/>
                <a:latin typeface="Calibri"/>
                <a:ea typeface="+mn-ea"/>
                <a:cs typeface="+mn-cs"/>
              </a:rPr>
              <a:t>D</a:t>
            </a:r>
            <a:endParaRPr kumimoji="0" lang="en-US" sz="2266"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678804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sp>
        <p:nvSpPr>
          <p:cNvPr id="3" name="TextBox 3"/>
          <p:cNvSpPr txBox="1"/>
          <p:nvPr/>
        </p:nvSpPr>
        <p:spPr>
          <a:xfrm>
            <a:off x="458381" y="218364"/>
            <a:ext cx="10007600" cy="724429"/>
          </a:xfrm>
          <a:prstGeom prst="rect">
            <a:avLst/>
          </a:prstGeom>
        </p:spPr>
        <p:txBody>
          <a:bodyPr wrap="square" lIns="0" tIns="0" rIns="0" bIns="0" rtlCol="0" anchor="t">
            <a:spAutoFit/>
          </a:bodyPr>
          <a:lstStyle/>
          <a:p>
            <a:pPr marL="0" marR="0" lvl="0" indent="0" algn="l" defTabSz="609630" rtl="0" eaLnBrk="1" fontAlgn="auto" latinLnBrk="0" hangingPunct="1">
              <a:lnSpc>
                <a:spcPts val="6534"/>
              </a:lnSpc>
              <a:spcBef>
                <a:spcPts val="0"/>
              </a:spcBef>
              <a:spcAft>
                <a:spcPts val="0"/>
              </a:spcAft>
              <a:buClrTx/>
              <a:buSzTx/>
              <a:buFontTx/>
              <a:buNone/>
              <a:tabLst/>
              <a:defRPr/>
            </a:pP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Aprendizaje</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supervisado</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qué</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es?</a:t>
            </a:r>
          </a:p>
        </p:txBody>
      </p:sp>
      <p:sp>
        <p:nvSpPr>
          <p:cNvPr id="4" name="TextBox 4"/>
          <p:cNvSpPr txBox="1"/>
          <p:nvPr/>
        </p:nvSpPr>
        <p:spPr>
          <a:xfrm>
            <a:off x="731838" y="1176376"/>
            <a:ext cx="11015662" cy="1466235"/>
          </a:xfrm>
          <a:prstGeom prst="rect">
            <a:avLst/>
          </a:prstGeom>
        </p:spPr>
        <p:txBody>
          <a:bodyPr wrap="square" lIns="0" tIns="0" rIns="0" bIns="0" rtlCol="0" anchor="t">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a:ea typeface="+mn-ea"/>
                <a:cs typeface="+mn-cs"/>
              </a:rPr>
              <a:t>Es un </a:t>
            </a:r>
            <a:r>
              <a:rPr kumimoji="0" lang="en-US" sz="2000" b="0" i="0" u="none" strike="noStrike" kern="1200" cap="none" spc="0" normalizeH="0" baseline="0" noProof="0" err="1">
                <a:ln>
                  <a:noFill/>
                </a:ln>
                <a:solidFill>
                  <a:srgbClr val="FFFFFF"/>
                </a:solidFill>
                <a:effectLst/>
                <a:uLnTx/>
                <a:uFillTx/>
                <a:latin typeface="Calibri"/>
                <a:ea typeface="+mn-ea"/>
                <a:cs typeface="+mn-cs"/>
              </a:rPr>
              <a:t>tipo</a:t>
            </a:r>
            <a:r>
              <a:rPr kumimoji="0" lang="en-US" sz="2000" b="0" i="0" u="none" strike="noStrike" kern="1200" cap="none" spc="0" normalizeH="0" baseline="0" noProof="0">
                <a:ln>
                  <a:noFill/>
                </a:ln>
                <a:solidFill>
                  <a:srgbClr val="FFFFFF"/>
                </a:solidFill>
                <a:effectLst/>
                <a:uLnTx/>
                <a:uFillTx/>
                <a:latin typeface="Calibri"/>
                <a:ea typeface="+mn-ea"/>
                <a:cs typeface="+mn-cs"/>
              </a:rPr>
              <a:t> de </a:t>
            </a:r>
            <a:r>
              <a:rPr kumimoji="0" lang="en-US" sz="2000" b="0" i="1" u="none" strike="noStrike" kern="1200" cap="none" spc="0" normalizeH="0" baseline="0" noProof="0">
                <a:ln>
                  <a:noFill/>
                </a:ln>
                <a:solidFill>
                  <a:srgbClr val="FFFFFF"/>
                </a:solidFill>
                <a:effectLst/>
                <a:uLnTx/>
                <a:uFillTx/>
                <a:latin typeface="Calibri"/>
                <a:ea typeface="+mn-ea"/>
                <a:cs typeface="+mn-cs"/>
              </a:rPr>
              <a:t>machine</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1" u="none" strike="noStrike" kern="1200" cap="none" spc="0" normalizeH="0" baseline="0" noProof="0">
                <a:ln>
                  <a:noFill/>
                </a:ln>
                <a:solidFill>
                  <a:srgbClr val="FFFFFF"/>
                </a:solidFill>
                <a:effectLst/>
                <a:uLnTx/>
                <a:uFillTx/>
                <a:latin typeface="Calibri"/>
                <a:ea typeface="+mn-ea"/>
                <a:cs typeface="+mn-cs"/>
              </a:rPr>
              <a:t>learning</a:t>
            </a:r>
            <a:r>
              <a:rPr kumimoji="0" lang="en-US" sz="2000" b="0" i="0" u="none" strike="noStrike" kern="1200" cap="none" spc="0" normalizeH="0" baseline="0" noProof="0">
                <a:ln>
                  <a:noFill/>
                </a:ln>
                <a:solidFill>
                  <a:srgbClr val="FFFFFF"/>
                </a:solidFill>
                <a:effectLst/>
                <a:uLnTx/>
                <a:uFillTx/>
                <a:latin typeface="Calibri"/>
                <a:ea typeface="+mn-ea"/>
                <a:cs typeface="+mn-cs"/>
              </a:rPr>
              <a:t>, en la </a:t>
            </a:r>
            <a:r>
              <a:rPr kumimoji="0" lang="en-US" sz="2000" b="0" i="0" u="none" strike="noStrike" kern="1200" cap="none" spc="0" normalizeH="0" baseline="0" noProof="0" err="1">
                <a:ln>
                  <a:noFill/>
                </a:ln>
                <a:solidFill>
                  <a:srgbClr val="FFFFFF"/>
                </a:solidFill>
                <a:effectLst/>
                <a:uLnTx/>
                <a:uFillTx/>
                <a:latin typeface="Calibri"/>
                <a:ea typeface="+mn-ea"/>
                <a:cs typeface="+mn-cs"/>
              </a:rPr>
              <a:t>cual</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vamos</a:t>
            </a:r>
            <a:r>
              <a:rPr kumimoji="0" lang="en-US" sz="2000" b="0" i="0" u="none" strike="noStrike" kern="1200" cap="none" spc="0" normalizeH="0" baseline="0" noProof="0">
                <a:ln>
                  <a:noFill/>
                </a:ln>
                <a:solidFill>
                  <a:srgbClr val="FFFFFF"/>
                </a:solidFill>
                <a:effectLst/>
                <a:uLnTx/>
                <a:uFillTx/>
                <a:latin typeface="Calibri"/>
                <a:ea typeface="+mn-ea"/>
                <a:cs typeface="+mn-cs"/>
              </a:rPr>
              <a:t> a </a:t>
            </a:r>
            <a:r>
              <a:rPr kumimoji="0" lang="en-US" sz="2000" b="0" i="0" u="none" strike="noStrike" kern="1200" cap="none" spc="0" normalizeH="0" baseline="0" noProof="0" err="1">
                <a:ln>
                  <a:noFill/>
                </a:ln>
                <a:solidFill>
                  <a:srgbClr val="FFFFFF"/>
                </a:solidFill>
                <a:effectLst/>
                <a:uLnTx/>
                <a:uFillTx/>
                <a:latin typeface="Calibri"/>
                <a:ea typeface="+mn-ea"/>
                <a:cs typeface="+mn-cs"/>
              </a:rPr>
              <a:t>entrenar</a:t>
            </a:r>
            <a:r>
              <a:rPr kumimoji="0" lang="en-US" sz="2000" b="0" i="0" u="none" strike="noStrike" kern="1200" cap="none" spc="0" normalizeH="0" baseline="0" noProof="0">
                <a:ln>
                  <a:noFill/>
                </a:ln>
                <a:solidFill>
                  <a:srgbClr val="FFFFFF"/>
                </a:solidFill>
                <a:effectLst/>
                <a:uLnTx/>
                <a:uFillTx/>
                <a:latin typeface="Calibri"/>
                <a:ea typeface="+mn-ea"/>
                <a:cs typeface="+mn-cs"/>
              </a:rPr>
              <a:t> a la IA con </a:t>
            </a:r>
            <a:r>
              <a:rPr kumimoji="0" lang="en-US" sz="2000" b="0" i="0" u="none" strike="noStrike" kern="1200" cap="none" spc="0" normalizeH="0" baseline="0" noProof="0" err="1">
                <a:ln>
                  <a:noFill/>
                </a:ln>
                <a:solidFill>
                  <a:srgbClr val="FFFFFF"/>
                </a:solidFill>
                <a:effectLst/>
                <a:uLnTx/>
                <a:uFillTx/>
                <a:latin typeface="Calibri"/>
                <a:ea typeface="+mn-ea"/>
                <a:cs typeface="+mn-cs"/>
              </a:rPr>
              <a:t>información</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ya</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clasificada</a:t>
            </a:r>
            <a:r>
              <a:rPr kumimoji="0" lang="en-US" sz="2000" b="0" i="0" u="none" strike="noStrike" kern="1200" cap="none" spc="0" normalizeH="0" baseline="0" noProof="0">
                <a:ln>
                  <a:noFill/>
                </a:ln>
                <a:solidFill>
                  <a:srgbClr val="FFFFFF"/>
                </a:solidFill>
                <a:effectLst/>
                <a:uLnTx/>
                <a:uFillTx/>
                <a:latin typeface="Calibri"/>
                <a:ea typeface="+mn-ea"/>
                <a:cs typeface="+mn-cs"/>
              </a:rPr>
              <a:t>:</a:t>
            </a:r>
          </a:p>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97A9"/>
                </a:solidFill>
                <a:effectLst/>
                <a:uLnTx/>
                <a:uFillTx/>
                <a:latin typeface="Calibri"/>
                <a:ea typeface="+mn-ea"/>
                <a:cs typeface="+mn-cs"/>
              </a:rPr>
              <a:t>Se </a:t>
            </a:r>
            <a:r>
              <a:rPr kumimoji="0" lang="en-US" sz="2200" b="1" i="0" u="none" strike="noStrike" kern="1200" cap="none" spc="0" normalizeH="0" baseline="0" noProof="0" err="1">
                <a:ln>
                  <a:noFill/>
                </a:ln>
                <a:solidFill>
                  <a:srgbClr val="0097A9"/>
                </a:solidFill>
                <a:effectLst/>
                <a:uLnTx/>
                <a:uFillTx/>
                <a:latin typeface="Calibri"/>
                <a:ea typeface="+mn-ea"/>
                <a:cs typeface="+mn-cs"/>
              </a:rPr>
              <a:t>intoducen</a:t>
            </a:r>
            <a:r>
              <a:rPr kumimoji="0" lang="en-US" sz="2200" b="1" i="0" u="none" strike="noStrike" kern="1200" cap="none" spc="0" normalizeH="0" baseline="0" noProof="0">
                <a:ln>
                  <a:noFill/>
                </a:ln>
                <a:solidFill>
                  <a:srgbClr val="0097A9"/>
                </a:solidFill>
                <a:effectLst/>
                <a:uLnTx/>
                <a:uFillTx/>
                <a:latin typeface="Calibri"/>
                <a:ea typeface="+mn-ea"/>
                <a:cs typeface="+mn-cs"/>
              </a:rPr>
              <a:t> </a:t>
            </a:r>
            <a:r>
              <a:rPr kumimoji="0" lang="en-US" sz="2200" b="1" i="0" u="none" strike="noStrike" kern="1200" cap="none" spc="0" normalizeH="0" baseline="0" noProof="0" err="1">
                <a:ln>
                  <a:noFill/>
                </a:ln>
                <a:solidFill>
                  <a:srgbClr val="0097A9"/>
                </a:solidFill>
                <a:effectLst/>
                <a:uLnTx/>
                <a:uFillTx/>
                <a:latin typeface="Calibri"/>
                <a:ea typeface="+mn-ea"/>
                <a:cs typeface="+mn-cs"/>
              </a:rPr>
              <a:t>datos</a:t>
            </a:r>
            <a:r>
              <a:rPr kumimoji="0" lang="en-US" sz="2200" b="1" i="0" u="none" strike="noStrike" kern="1200" cap="none" spc="0" normalizeH="0" baseline="0" noProof="0">
                <a:ln>
                  <a:noFill/>
                </a:ln>
                <a:solidFill>
                  <a:srgbClr val="0097A9"/>
                </a:solidFill>
                <a:effectLst/>
                <a:uLnTx/>
                <a:uFillTx/>
                <a:latin typeface="Calibri"/>
                <a:ea typeface="+mn-ea"/>
                <a:cs typeface="+mn-cs"/>
              </a:rPr>
              <a:t> </a:t>
            </a:r>
            <a:r>
              <a:rPr kumimoji="0" lang="en-US" sz="2200" b="1" i="0" u="none" strike="noStrike" kern="1200" cap="none" spc="0" normalizeH="0" baseline="0" noProof="0" err="1">
                <a:ln>
                  <a:noFill/>
                </a:ln>
                <a:solidFill>
                  <a:srgbClr val="0097A9"/>
                </a:solidFill>
                <a:effectLst/>
                <a:uLnTx/>
                <a:uFillTx/>
                <a:latin typeface="Calibri"/>
                <a:ea typeface="+mn-ea"/>
                <a:cs typeface="+mn-cs"/>
              </a:rPr>
              <a:t>etiquetados</a:t>
            </a:r>
            <a:r>
              <a:rPr kumimoji="0" lang="en-US" sz="2200" b="1" i="0" u="none" strike="noStrike" kern="1200" cap="none" spc="0" normalizeH="0" baseline="0" noProof="0">
                <a:ln>
                  <a:noFill/>
                </a:ln>
                <a:solidFill>
                  <a:srgbClr val="0097A9"/>
                </a:solidFill>
                <a:effectLst/>
                <a:uLnTx/>
                <a:uFillTx/>
                <a:latin typeface="Calibri"/>
                <a:ea typeface="+mn-ea"/>
                <a:cs typeface="+mn-cs"/>
              </a:rPr>
              <a:t>, </a:t>
            </a:r>
            <a:r>
              <a:rPr kumimoji="0" lang="en-US" sz="2200" b="1" i="0" u="none" strike="noStrike" kern="1200" cap="none" spc="0" normalizeH="0" baseline="0" noProof="0" err="1">
                <a:ln>
                  <a:noFill/>
                </a:ln>
                <a:solidFill>
                  <a:srgbClr val="0097A9"/>
                </a:solidFill>
                <a:effectLst/>
                <a:uLnTx/>
                <a:uFillTx/>
                <a:latin typeface="Calibri"/>
                <a:ea typeface="+mn-ea"/>
                <a:cs typeface="+mn-cs"/>
              </a:rPr>
              <a:t>compuestos</a:t>
            </a:r>
            <a:r>
              <a:rPr kumimoji="0" lang="en-US" sz="2200" b="1" i="0" u="none" strike="noStrike" kern="1200" cap="none" spc="0" normalizeH="0" baseline="0" noProof="0">
                <a:ln>
                  <a:noFill/>
                </a:ln>
                <a:solidFill>
                  <a:srgbClr val="0097A9"/>
                </a:solidFill>
                <a:effectLst/>
                <a:uLnTx/>
                <a:uFillTx/>
                <a:latin typeface="Calibri"/>
                <a:ea typeface="+mn-ea"/>
                <a:cs typeface="+mn-cs"/>
              </a:rPr>
              <a:t> </a:t>
            </a:r>
            <a:r>
              <a:rPr kumimoji="0" lang="en-US" sz="2200" b="1" i="0" u="none" strike="noStrike" kern="1200" cap="none" spc="0" normalizeH="0" baseline="0" noProof="0" err="1">
                <a:ln>
                  <a:noFill/>
                </a:ln>
                <a:solidFill>
                  <a:srgbClr val="0097A9"/>
                </a:solidFill>
                <a:effectLst/>
                <a:uLnTx/>
                <a:uFillTx/>
                <a:latin typeface="Calibri"/>
                <a:ea typeface="+mn-ea"/>
                <a:cs typeface="+mn-cs"/>
              </a:rPr>
              <a:t>por</a:t>
            </a:r>
            <a:r>
              <a:rPr kumimoji="0" lang="en-US" sz="2200" b="1" i="0" u="none" strike="noStrike" kern="1200" cap="none" spc="0" normalizeH="0" baseline="0" noProof="0">
                <a:ln>
                  <a:noFill/>
                </a:ln>
                <a:solidFill>
                  <a:srgbClr val="0097A9"/>
                </a:solidFill>
                <a:effectLst/>
                <a:uLnTx/>
                <a:uFillTx/>
                <a:latin typeface="Calibri"/>
                <a:ea typeface="+mn-ea"/>
                <a:cs typeface="+mn-cs"/>
              </a:rPr>
              <a:t> un </a:t>
            </a:r>
            <a:r>
              <a:rPr kumimoji="0" lang="en-US" sz="2200" b="1" i="1" u="none" strike="noStrike" kern="1200" cap="none" spc="0" normalizeH="0" baseline="0" noProof="0">
                <a:ln>
                  <a:noFill/>
                </a:ln>
                <a:solidFill>
                  <a:srgbClr val="0097A9"/>
                </a:solidFill>
                <a:effectLst/>
                <a:uLnTx/>
                <a:uFillTx/>
                <a:latin typeface="Calibri"/>
                <a:ea typeface="+mn-ea"/>
                <a:cs typeface="+mn-cs"/>
              </a:rPr>
              <a:t>input</a:t>
            </a:r>
            <a:r>
              <a:rPr kumimoji="0" lang="en-US" sz="2200" b="1" i="0" u="none" strike="noStrike" kern="1200" cap="none" spc="0" normalizeH="0" baseline="0" noProof="0">
                <a:ln>
                  <a:noFill/>
                </a:ln>
                <a:solidFill>
                  <a:srgbClr val="0097A9"/>
                </a:solidFill>
                <a:effectLst/>
                <a:uLnTx/>
                <a:uFillTx/>
                <a:latin typeface="Calibri"/>
                <a:ea typeface="+mn-ea"/>
                <a:cs typeface="+mn-cs"/>
              </a:rPr>
              <a:t> y un </a:t>
            </a:r>
            <a:r>
              <a:rPr kumimoji="0" lang="en-US" sz="2200" b="1" i="1" u="none" strike="noStrike" kern="1200" cap="none" spc="0" normalizeH="0" baseline="0" noProof="0">
                <a:ln>
                  <a:noFill/>
                </a:ln>
                <a:solidFill>
                  <a:srgbClr val="0097A9"/>
                </a:solidFill>
                <a:effectLst/>
                <a:uLnTx/>
                <a:uFillTx/>
                <a:latin typeface="Calibri"/>
                <a:ea typeface="+mn-ea"/>
                <a:cs typeface="+mn-cs"/>
              </a:rPr>
              <a:t>output</a:t>
            </a:r>
            <a:r>
              <a:rPr kumimoji="0" lang="en-US" sz="2200" b="1" i="0" u="none" strike="noStrike" kern="1200" cap="none" spc="0" normalizeH="0" baseline="0" noProof="0">
                <a:ln>
                  <a:noFill/>
                </a:ln>
                <a:solidFill>
                  <a:srgbClr val="0097A9"/>
                </a:solidFill>
                <a:effectLst/>
                <a:uLnTx/>
                <a:uFillTx/>
                <a:latin typeface="Calibri"/>
                <a:ea typeface="+mn-ea"/>
                <a:cs typeface="+mn-cs"/>
              </a:rPr>
              <a:t> </a:t>
            </a:r>
            <a:r>
              <a:rPr kumimoji="0" lang="en-US" sz="2200" b="1" i="0" u="none" strike="noStrike" kern="1200" cap="none" spc="0" normalizeH="0" baseline="0" noProof="0" err="1">
                <a:ln>
                  <a:noFill/>
                </a:ln>
                <a:solidFill>
                  <a:srgbClr val="0097A9"/>
                </a:solidFill>
                <a:effectLst/>
                <a:uLnTx/>
                <a:uFillTx/>
                <a:latin typeface="Calibri"/>
                <a:ea typeface="+mn-ea"/>
                <a:cs typeface="+mn-cs"/>
              </a:rPr>
              <a:t>determinados</a:t>
            </a:r>
            <a:r>
              <a:rPr kumimoji="0" lang="en-US" sz="2200" b="1" i="0" u="none" strike="noStrike" kern="1200" cap="none" spc="0" normalizeH="0" baseline="0" noProof="0">
                <a:ln>
                  <a:noFill/>
                </a:ln>
                <a:solidFill>
                  <a:srgbClr val="0097A9"/>
                </a:solidFill>
                <a:effectLst/>
                <a:uLnTx/>
                <a:uFillTx/>
                <a:latin typeface="Calibri"/>
                <a:ea typeface="+mn-ea"/>
                <a:cs typeface="+mn-cs"/>
              </a:rPr>
              <a:t>.</a:t>
            </a:r>
          </a:p>
          <a:p>
            <a:pPr marL="0" marR="0" lvl="0" indent="0" algn="l" defTabSz="609630" rtl="0" eaLnBrk="1" fontAlgn="auto" latinLnBrk="0" hangingPunct="1">
              <a:lnSpc>
                <a:spcPct val="15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pic>
        <p:nvPicPr>
          <p:cNvPr id="2050" name="Picture 2" descr="Machine Learning': definición, tipos y aplicaciones prácticas - Iberdrola">
            <a:extLst>
              <a:ext uri="{FF2B5EF4-FFF2-40B4-BE49-F238E27FC236}">
                <a16:creationId xmlns:a16="http://schemas.microsoft.com/office/drawing/2014/main" id="{D46203EB-41E4-3C7E-1FD0-45C1936A72B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40" r="34194"/>
          <a:stretch/>
        </p:blipFill>
        <p:spPr bwMode="auto">
          <a:xfrm>
            <a:off x="4772183" y="2507240"/>
            <a:ext cx="2647635" cy="2647635"/>
          </a:xfrm>
          <a:prstGeom prst="ellipse">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42C7AE9-24F0-650A-CF91-D1DBF9BD0D54}"/>
              </a:ext>
            </a:extLst>
          </p:cNvPr>
          <p:cNvSpPr txBox="1"/>
          <p:nvPr/>
        </p:nvSpPr>
        <p:spPr>
          <a:xfrm>
            <a:off x="2501901" y="5311870"/>
            <a:ext cx="9471928" cy="1055545"/>
          </a:xfrm>
          <a:prstGeom prst="rect">
            <a:avLst/>
          </a:prstGeom>
          <a:noFill/>
        </p:spPr>
        <p:txBody>
          <a:bodyPr wrap="square">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a:ea typeface="+mn-ea"/>
                <a:cs typeface="+mn-cs"/>
              </a:rPr>
              <a:t>Una </a:t>
            </a:r>
            <a:r>
              <a:rPr kumimoji="0" lang="en-US" sz="2000" b="0" i="0" u="none" strike="noStrike" kern="1200" cap="none" spc="0" normalizeH="0" baseline="0" noProof="0" err="1">
                <a:ln>
                  <a:noFill/>
                </a:ln>
                <a:solidFill>
                  <a:srgbClr val="FFFFFF"/>
                </a:solidFill>
                <a:effectLst/>
                <a:uLnTx/>
                <a:uFillTx/>
                <a:latin typeface="Calibri"/>
                <a:ea typeface="+mn-ea"/>
                <a:cs typeface="+mn-cs"/>
              </a:rPr>
              <a:t>vez</a:t>
            </a:r>
            <a:r>
              <a:rPr kumimoji="0" lang="en-US" sz="2000" b="0" i="0" u="none" strike="noStrike" kern="1200" cap="none" spc="0" normalizeH="0" baseline="0" noProof="0">
                <a:ln>
                  <a:noFill/>
                </a:ln>
                <a:solidFill>
                  <a:srgbClr val="FFFFFF"/>
                </a:solidFill>
                <a:effectLst/>
                <a:uLnTx/>
                <a:uFillTx/>
                <a:latin typeface="Calibri"/>
                <a:ea typeface="+mn-ea"/>
                <a:cs typeface="+mn-cs"/>
              </a:rPr>
              <a:t> que la IA </a:t>
            </a:r>
            <a:r>
              <a:rPr kumimoji="0" lang="en-US" sz="2000" b="0" i="0" u="none" strike="noStrike" kern="1200" cap="none" spc="0" normalizeH="0" baseline="0" noProof="0" err="1">
                <a:ln>
                  <a:noFill/>
                </a:ln>
                <a:solidFill>
                  <a:srgbClr val="FFFFFF"/>
                </a:solidFill>
                <a:effectLst/>
                <a:uLnTx/>
                <a:uFillTx/>
                <a:latin typeface="Calibri"/>
                <a:ea typeface="+mn-ea"/>
                <a:cs typeface="+mn-cs"/>
              </a:rPr>
              <a:t>ya</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esté</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entrenada</a:t>
            </a:r>
            <a:r>
              <a:rPr kumimoji="0" lang="en-US" sz="2000" b="0" i="0" u="none" strike="noStrike" kern="1200" cap="none" spc="0" normalizeH="0" baseline="0" noProof="0">
                <a:ln>
                  <a:noFill/>
                </a:ln>
                <a:solidFill>
                  <a:srgbClr val="FFFFFF"/>
                </a:solidFill>
                <a:effectLst/>
                <a:uLnTx/>
                <a:uFillTx/>
                <a:latin typeface="Calibri"/>
                <a:ea typeface="+mn-ea"/>
                <a:cs typeface="+mn-cs"/>
              </a:rPr>
              <a:t> con </a:t>
            </a:r>
            <a:r>
              <a:rPr kumimoji="0" lang="en-US" sz="2000" b="0" i="0" u="none" strike="noStrike" kern="1200" cap="none" spc="0" normalizeH="0" baseline="0" noProof="0" err="1">
                <a:ln>
                  <a:noFill/>
                </a:ln>
                <a:solidFill>
                  <a:srgbClr val="FFFFFF"/>
                </a:solidFill>
                <a:effectLst/>
                <a:uLnTx/>
                <a:uFillTx/>
                <a:latin typeface="Calibri"/>
                <a:ea typeface="+mn-ea"/>
                <a:cs typeface="+mn-cs"/>
              </a:rPr>
              <a:t>toda</a:t>
            </a:r>
            <a:r>
              <a:rPr kumimoji="0" lang="en-US" sz="2000" b="0" i="0" u="none" strike="noStrike" kern="1200" cap="none" spc="0" normalizeH="0" baseline="0" noProof="0">
                <a:ln>
                  <a:noFill/>
                </a:ln>
                <a:solidFill>
                  <a:srgbClr val="FFFFFF"/>
                </a:solidFill>
                <a:effectLst/>
                <a:uLnTx/>
                <a:uFillTx/>
                <a:latin typeface="Calibri"/>
                <a:ea typeface="+mn-ea"/>
                <a:cs typeface="+mn-cs"/>
              </a:rPr>
              <a:t> la </a:t>
            </a:r>
            <a:r>
              <a:rPr kumimoji="0" lang="en-US" sz="2000" b="0" i="0" u="none" strike="noStrike" kern="1200" cap="none" spc="0" normalizeH="0" baseline="0" noProof="0" err="1">
                <a:ln>
                  <a:noFill/>
                </a:ln>
                <a:solidFill>
                  <a:srgbClr val="FFFFFF"/>
                </a:solidFill>
                <a:effectLst/>
                <a:uLnTx/>
                <a:uFillTx/>
                <a:latin typeface="Calibri"/>
                <a:ea typeface="+mn-ea"/>
                <a:cs typeface="+mn-cs"/>
              </a:rPr>
              <a:t>información</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será</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capaz</a:t>
            </a:r>
            <a:r>
              <a:rPr kumimoji="0" lang="en-US" sz="2000" b="0" i="0" u="none" strike="noStrike" kern="1200" cap="none" spc="0" normalizeH="0" baseline="0" noProof="0">
                <a:ln>
                  <a:noFill/>
                </a:ln>
                <a:solidFill>
                  <a:srgbClr val="FFFFFF"/>
                </a:solidFill>
                <a:effectLst/>
                <a:uLnTx/>
                <a:uFillTx/>
                <a:latin typeface="Calibri"/>
                <a:ea typeface="+mn-ea"/>
                <a:cs typeface="+mn-cs"/>
              </a:rPr>
              <a:t> de </a:t>
            </a:r>
            <a:r>
              <a:rPr kumimoji="0" lang="en-US" sz="2200" b="1" i="0" u="none" strike="noStrike" kern="1200" cap="none" spc="0" normalizeH="0" baseline="0" noProof="0" err="1">
                <a:ln>
                  <a:noFill/>
                </a:ln>
                <a:solidFill>
                  <a:srgbClr val="0097A9"/>
                </a:solidFill>
                <a:effectLst/>
                <a:uLnTx/>
                <a:uFillTx/>
                <a:latin typeface="Calibri"/>
                <a:ea typeface="+mn-ea"/>
                <a:cs typeface="+mn-cs"/>
              </a:rPr>
              <a:t>reconocer</a:t>
            </a:r>
            <a:r>
              <a:rPr kumimoji="0" lang="en-US" sz="2200" b="1" i="0" u="none" strike="noStrike" kern="1200" cap="none" spc="0" normalizeH="0" baseline="0" noProof="0">
                <a:ln>
                  <a:noFill/>
                </a:ln>
                <a:solidFill>
                  <a:srgbClr val="0097A9"/>
                </a:solidFill>
                <a:effectLst/>
                <a:uLnTx/>
                <a:uFillTx/>
                <a:latin typeface="Calibri"/>
                <a:ea typeface="+mn-ea"/>
                <a:cs typeface="+mn-cs"/>
              </a:rPr>
              <a:t> </a:t>
            </a:r>
            <a:r>
              <a:rPr kumimoji="0" lang="en-US" sz="2200" b="1" i="0" u="none" strike="noStrike" kern="1200" cap="none" spc="0" normalizeH="0" baseline="0" noProof="0" err="1">
                <a:ln>
                  <a:noFill/>
                </a:ln>
                <a:solidFill>
                  <a:srgbClr val="0097A9"/>
                </a:solidFill>
                <a:effectLst/>
                <a:uLnTx/>
                <a:uFillTx/>
                <a:latin typeface="Calibri"/>
                <a:ea typeface="+mn-ea"/>
                <a:cs typeface="+mn-cs"/>
              </a:rPr>
              <a:t>patrone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en</a:t>
            </a:r>
            <a:r>
              <a:rPr kumimoji="0" lang="en-US" sz="2000" b="0" i="0" u="none" strike="noStrike" kern="1200" cap="none" spc="0" normalizeH="0" baseline="0" noProof="0">
                <a:ln>
                  <a:noFill/>
                </a:ln>
                <a:solidFill>
                  <a:srgbClr val="FFFFFF"/>
                </a:solidFill>
                <a:effectLst/>
                <a:uLnTx/>
                <a:uFillTx/>
                <a:latin typeface="Calibri"/>
                <a:ea typeface="+mn-ea"/>
                <a:cs typeface="+mn-cs"/>
              </a:rPr>
              <a:t> las </a:t>
            </a:r>
            <a:r>
              <a:rPr kumimoji="0" lang="en-US" sz="2000" b="0" i="0" u="none" strike="noStrike" kern="1200" cap="none" spc="0" normalizeH="0" baseline="0" noProof="0" err="1">
                <a:ln>
                  <a:noFill/>
                </a:ln>
                <a:solidFill>
                  <a:srgbClr val="FFFFFF"/>
                </a:solidFill>
                <a:effectLst/>
                <a:uLnTx/>
                <a:uFillTx/>
                <a:latin typeface="Calibri"/>
                <a:ea typeface="+mn-ea"/>
                <a:cs typeface="+mn-cs"/>
              </a:rPr>
              <a:t>imágenes</a:t>
            </a:r>
            <a:r>
              <a:rPr kumimoji="0" lang="en-US" sz="2000" b="0" i="0" u="none" strike="noStrike" kern="1200" cap="none" spc="0" normalizeH="0" baseline="0" noProof="0">
                <a:ln>
                  <a:noFill/>
                </a:ln>
                <a:solidFill>
                  <a:srgbClr val="FFFFFF"/>
                </a:solidFill>
                <a:effectLst/>
                <a:uLnTx/>
                <a:uFillTx/>
                <a:latin typeface="Calibri"/>
                <a:ea typeface="+mn-ea"/>
                <a:cs typeface="+mn-cs"/>
              </a:rPr>
              <a:t> para </a:t>
            </a:r>
            <a:r>
              <a:rPr kumimoji="0" lang="en-US" sz="2000" b="0" i="0" u="none" strike="noStrike" kern="1200" cap="none" spc="0" normalizeH="0" baseline="0" noProof="0" err="1">
                <a:ln>
                  <a:noFill/>
                </a:ln>
                <a:solidFill>
                  <a:srgbClr val="FFFFFF"/>
                </a:solidFill>
                <a:effectLst/>
                <a:uLnTx/>
                <a:uFillTx/>
                <a:latin typeface="Calibri"/>
                <a:ea typeface="+mn-ea"/>
                <a:cs typeface="+mn-cs"/>
              </a:rPr>
              <a:t>adivinar</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el</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1" u="none" strike="noStrike" kern="1200" cap="none" spc="0" normalizeH="0" baseline="0" noProof="0">
                <a:ln>
                  <a:noFill/>
                </a:ln>
                <a:solidFill>
                  <a:srgbClr val="FFFFFF"/>
                </a:solidFill>
                <a:effectLst/>
                <a:uLnTx/>
                <a:uFillTx/>
                <a:latin typeface="Calibri"/>
                <a:ea typeface="+mn-ea"/>
                <a:cs typeface="+mn-cs"/>
              </a:rPr>
              <a:t>output</a:t>
            </a:r>
            <a:r>
              <a:rPr kumimoji="0" lang="en-US" sz="2000" b="0" i="0" u="none" strike="noStrike" kern="1200" cap="none" spc="0" normalizeH="0" baseline="0" noProof="0">
                <a:ln>
                  <a:noFill/>
                </a:ln>
                <a:solidFill>
                  <a:srgbClr val="FFFFFF"/>
                </a:solidFill>
                <a:effectLst/>
                <a:uLnTx/>
                <a:uFillTx/>
                <a:latin typeface="Calibri"/>
                <a:ea typeface="+mn-ea"/>
                <a:cs typeface="+mn-cs"/>
              </a:rPr>
              <a:t> de </a:t>
            </a:r>
            <a:r>
              <a:rPr kumimoji="0" lang="en-US" sz="2000" b="0" i="0" u="none" strike="noStrike" kern="1200" cap="none" spc="0" normalizeH="0" baseline="0" noProof="0" err="1">
                <a:ln>
                  <a:noFill/>
                </a:ln>
                <a:solidFill>
                  <a:srgbClr val="FFFFFF"/>
                </a:solidFill>
                <a:effectLst/>
                <a:uLnTx/>
                <a:uFillTx/>
                <a:latin typeface="Calibri"/>
                <a:ea typeface="+mn-ea"/>
                <a:cs typeface="+mn-cs"/>
              </a:rPr>
              <a:t>una</a:t>
            </a:r>
            <a:r>
              <a:rPr kumimoji="0" lang="en-US" sz="2000" b="0" i="0" u="none" strike="noStrike" kern="1200" cap="none" spc="0" normalizeH="0" baseline="0" noProof="0">
                <a:ln>
                  <a:noFill/>
                </a:ln>
                <a:solidFill>
                  <a:srgbClr val="FFFFFF"/>
                </a:solidFill>
                <a:effectLst/>
                <a:uLnTx/>
                <a:uFillTx/>
                <a:latin typeface="Calibri"/>
                <a:ea typeface="+mn-ea"/>
                <a:cs typeface="+mn-cs"/>
              </a:rPr>
              <a:t> imagen </a:t>
            </a:r>
            <a:r>
              <a:rPr kumimoji="0" lang="en-US" sz="2000" b="0" i="0" u="none" strike="noStrike" kern="1200" cap="none" spc="0" normalizeH="0" baseline="0" noProof="0" err="1">
                <a:ln>
                  <a:noFill/>
                </a:ln>
                <a:solidFill>
                  <a:srgbClr val="FFFFFF"/>
                </a:solidFill>
                <a:effectLst/>
                <a:uLnTx/>
                <a:uFillTx/>
                <a:latin typeface="Calibri"/>
                <a:ea typeface="+mn-ea"/>
                <a:cs typeface="+mn-cs"/>
              </a:rPr>
              <a:t>totalmente</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nueva</a:t>
            </a:r>
            <a:r>
              <a:rPr kumimoji="0" lang="en-US" sz="2000" b="0" i="0" u="none" strike="noStrike" kern="1200" cap="none" spc="0" normalizeH="0" baseline="0" noProof="0">
                <a:ln>
                  <a:noFill/>
                </a:ln>
                <a:solidFill>
                  <a:srgbClr val="FFFFFF"/>
                </a:solidFill>
                <a:effectLst/>
                <a:uLnTx/>
                <a:uFillTx/>
                <a:latin typeface="Calibri"/>
                <a:ea typeface="+mn-ea"/>
                <a:cs typeface="+mn-cs"/>
              </a:rPr>
              <a: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pic>
        <p:nvPicPr>
          <p:cNvPr id="1028" name="Picture 4" descr="Apple Macbook Pro Maqueta PNG , Portátil De Apple, Laptop ...">
            <a:extLst>
              <a:ext uri="{FF2B5EF4-FFF2-40B4-BE49-F238E27FC236}">
                <a16:creationId xmlns:a16="http://schemas.microsoft.com/office/drawing/2014/main" id="{A47FAA62-923F-1E16-E7B8-84E77D00691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5156" r="94219">
                        <a14:foregroundMark x1="9063" y1="78438" x2="9063" y2="78438"/>
                        <a14:foregroundMark x1="94219" y1="77031" x2="94219" y2="77031"/>
                        <a14:foregroundMark x1="5156" y1="78438" x2="5156" y2="78438"/>
                        <a14:foregroundMark x1="34375" y1="61563" x2="34375" y2="61563"/>
                        <a14:foregroundMark x1="33906" y1="60781" x2="65000" y2="34375"/>
                        <a14:foregroundMark x1="65000" y1="34375" x2="65313" y2="34375"/>
                        <a14:foregroundMark x1="66094" y1="44531" x2="47813" y2="39844"/>
                        <a14:foregroundMark x1="47813" y1="39844" x2="39531" y2="29531"/>
                        <a14:foregroundMark x1="39531" y1="29531" x2="58281" y2="30156"/>
                        <a14:foregroundMark x1="58281" y1="30156" x2="60313" y2="32344"/>
                        <a14:foregroundMark x1="39688" y1="47031" x2="32656" y2="40000"/>
                        <a14:foregroundMark x1="32656" y1="40000" x2="34063" y2="26875"/>
                        <a14:foregroundMark x1="34063" y1="26875" x2="60469" y2="30000"/>
                        <a14:foregroundMark x1="60469" y1="30000" x2="70313" y2="37500"/>
                        <a14:foregroundMark x1="70313" y1="37500" x2="71563" y2="40156"/>
                        <a14:foregroundMark x1="72969" y1="46563" x2="58438" y2="52969"/>
                        <a14:foregroundMark x1="58438" y1="52969" x2="36563" y2="55781"/>
                        <a14:foregroundMark x1="36563" y1="55781" x2="23594" y2="45625"/>
                        <a14:foregroundMark x1="23594" y1="45625" x2="23281" y2="29063"/>
                        <a14:foregroundMark x1="23281" y1="29063" x2="38906" y2="25938"/>
                        <a14:foregroundMark x1="38906" y1="25938" x2="69844" y2="29063"/>
                        <a14:foregroundMark x1="69844" y1="29063" x2="76250" y2="35156"/>
                        <a14:foregroundMark x1="76250" y1="35156" x2="76406" y2="44375"/>
                        <a14:foregroundMark x1="76563" y1="54531" x2="79844" y2="40781"/>
                        <a14:foregroundMark x1="79844" y1="40781" x2="76875" y2="32031"/>
                        <a14:foregroundMark x1="76875" y1="32031" x2="63906" y2="45000"/>
                        <a14:foregroundMark x1="63906" y1="45000" x2="61719" y2="54844"/>
                        <a14:foregroundMark x1="61719" y1="54844" x2="62813" y2="55156"/>
                      </a14:backgroundRemoval>
                    </a14:imgEffect>
                  </a14:imgLayer>
                </a14:imgProps>
              </a:ext>
              <a:ext uri="{28A0092B-C50C-407E-A947-70E740481C1C}">
                <a14:useLocalDpi xmlns:a14="http://schemas.microsoft.com/office/drawing/2010/main" val="0"/>
              </a:ext>
            </a:extLst>
          </a:blip>
          <a:srcRect/>
          <a:stretch>
            <a:fillRect/>
          </a:stretch>
        </p:blipFill>
        <p:spPr bwMode="auto">
          <a:xfrm>
            <a:off x="127000" y="117655"/>
            <a:ext cx="7539093" cy="7539093"/>
          </a:xfrm>
          <a:prstGeom prst="rect">
            <a:avLst/>
          </a:prstGeom>
          <a:noFill/>
          <a:extLst>
            <a:ext uri="{909E8E84-426E-40DD-AFC4-6F175D3DCCD1}">
              <a14:hiddenFill xmlns:a14="http://schemas.microsoft.com/office/drawing/2010/main">
                <a:solidFill>
                  <a:srgbClr val="FFFFFF"/>
                </a:solidFill>
              </a14:hiddenFill>
            </a:ext>
          </a:extLst>
        </p:spPr>
      </p:pic>
      <p:sp>
        <p:nvSpPr>
          <p:cNvPr id="2" name="Freeform 2"/>
          <p:cNvSpPr/>
          <p:nvPr/>
        </p:nvSpPr>
        <p:spPr>
          <a:xfrm>
            <a:off x="1393204" y="1685985"/>
            <a:ext cx="5083797" cy="3051115"/>
          </a:xfrm>
          <a:custGeom>
            <a:avLst/>
            <a:gdLst/>
            <a:ahLst/>
            <a:cxnLst/>
            <a:rect l="l" t="t" r="r" b="b"/>
            <a:pathLst>
              <a:path w="9950933" h="4975466">
                <a:moveTo>
                  <a:pt x="0" y="0"/>
                </a:moveTo>
                <a:lnTo>
                  <a:pt x="9950932" y="0"/>
                </a:lnTo>
                <a:lnTo>
                  <a:pt x="9950932" y="4975467"/>
                </a:lnTo>
                <a:lnTo>
                  <a:pt x="0" y="4975467"/>
                </a:lnTo>
                <a:lnTo>
                  <a:pt x="0" y="0"/>
                </a:lnTo>
                <a:close/>
              </a:path>
            </a:pathLst>
          </a:custGeom>
          <a:blipFill>
            <a:blip r:embed="rId5"/>
            <a:stretch>
              <a:fillRect/>
            </a:stretch>
          </a:blipFill>
        </p:spPr>
      </p:sp>
      <p:grpSp>
        <p:nvGrpSpPr>
          <p:cNvPr id="7" name="Group 6">
            <a:extLst>
              <a:ext uri="{FF2B5EF4-FFF2-40B4-BE49-F238E27FC236}">
                <a16:creationId xmlns:a16="http://schemas.microsoft.com/office/drawing/2014/main" id="{11E1FD59-6EFE-698D-EC08-72DEAF201CFE}"/>
              </a:ext>
            </a:extLst>
          </p:cNvPr>
          <p:cNvGrpSpPr/>
          <p:nvPr/>
        </p:nvGrpSpPr>
        <p:grpSpPr>
          <a:xfrm>
            <a:off x="7666093" y="1841500"/>
            <a:ext cx="4135493" cy="4216399"/>
            <a:chOff x="11627560" y="3135740"/>
            <a:chExt cx="6203240" cy="5709139"/>
          </a:xfrm>
        </p:grpSpPr>
        <p:sp>
          <p:nvSpPr>
            <p:cNvPr id="6" name="Freeform 3">
              <a:extLst>
                <a:ext uri="{FF2B5EF4-FFF2-40B4-BE49-F238E27FC236}">
                  <a16:creationId xmlns:a16="http://schemas.microsoft.com/office/drawing/2014/main" id="{9348F917-0018-F445-3428-0D4A11FDF5E0}"/>
                </a:ext>
              </a:extLst>
            </p:cNvPr>
            <p:cNvSpPr/>
            <p:nvPr/>
          </p:nvSpPr>
          <p:spPr>
            <a:xfrm>
              <a:off x="11627560" y="3135740"/>
              <a:ext cx="6203240" cy="5709139"/>
            </a:xfrm>
            <a:custGeom>
              <a:avLst/>
              <a:gdLst/>
              <a:ahLst/>
              <a:cxnLst/>
              <a:rect l="l" t="t" r="r" b="b"/>
              <a:pathLst>
                <a:path w="1937386" h="1173630">
                  <a:moveTo>
                    <a:pt x="0" y="0"/>
                  </a:moveTo>
                  <a:lnTo>
                    <a:pt x="1937386" y="0"/>
                  </a:lnTo>
                  <a:lnTo>
                    <a:pt x="1937386" y="1173630"/>
                  </a:lnTo>
                  <a:lnTo>
                    <a:pt x="0" y="1173630"/>
                  </a:lnTo>
                  <a:lnTo>
                    <a:pt x="0" y="0"/>
                  </a:lnTo>
                </a:path>
              </a:pathLst>
            </a:custGeom>
            <a:solidFill>
              <a:srgbClr val="070707"/>
            </a:solidFill>
            <a:ln w="9525">
              <a:solidFill>
                <a:srgbClr val="6FC2B4"/>
              </a:solidFill>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 name="TextBox 3"/>
            <p:cNvSpPr txBox="1"/>
            <p:nvPr/>
          </p:nvSpPr>
          <p:spPr>
            <a:xfrm>
              <a:off x="12039600" y="3294689"/>
              <a:ext cx="5334000" cy="5192741"/>
            </a:xfrm>
            <a:prstGeom prst="rect">
              <a:avLst/>
            </a:prstGeom>
          </p:spPr>
          <p:txBody>
            <a:bodyPr wrap="square" lIns="0" tIns="0" rIns="0" bIns="0" rtlCol="0" anchor="t">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a:ea typeface="+mn-ea"/>
                  <a:cs typeface="+mn-cs"/>
                </a:rPr>
                <a:t>El </a:t>
              </a:r>
              <a:r>
                <a:rPr kumimoji="0" lang="en-US" sz="1800" b="0" i="0" u="none" strike="noStrike" kern="1200" cap="none" spc="0" normalizeH="0" baseline="0" noProof="0" err="1">
                  <a:ln>
                    <a:noFill/>
                  </a:ln>
                  <a:solidFill>
                    <a:srgbClr val="FFFFFF"/>
                  </a:solidFill>
                  <a:effectLst/>
                  <a:uLnTx/>
                  <a:uFillTx/>
                  <a:latin typeface="Calibri"/>
                  <a:ea typeface="+mn-ea"/>
                  <a:cs typeface="+mn-cs"/>
                </a:rPr>
                <a:t>aprendizaje</a:t>
              </a:r>
              <a:r>
                <a:rPr kumimoji="0" lang="en-US" sz="1800" b="0" i="0" u="none" strike="noStrike" kern="1200" cap="none" spc="0" normalizeH="0" baseline="0" noProof="0">
                  <a:ln>
                    <a:noFill/>
                  </a:ln>
                  <a:solidFill>
                    <a:srgbClr val="FFFFFF"/>
                  </a:solidFill>
                  <a:effectLst/>
                  <a:uLnTx/>
                  <a:uFillTx/>
                  <a:latin typeface="Calibri"/>
                  <a:ea typeface="+mn-ea"/>
                  <a:cs typeface="+mn-cs"/>
                </a:rPr>
                <a:t> sin </a:t>
              </a:r>
              <a:r>
                <a:rPr kumimoji="0" lang="en-US" sz="1800" b="0" i="0" u="none" strike="noStrike" kern="1200" cap="none" spc="0" normalizeH="0" baseline="0" noProof="0" err="1">
                  <a:ln>
                    <a:noFill/>
                  </a:ln>
                  <a:solidFill>
                    <a:srgbClr val="FFFFFF"/>
                  </a:solidFill>
                  <a:effectLst/>
                  <a:uLnTx/>
                  <a:uFillTx/>
                  <a:latin typeface="Calibri"/>
                  <a:ea typeface="+mn-ea"/>
                  <a:cs typeface="+mn-cs"/>
                </a:rPr>
                <a:t>supervisión</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utiliza</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algoritmos</a:t>
              </a:r>
              <a:r>
                <a:rPr kumimoji="0" lang="en-US" sz="1800" b="0" i="0" u="none" strike="noStrike" kern="1200" cap="none" spc="0" normalizeH="0" baseline="0" noProof="0">
                  <a:ln>
                    <a:noFill/>
                  </a:ln>
                  <a:solidFill>
                    <a:srgbClr val="FFFFFF"/>
                  </a:solidFill>
                  <a:effectLst/>
                  <a:uLnTx/>
                  <a:uFillTx/>
                  <a:latin typeface="Calibri"/>
                  <a:ea typeface="+mn-ea"/>
                  <a:cs typeface="+mn-cs"/>
                </a:rPr>
                <a:t> de </a:t>
              </a:r>
              <a:r>
                <a:rPr kumimoji="0" lang="en-US" sz="2000" b="1" i="1" u="none" strike="noStrike" kern="1200" cap="none" spc="0" normalizeH="0" baseline="0" noProof="0">
                  <a:ln>
                    <a:noFill/>
                  </a:ln>
                  <a:solidFill>
                    <a:srgbClr val="00ABAB"/>
                  </a:solidFill>
                  <a:effectLst/>
                  <a:uLnTx/>
                  <a:uFillTx/>
                  <a:latin typeface="Calibri"/>
                  <a:ea typeface="+mn-ea"/>
                  <a:cs typeface="+mn-cs"/>
                </a:rPr>
                <a:t>machine learning</a:t>
              </a:r>
              <a:r>
                <a:rPr kumimoji="0" lang="en-US" sz="1800" b="0" i="0" u="none" strike="noStrike" kern="1200" cap="none" spc="0" normalizeH="0" baseline="0" noProof="0">
                  <a:ln>
                    <a:noFill/>
                  </a:ln>
                  <a:solidFill>
                    <a:srgbClr val="FFFFFF"/>
                  </a:solidFill>
                  <a:effectLst/>
                  <a:uLnTx/>
                  <a:uFillTx/>
                  <a:latin typeface="Calibri"/>
                  <a:ea typeface="+mn-ea"/>
                  <a:cs typeface="+mn-cs"/>
                </a:rPr>
                <a:t> para </a:t>
              </a:r>
              <a:r>
                <a:rPr kumimoji="0" lang="en-US" sz="1800" b="0" i="0" u="none" strike="noStrike" kern="1200" cap="none" spc="0" normalizeH="0" baseline="0" noProof="0" err="1">
                  <a:ln>
                    <a:noFill/>
                  </a:ln>
                  <a:solidFill>
                    <a:srgbClr val="FFFFFF"/>
                  </a:solidFill>
                  <a:effectLst/>
                  <a:uLnTx/>
                  <a:uFillTx/>
                  <a:latin typeface="Calibri"/>
                  <a:ea typeface="+mn-ea"/>
                  <a:cs typeface="+mn-cs"/>
                </a:rPr>
                <a:t>analizar</a:t>
              </a:r>
              <a:r>
                <a:rPr kumimoji="0" lang="en-US" sz="1800" b="0" i="0" u="none" strike="noStrike" kern="1200" cap="none" spc="0" normalizeH="0" baseline="0" noProof="0">
                  <a:ln>
                    <a:noFill/>
                  </a:ln>
                  <a:solidFill>
                    <a:srgbClr val="FFFFFF"/>
                  </a:solidFill>
                  <a:effectLst/>
                  <a:uLnTx/>
                  <a:uFillTx/>
                  <a:latin typeface="Calibri"/>
                  <a:ea typeface="+mn-ea"/>
                  <a:cs typeface="+mn-cs"/>
                </a:rPr>
                <a:t> y </a:t>
              </a:r>
              <a:r>
                <a:rPr kumimoji="0" lang="en-US" sz="1800" b="0" i="0" u="none" strike="noStrike" kern="1200" cap="none" spc="0" normalizeH="0" baseline="0" noProof="0" err="1">
                  <a:ln>
                    <a:noFill/>
                  </a:ln>
                  <a:solidFill>
                    <a:srgbClr val="FFFFFF"/>
                  </a:solidFill>
                  <a:effectLst/>
                  <a:uLnTx/>
                  <a:uFillTx/>
                  <a:latin typeface="Calibri"/>
                  <a:ea typeface="+mn-ea"/>
                  <a:cs typeface="+mn-cs"/>
                </a:rPr>
                <a:t>agrupar</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1" u="none" strike="noStrike" kern="1200" cap="none" spc="0" normalizeH="0" baseline="0" noProof="0">
                  <a:ln>
                    <a:noFill/>
                  </a:ln>
                  <a:solidFill>
                    <a:srgbClr val="FFFFFF"/>
                  </a:solidFill>
                  <a:effectLst/>
                  <a:uLnTx/>
                  <a:uFillTx/>
                  <a:latin typeface="Calibri"/>
                  <a:ea typeface="+mn-ea"/>
                  <a:cs typeface="+mn-cs"/>
                </a:rPr>
                <a:t>datasets</a:t>
              </a:r>
              <a:r>
                <a:rPr kumimoji="0" lang="en-US" sz="1800" b="0" i="0" u="none" strike="noStrike" kern="1200" cap="none" spc="0" normalizeH="0" baseline="0" noProof="0">
                  <a:ln>
                    <a:noFill/>
                  </a:ln>
                  <a:solidFill>
                    <a:srgbClr val="FFFFFF"/>
                  </a:solidFill>
                  <a:effectLst/>
                  <a:uLnTx/>
                  <a:uFillTx/>
                  <a:latin typeface="Calibri"/>
                  <a:ea typeface="+mn-ea"/>
                  <a:cs typeface="+mn-cs"/>
                </a:rPr>
                <a:t> sin </a:t>
              </a:r>
              <a:r>
                <a:rPr kumimoji="0" lang="en-US" sz="1800" b="0" i="0" u="none" strike="noStrike" kern="1200" cap="none" spc="0" normalizeH="0" baseline="0" noProof="0" err="1">
                  <a:ln>
                    <a:noFill/>
                  </a:ln>
                  <a:solidFill>
                    <a:srgbClr val="FFFFFF"/>
                  </a:solidFill>
                  <a:effectLst/>
                  <a:uLnTx/>
                  <a:uFillTx/>
                  <a:latin typeface="Calibri"/>
                  <a:ea typeface="+mn-ea"/>
                  <a:cs typeface="+mn-cs"/>
                </a:rPr>
                <a:t>etiquetar</a:t>
              </a:r>
              <a:r>
                <a:rPr kumimoji="0" lang="en-US" sz="1800" b="0" i="0" u="none" strike="noStrike" kern="1200" cap="none" spc="0" normalizeH="0" baseline="0" noProof="0">
                  <a:ln>
                    <a:noFill/>
                  </a:ln>
                  <a:solidFill>
                    <a:srgbClr val="FFFFFF"/>
                  </a:solidFill>
                  <a:effectLst/>
                  <a:uLnTx/>
                  <a:uFillTx/>
                  <a:latin typeface="Calibri"/>
                  <a:ea typeface="+mn-ea"/>
                  <a:cs typeface="+mn-cs"/>
                </a:rPr>
                <a:t>.</a:t>
              </a:r>
            </a:p>
            <a:p>
              <a:pPr marL="0" marR="0" lvl="0" indent="0" algn="l" defTabSz="60963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FFFF"/>
                  </a:solidFill>
                  <a:effectLst/>
                  <a:uLnTx/>
                  <a:uFillTx/>
                  <a:latin typeface="Calibri"/>
                  <a:ea typeface="+mn-ea"/>
                  <a:cs typeface="+mn-cs"/>
                </a:rPr>
                <a:t>Estos</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algoritmos</a:t>
              </a:r>
              <a:r>
                <a:rPr kumimoji="0" lang="en-US" sz="1800" b="0" i="0" u="none" strike="noStrike" kern="1200" cap="none" spc="0" normalizeH="0" baseline="0" noProof="0">
                  <a:ln>
                    <a:noFill/>
                  </a:ln>
                  <a:solidFill>
                    <a:srgbClr val="FFFFFF"/>
                  </a:solidFill>
                  <a:effectLst/>
                  <a:uLnTx/>
                  <a:uFillTx/>
                  <a:latin typeface="Calibri"/>
                  <a:ea typeface="+mn-ea"/>
                  <a:cs typeface="+mn-cs"/>
                </a:rPr>
                <a:t> se </a:t>
              </a:r>
              <a:r>
                <a:rPr kumimoji="0" lang="en-US" sz="1800" b="0" i="0" u="none" strike="noStrike" kern="1200" cap="none" spc="0" normalizeH="0" baseline="0" noProof="0" err="1">
                  <a:ln>
                    <a:noFill/>
                  </a:ln>
                  <a:solidFill>
                    <a:srgbClr val="FFFFFF"/>
                  </a:solidFill>
                  <a:effectLst/>
                  <a:uLnTx/>
                  <a:uFillTx/>
                  <a:latin typeface="Calibri"/>
                  <a:ea typeface="+mn-ea"/>
                  <a:cs typeface="+mn-cs"/>
                </a:rPr>
                <a:t>encargan</a:t>
              </a:r>
              <a:r>
                <a:rPr kumimoji="0" lang="en-US" sz="1800" b="0" i="0" u="none" strike="noStrike" kern="1200" cap="none" spc="0" normalizeH="0" baseline="0" noProof="0">
                  <a:ln>
                    <a:noFill/>
                  </a:ln>
                  <a:solidFill>
                    <a:srgbClr val="FFFFFF"/>
                  </a:solidFill>
                  <a:effectLst/>
                  <a:uLnTx/>
                  <a:uFillTx/>
                  <a:latin typeface="Calibri"/>
                  <a:ea typeface="+mn-ea"/>
                  <a:cs typeface="+mn-cs"/>
                </a:rPr>
                <a:t> de </a:t>
              </a:r>
              <a:r>
                <a:rPr kumimoji="0" lang="en-US" sz="2000" b="1" i="0" u="none" strike="noStrike" kern="1200" cap="none" spc="0" normalizeH="0" baseline="0" noProof="0" err="1">
                  <a:ln>
                    <a:noFill/>
                  </a:ln>
                  <a:solidFill>
                    <a:srgbClr val="00ABAB"/>
                  </a:solidFill>
                  <a:effectLst/>
                  <a:uLnTx/>
                  <a:uFillTx/>
                  <a:latin typeface="Calibri"/>
                  <a:ea typeface="+mn-ea"/>
                  <a:cs typeface="+mn-cs"/>
                </a:rPr>
                <a:t>encontrar</a:t>
              </a:r>
              <a:r>
                <a:rPr kumimoji="0" lang="en-US" sz="2000" b="1" i="0" u="none" strike="noStrike" kern="1200" cap="none" spc="0" normalizeH="0" baseline="0" noProof="0">
                  <a:ln>
                    <a:noFill/>
                  </a:ln>
                  <a:solidFill>
                    <a:srgbClr val="00ABAB"/>
                  </a:solidFill>
                  <a:effectLst/>
                  <a:uLnTx/>
                  <a:uFillTx/>
                  <a:latin typeface="Calibri"/>
                  <a:ea typeface="+mn-ea"/>
                  <a:cs typeface="+mn-cs"/>
                </a:rPr>
                <a:t> </a:t>
              </a:r>
              <a:r>
                <a:rPr kumimoji="0" lang="en-US" sz="2000" b="1" i="0" u="none" strike="noStrike" kern="1200" cap="none" spc="0" normalizeH="0" baseline="0" noProof="0" err="1">
                  <a:ln>
                    <a:noFill/>
                  </a:ln>
                  <a:solidFill>
                    <a:srgbClr val="00ABAB"/>
                  </a:solidFill>
                  <a:effectLst/>
                  <a:uLnTx/>
                  <a:uFillTx/>
                  <a:latin typeface="Calibri"/>
                  <a:ea typeface="+mn-ea"/>
                  <a:cs typeface="+mn-cs"/>
                </a:rPr>
                <a:t>patrones</a:t>
              </a:r>
              <a:r>
                <a:rPr kumimoji="0" lang="en-US" sz="2000" b="1" i="0" u="none" strike="noStrike" kern="1200" cap="none" spc="0" normalizeH="0" baseline="0" noProof="0">
                  <a:ln>
                    <a:noFill/>
                  </a:ln>
                  <a:solidFill>
                    <a:srgbClr val="00ABAB"/>
                  </a:solidFill>
                  <a:effectLst/>
                  <a:uLnTx/>
                  <a:uFillTx/>
                  <a:latin typeface="Calibri"/>
                  <a:ea typeface="+mn-ea"/>
                  <a:cs typeface="+mn-cs"/>
                </a:rPr>
                <a:t> </a:t>
              </a:r>
              <a:r>
                <a:rPr kumimoji="0" lang="en-US" sz="2000" b="1" i="0" u="none" strike="noStrike" kern="1200" cap="none" spc="0" normalizeH="0" baseline="0" noProof="0" err="1">
                  <a:ln>
                    <a:noFill/>
                  </a:ln>
                  <a:solidFill>
                    <a:srgbClr val="00ABAB"/>
                  </a:solidFill>
                  <a:effectLst/>
                  <a:uLnTx/>
                  <a:uFillTx/>
                  <a:latin typeface="Calibri"/>
                  <a:ea typeface="+mn-ea"/>
                  <a:cs typeface="+mn-cs"/>
                </a:rPr>
                <a:t>en</a:t>
              </a:r>
              <a:r>
                <a:rPr kumimoji="0" lang="en-US" sz="2000" b="1" i="0" u="none" strike="noStrike" kern="1200" cap="none" spc="0" normalizeH="0" baseline="0" noProof="0">
                  <a:ln>
                    <a:noFill/>
                  </a:ln>
                  <a:solidFill>
                    <a:srgbClr val="00ABAB"/>
                  </a:solidFill>
                  <a:effectLst/>
                  <a:uLnTx/>
                  <a:uFillTx/>
                  <a:latin typeface="Calibri"/>
                  <a:ea typeface="+mn-ea"/>
                  <a:cs typeface="+mn-cs"/>
                </a:rPr>
                <a:t> </a:t>
              </a:r>
              <a:r>
                <a:rPr kumimoji="0" lang="en-US" sz="2000" b="1" i="0" u="none" strike="noStrike" kern="1200" cap="none" spc="0" normalizeH="0" baseline="0" noProof="0" err="1">
                  <a:ln>
                    <a:noFill/>
                  </a:ln>
                  <a:solidFill>
                    <a:srgbClr val="00ABAB"/>
                  </a:solidFill>
                  <a:effectLst/>
                  <a:uLnTx/>
                  <a:uFillTx/>
                  <a:latin typeface="Calibri"/>
                  <a:ea typeface="+mn-ea"/>
                  <a:cs typeface="+mn-cs"/>
                </a:rPr>
                <a:t>los</a:t>
              </a:r>
              <a:r>
                <a:rPr kumimoji="0" lang="en-US" sz="2000" b="1" i="0" u="none" strike="noStrike" kern="1200" cap="none" spc="0" normalizeH="0" baseline="0" noProof="0">
                  <a:ln>
                    <a:noFill/>
                  </a:ln>
                  <a:solidFill>
                    <a:srgbClr val="00ABAB"/>
                  </a:solidFill>
                  <a:effectLst/>
                  <a:uLnTx/>
                  <a:uFillTx/>
                  <a:latin typeface="Calibri"/>
                  <a:ea typeface="+mn-ea"/>
                  <a:cs typeface="+mn-cs"/>
                </a:rPr>
                <a:t> </a:t>
              </a:r>
              <a:r>
                <a:rPr kumimoji="0" lang="en-US" sz="2000" b="1" i="0" u="none" strike="noStrike" kern="1200" cap="none" spc="0" normalizeH="0" baseline="0" noProof="0" err="1">
                  <a:ln>
                    <a:noFill/>
                  </a:ln>
                  <a:solidFill>
                    <a:srgbClr val="00ABAB"/>
                  </a:solidFill>
                  <a:effectLst/>
                  <a:uLnTx/>
                  <a:uFillTx/>
                  <a:latin typeface="Calibri"/>
                  <a:ea typeface="+mn-ea"/>
                  <a:cs typeface="+mn-cs"/>
                </a:rPr>
                <a:t>datos</a:t>
              </a:r>
              <a:r>
                <a:rPr kumimoji="0" lang="en-US" sz="1800" b="0" i="0" u="none" strike="noStrike" kern="1200" cap="none" spc="0" normalizeH="0" baseline="0" noProof="0">
                  <a:ln>
                    <a:noFill/>
                  </a:ln>
                  <a:solidFill>
                    <a:srgbClr val="FFFFFF"/>
                  </a:solidFill>
                  <a:effectLst/>
                  <a:uLnTx/>
                  <a:uFillTx/>
                  <a:latin typeface="Calibri"/>
                  <a:ea typeface="+mn-ea"/>
                  <a:cs typeface="+mn-cs"/>
                </a:rPr>
                <a:t>  para </a:t>
              </a:r>
              <a:r>
                <a:rPr kumimoji="0" lang="en-US" sz="1800" b="0" i="0" u="none" strike="noStrike" kern="1200" cap="none" spc="0" normalizeH="0" baseline="0" noProof="0" err="1">
                  <a:ln>
                    <a:noFill/>
                  </a:ln>
                  <a:solidFill>
                    <a:srgbClr val="FFFFFF"/>
                  </a:solidFill>
                  <a:effectLst/>
                  <a:uLnTx/>
                  <a:uFillTx/>
                  <a:latin typeface="Calibri"/>
                  <a:ea typeface="+mn-ea"/>
                  <a:cs typeface="+mn-cs"/>
                </a:rPr>
                <a:t>así</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poder</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2000" b="1" i="0" u="none" strike="noStrike" kern="1200" cap="none" spc="0" normalizeH="0" baseline="0" noProof="0" err="1">
                  <a:ln>
                    <a:noFill/>
                  </a:ln>
                  <a:solidFill>
                    <a:srgbClr val="00ABAB"/>
                  </a:solidFill>
                  <a:effectLst/>
                  <a:uLnTx/>
                  <a:uFillTx/>
                  <a:latin typeface="Calibri"/>
                  <a:ea typeface="+mn-ea"/>
                  <a:cs typeface="+mn-cs"/>
                </a:rPr>
                <a:t>clasificarlos</a:t>
              </a:r>
              <a:r>
                <a:rPr kumimoji="0" lang="en-US" sz="1800" b="0" i="0" u="none" strike="noStrike" kern="1200" cap="none" spc="0" normalizeH="0" baseline="0" noProof="0">
                  <a:ln>
                    <a:noFill/>
                  </a:ln>
                  <a:solidFill>
                    <a:srgbClr val="FFFFFF"/>
                  </a:solidFill>
                  <a:effectLst/>
                  <a:uLnTx/>
                  <a:uFillTx/>
                  <a:latin typeface="Calibri"/>
                  <a:ea typeface="+mn-ea"/>
                  <a:cs typeface="+mn-cs"/>
                </a:rPr>
                <a:t> sin la </a:t>
              </a:r>
              <a:r>
                <a:rPr kumimoji="0" lang="en-US" sz="1800" b="0" i="0" u="none" strike="noStrike" kern="1200" cap="none" spc="0" normalizeH="0" baseline="0" noProof="0" err="1">
                  <a:ln>
                    <a:noFill/>
                  </a:ln>
                  <a:solidFill>
                    <a:srgbClr val="FFFFFF"/>
                  </a:solidFill>
                  <a:effectLst/>
                  <a:uLnTx/>
                  <a:uFillTx/>
                  <a:latin typeface="Calibri"/>
                  <a:ea typeface="+mn-ea"/>
                  <a:cs typeface="+mn-cs"/>
                </a:rPr>
                <a:t>intervención</a:t>
              </a:r>
              <a:r>
                <a:rPr kumimoji="0" lang="en-US" sz="1800" b="0" i="0" u="none" strike="noStrike" kern="1200" cap="none" spc="0" normalizeH="0" baseline="0" noProof="0">
                  <a:ln>
                    <a:noFill/>
                  </a:ln>
                  <a:solidFill>
                    <a:srgbClr val="FFFFFF"/>
                  </a:solidFill>
                  <a:effectLst/>
                  <a:uLnTx/>
                  <a:uFillTx/>
                  <a:latin typeface="Calibri"/>
                  <a:ea typeface="+mn-ea"/>
                  <a:cs typeface="+mn-cs"/>
                </a:rPr>
                <a:t> del </a:t>
              </a:r>
              <a:r>
                <a:rPr kumimoji="0" lang="en-US" sz="1800" b="0" i="0" u="none" strike="noStrike" kern="1200" cap="none" spc="0" normalizeH="0" baseline="0" noProof="0" err="1">
                  <a:ln>
                    <a:noFill/>
                  </a:ln>
                  <a:solidFill>
                    <a:srgbClr val="FFFFFF"/>
                  </a:solidFill>
                  <a:effectLst/>
                  <a:uLnTx/>
                  <a:uFillTx/>
                  <a:latin typeface="Calibri"/>
                  <a:ea typeface="+mn-ea"/>
                  <a:cs typeface="+mn-cs"/>
                </a:rPr>
                <a:t>humano</a:t>
              </a:r>
              <a:r>
                <a:rPr kumimoji="0" lang="en-US" sz="1800" b="0" i="0" u="none" strike="noStrike" kern="1200" cap="none" spc="0" normalizeH="0" baseline="0" noProof="0">
                  <a:ln>
                    <a:noFill/>
                  </a:ln>
                  <a:solidFill>
                    <a:srgbClr val="FFFFFF"/>
                  </a:solidFill>
                  <a:effectLst/>
                  <a:uLnTx/>
                  <a:uFillTx/>
                  <a:latin typeface="Calibri"/>
                  <a:ea typeface="+mn-ea"/>
                  <a:cs typeface="+mn-cs"/>
                </a:rPr>
                <a:t>.</a:t>
              </a:r>
            </a:p>
          </p:txBody>
        </p:sp>
      </p:grpSp>
      <p:sp>
        <p:nvSpPr>
          <p:cNvPr id="4" name="TextBox 4"/>
          <p:cNvSpPr txBox="1"/>
          <p:nvPr/>
        </p:nvSpPr>
        <p:spPr>
          <a:xfrm>
            <a:off x="464275" y="238797"/>
            <a:ext cx="7984265" cy="724429"/>
          </a:xfrm>
          <a:prstGeom prst="rect">
            <a:avLst/>
          </a:prstGeom>
        </p:spPr>
        <p:txBody>
          <a:bodyPr lIns="0" tIns="0" rIns="0" bIns="0" rtlCol="0" anchor="t">
            <a:spAutoFit/>
          </a:bodyPr>
          <a:lstStyle/>
          <a:p>
            <a:pPr marL="0" marR="0" lvl="0" indent="0" algn="l" defTabSz="609630" rtl="0" eaLnBrk="1" fontAlgn="auto" latinLnBrk="0" hangingPunct="1">
              <a:lnSpc>
                <a:spcPts val="6534"/>
              </a:lnSpc>
              <a:spcBef>
                <a:spcPts val="0"/>
              </a:spcBef>
              <a:spcAft>
                <a:spcPts val="0"/>
              </a:spcAft>
              <a:buClrTx/>
              <a:buSzTx/>
              <a:buFontTx/>
              <a:buNone/>
              <a:tabLst/>
              <a:defRPr/>
            </a:pP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Aprendizaje</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sin </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supervisión</a:t>
            </a:r>
            <a:endPar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E3FDD13-8968-288C-C40C-784070AE70A7}"/>
              </a:ext>
            </a:extLst>
          </p:cNvPr>
          <p:cNvSpPr/>
          <p:nvPr/>
        </p:nvSpPr>
        <p:spPr>
          <a:xfrm>
            <a:off x="4967790" y="2886818"/>
            <a:ext cx="7238035" cy="1473200"/>
          </a:xfrm>
          <a:prstGeom prst="rect">
            <a:avLst/>
          </a:prstGeom>
          <a:solidFill>
            <a:srgbClr val="6FC2B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38915" name="TextBox 4">
            <a:extLst>
              <a:ext uri="{FF2B5EF4-FFF2-40B4-BE49-F238E27FC236}">
                <a16:creationId xmlns:a16="http://schemas.microsoft.com/office/drawing/2014/main" id="{DC34E169-4084-33B1-DC7E-1BB27BAE05C4}"/>
              </a:ext>
            </a:extLst>
          </p:cNvPr>
          <p:cNvSpPr txBox="1">
            <a:spLocks noChangeArrowheads="1"/>
          </p:cNvSpPr>
          <p:nvPr/>
        </p:nvSpPr>
        <p:spPr bwMode="auto">
          <a:xfrm>
            <a:off x="6676667" y="3156893"/>
            <a:ext cx="3924300" cy="84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09600">
              <a:spcBef>
                <a:spcPct val="2000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09600">
              <a:spcBef>
                <a:spcPct val="20000"/>
              </a:spcBef>
              <a:buFont typeface="Arial" panose="020B0604020202020204" pitchFamily="34" charset="0"/>
              <a:buChar char="–"/>
              <a:defRPr>
                <a:solidFill>
                  <a:schemeClr val="tx1"/>
                </a:solidFill>
                <a:latin typeface="Calibri" panose="020F0502020204030204" pitchFamily="34" charset="0"/>
              </a:defRPr>
            </a:lvl2pPr>
            <a:lvl3pPr marL="1143000" indent="-228600" defTabSz="609600">
              <a:spcBef>
                <a:spcPct val="20000"/>
              </a:spcBef>
              <a:buFont typeface="Arial" panose="020B0604020202020204" pitchFamily="34" charset="0"/>
              <a:buChar char="•"/>
              <a:defRPr sz="1600">
                <a:solidFill>
                  <a:schemeClr val="tx1"/>
                </a:solidFill>
                <a:latin typeface="Calibri" panose="020F0502020204030204" pitchFamily="34" charset="0"/>
              </a:defRPr>
            </a:lvl3pPr>
            <a:lvl4pPr marL="1600200" indent="-228600" defTabSz="609600">
              <a:spcBef>
                <a:spcPct val="20000"/>
              </a:spcBef>
              <a:buFont typeface="Arial" panose="020B0604020202020204" pitchFamily="34" charset="0"/>
              <a:buChar char="–"/>
              <a:defRPr sz="1300">
                <a:solidFill>
                  <a:schemeClr val="tx1"/>
                </a:solidFill>
                <a:latin typeface="Calibri" panose="020F0502020204030204" pitchFamily="34" charset="0"/>
              </a:defRPr>
            </a:lvl4pPr>
            <a:lvl5pPr marL="2057400" indent="-228600" defTabSz="609600">
              <a:spcBef>
                <a:spcPct val="20000"/>
              </a:spcBef>
              <a:buFont typeface="Arial" panose="020B0604020202020204" pitchFamily="34" charset="0"/>
              <a:buChar char="»"/>
              <a:defRPr sz="1300">
                <a:solidFill>
                  <a:schemeClr val="tx1"/>
                </a:solidFill>
                <a:latin typeface="Calibri" panose="020F0502020204030204" pitchFamily="34" charset="0"/>
              </a:defRPr>
            </a:lvl5pPr>
            <a:lvl6pPr marL="2514600" indent="-228600" defTabSz="609600" eaLnBrk="0" fontAlgn="base" hangingPunct="0">
              <a:spcBef>
                <a:spcPct val="20000"/>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defTabSz="609600" eaLnBrk="0" fontAlgn="base" hangingPunct="0">
              <a:spcBef>
                <a:spcPct val="20000"/>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defTabSz="609600" eaLnBrk="0" fontAlgn="base" hangingPunct="0">
              <a:spcBef>
                <a:spcPct val="20000"/>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defTabSz="609600" eaLnBrk="0" fontAlgn="base" hangingPunct="0">
              <a:spcBef>
                <a:spcPct val="20000"/>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marL="0" marR="0" lvl="0" indent="0" algn="ctr" defTabSz="609600" rtl="0" eaLnBrk="1" fontAlgn="base" latinLnBrk="0" hangingPunct="1">
              <a:lnSpc>
                <a:spcPts val="7000"/>
              </a:lnSpc>
              <a:spcBef>
                <a:spcPct val="0"/>
              </a:spcBef>
              <a:spcAft>
                <a:spcPct val="0"/>
              </a:spcAft>
              <a:buClrTx/>
              <a:buSzTx/>
              <a:buFontTx/>
              <a:buNone/>
              <a:tabLst/>
              <a:defRPr/>
            </a:pPr>
            <a:r>
              <a:rPr kumimoji="0" lang="en-US" altLang="en-US" sz="5000" b="1" i="0" u="none" strike="noStrike" kern="1200" cap="none" spc="0" normalizeH="0" baseline="0" noProof="0">
                <a:ln>
                  <a:noFill/>
                </a:ln>
                <a:solidFill>
                  <a:srgbClr val="FFFFFF"/>
                </a:solidFill>
                <a:effectLst/>
                <a:uLnTx/>
                <a:uFillTx/>
                <a:latin typeface="Calibri" panose="020F0502020204030204" pitchFamily="34" charset="0"/>
                <a:ea typeface="+mn-ea"/>
                <a:cs typeface="+mn-cs"/>
              </a:rPr>
              <a:t>Chat GPT</a:t>
            </a:r>
          </a:p>
        </p:txBody>
      </p:sp>
      <p:sp>
        <p:nvSpPr>
          <p:cNvPr id="2" name="Freeform 2">
            <a:extLst>
              <a:ext uri="{FF2B5EF4-FFF2-40B4-BE49-F238E27FC236}">
                <a16:creationId xmlns:a16="http://schemas.microsoft.com/office/drawing/2014/main" id="{3A1537B9-3FD0-4FFD-30AC-8B2847AC33DA}"/>
              </a:ext>
            </a:extLst>
          </p:cNvPr>
          <p:cNvSpPr/>
          <p:nvPr/>
        </p:nvSpPr>
        <p:spPr bwMode="auto">
          <a:xfrm>
            <a:off x="982121" y="1192195"/>
            <a:ext cx="4718893" cy="4718893"/>
          </a:xfrm>
          <a:prstGeom prst="ellipse">
            <a:avLst/>
          </a:prstGeom>
          <a:blipFill>
            <a:blip r:embed="rId2"/>
            <a:srcRect/>
            <a:stretch>
              <a:fillRect l="-74403" t="-7576" r="-74781" b="-43397"/>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sp>
        <p:nvSpPr>
          <p:cNvPr id="3" name="Freeform 3"/>
          <p:cNvSpPr/>
          <p:nvPr/>
        </p:nvSpPr>
        <p:spPr>
          <a:xfrm>
            <a:off x="2489200" y="3530600"/>
            <a:ext cx="6883400" cy="3073400"/>
          </a:xfrm>
          <a:custGeom>
            <a:avLst/>
            <a:gdLst/>
            <a:ahLst/>
            <a:cxnLst/>
            <a:rect l="l" t="t" r="r" b="b"/>
            <a:pathLst>
              <a:path w="6664239" h="2927469">
                <a:moveTo>
                  <a:pt x="0" y="0"/>
                </a:moveTo>
                <a:lnTo>
                  <a:pt x="6664239" y="0"/>
                </a:lnTo>
                <a:lnTo>
                  <a:pt x="6664239" y="2927470"/>
                </a:lnTo>
                <a:lnTo>
                  <a:pt x="0" y="2927470"/>
                </a:lnTo>
                <a:lnTo>
                  <a:pt x="0" y="0"/>
                </a:lnTo>
                <a:close/>
              </a:path>
            </a:pathLst>
          </a:custGeom>
          <a:blipFill>
            <a:blip r:embed="rId2"/>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704861" y="388312"/>
            <a:ext cx="2336800" cy="570541"/>
          </a:xfrm>
          <a:prstGeom prst="rect">
            <a:avLst/>
          </a:prstGeom>
        </p:spPr>
        <p:txBody>
          <a:bodyPr wrap="square" lIns="0" tIns="0" rIns="0" bIns="0" rtlCol="0" anchor="t">
            <a:spAutoFit/>
          </a:bodyPr>
          <a:lstStyle/>
          <a:p>
            <a:pPr marL="0" marR="0" lvl="0" indent="0" algn="ctr" defTabSz="609630" rtl="0" eaLnBrk="1" fontAlgn="auto" latinLnBrk="0" hangingPunct="1">
              <a:lnSpc>
                <a:spcPts val="4853"/>
              </a:lnSpc>
              <a:spcBef>
                <a:spcPts val="0"/>
              </a:spcBef>
              <a:spcAft>
                <a:spcPts val="0"/>
              </a:spcAft>
              <a:buClrTx/>
              <a:buSzTx/>
              <a:buFontTx/>
              <a:buNone/>
              <a:tabLst/>
              <a:defRPr/>
            </a:pP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Qué</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es?</a:t>
            </a:r>
          </a:p>
        </p:txBody>
      </p:sp>
      <p:sp>
        <p:nvSpPr>
          <p:cNvPr id="5" name="TextBox 5"/>
          <p:cNvSpPr txBox="1"/>
          <p:nvPr/>
        </p:nvSpPr>
        <p:spPr>
          <a:xfrm>
            <a:off x="474432" y="1152957"/>
            <a:ext cx="4673600" cy="788036"/>
          </a:xfrm>
          <a:prstGeom prst="rect">
            <a:avLst/>
          </a:prstGeom>
        </p:spPr>
        <p:txBody>
          <a:bodyPr wrap="square" lIns="0" tIns="0" rIns="0" bIns="0" rtlCol="0" anchor="t">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Un </a:t>
            </a:r>
            <a:r>
              <a:rPr kumimoji="0" lang="en-US" sz="1800" b="0" i="0" u="none" strike="noStrike" kern="1200" cap="none" spc="0" normalizeH="0" baseline="0" noProof="0" err="1">
                <a:ln>
                  <a:noFill/>
                </a:ln>
                <a:solidFill>
                  <a:srgbClr val="FFFFFF"/>
                </a:solidFill>
                <a:effectLst/>
                <a:uLnTx/>
                <a:uFillTx/>
                <a:latin typeface="Calibri" panose="020F0502020204030204" pitchFamily="34" charset="0"/>
                <a:ea typeface="+mn-ea"/>
                <a:cs typeface="Calibri" panose="020F0502020204030204" pitchFamily="34" charset="0"/>
              </a:rPr>
              <a:t>modelo</a:t>
            </a: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de </a:t>
            </a:r>
            <a:r>
              <a:rPr kumimoji="0" lang="en-US" sz="1800" b="0" i="0" u="none" strike="noStrike" kern="1200" cap="none" spc="0" normalizeH="0" baseline="0" noProof="0" err="1">
                <a:ln>
                  <a:noFill/>
                </a:ln>
                <a:solidFill>
                  <a:srgbClr val="FFFFFF"/>
                </a:solidFill>
                <a:effectLst/>
                <a:uLnTx/>
                <a:uFillTx/>
                <a:latin typeface="Calibri" panose="020F0502020204030204" pitchFamily="34" charset="0"/>
                <a:ea typeface="+mn-ea"/>
                <a:cs typeface="Calibri" panose="020F0502020204030204" pitchFamily="34" charset="0"/>
              </a:rPr>
              <a:t>lenguaje</a:t>
            </a: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US" sz="1800" b="0" i="0" u="none" strike="noStrike" kern="1200" cap="none" spc="0" normalizeH="0" baseline="0" noProof="0" err="1">
                <a:ln>
                  <a:noFill/>
                </a:ln>
                <a:solidFill>
                  <a:srgbClr val="FFFFFF"/>
                </a:solidFill>
                <a:effectLst/>
                <a:uLnTx/>
                <a:uFillTx/>
                <a:latin typeface="Calibri" panose="020F0502020204030204" pitchFamily="34" charset="0"/>
                <a:ea typeface="+mn-ea"/>
                <a:cs typeface="Calibri" panose="020F0502020204030204" pitchFamily="34" charset="0"/>
              </a:rPr>
              <a:t>predictivo</a:t>
            </a: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US" sz="1800" b="0" i="0" u="none" strike="noStrike" kern="1200" cap="none" spc="0" normalizeH="0" baseline="0" noProof="0" err="1">
                <a:ln>
                  <a:noFill/>
                </a:ln>
                <a:solidFill>
                  <a:srgbClr val="FFFFFF"/>
                </a:solidFill>
                <a:effectLst/>
                <a:uLnTx/>
                <a:uFillTx/>
                <a:latin typeface="Calibri" panose="020F0502020204030204" pitchFamily="34" charset="0"/>
                <a:ea typeface="+mn-ea"/>
                <a:cs typeface="Calibri" panose="020F0502020204030204" pitchFamily="34" charset="0"/>
              </a:rPr>
              <a:t>basado</a:t>
            </a: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US" sz="1800" b="0" i="0" u="none" strike="noStrike" kern="1200" cap="none" spc="0" normalizeH="0" baseline="0" noProof="0" err="1">
                <a:ln>
                  <a:noFill/>
                </a:ln>
                <a:solidFill>
                  <a:srgbClr val="FFFFFF"/>
                </a:solidFill>
                <a:effectLst/>
                <a:uLnTx/>
                <a:uFillTx/>
                <a:latin typeface="Calibri" panose="020F0502020204030204" pitchFamily="34" charset="0"/>
                <a:ea typeface="+mn-ea"/>
                <a:cs typeface="Calibri" panose="020F0502020204030204" pitchFamily="34" charset="0"/>
              </a:rPr>
              <a:t>en</a:t>
            </a: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un chatbot </a:t>
            </a:r>
            <a:r>
              <a:rPr kumimoji="0" lang="en-US" sz="1800" b="0" i="0" u="none" strike="noStrike" kern="1200" cap="none" spc="0" normalizeH="0" baseline="0" noProof="0" err="1">
                <a:ln>
                  <a:noFill/>
                </a:ln>
                <a:solidFill>
                  <a:srgbClr val="FFFFFF"/>
                </a:solidFill>
                <a:effectLst/>
                <a:uLnTx/>
                <a:uFillTx/>
                <a:latin typeface="Calibri" panose="020F0502020204030204" pitchFamily="34" charset="0"/>
                <a:ea typeface="+mn-ea"/>
                <a:cs typeface="Calibri" panose="020F0502020204030204" pitchFamily="34" charset="0"/>
              </a:rPr>
              <a:t>desarrollado</a:t>
            </a: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US" sz="1800" b="0" i="0" u="none" strike="noStrike" kern="1200" cap="none" spc="0" normalizeH="0" baseline="0" noProof="0" err="1">
                <a:ln>
                  <a:noFill/>
                </a:ln>
                <a:solidFill>
                  <a:srgbClr val="FFFFFF"/>
                </a:solidFill>
                <a:effectLst/>
                <a:uLnTx/>
                <a:uFillTx/>
                <a:latin typeface="Calibri" panose="020F0502020204030204" pitchFamily="34" charset="0"/>
                <a:ea typeface="+mn-ea"/>
                <a:cs typeface="Calibri" panose="020F0502020204030204" pitchFamily="34" charset="0"/>
              </a:rPr>
              <a:t>por</a:t>
            </a: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Open AI. </a:t>
            </a:r>
          </a:p>
        </p:txBody>
      </p:sp>
      <p:sp>
        <p:nvSpPr>
          <p:cNvPr id="7" name="TextBox 6">
            <a:extLst>
              <a:ext uri="{FF2B5EF4-FFF2-40B4-BE49-F238E27FC236}">
                <a16:creationId xmlns:a16="http://schemas.microsoft.com/office/drawing/2014/main" id="{BCC35242-DA4B-C108-C11A-67D3478AF64F}"/>
              </a:ext>
            </a:extLst>
          </p:cNvPr>
          <p:cNvSpPr txBox="1"/>
          <p:nvPr/>
        </p:nvSpPr>
        <p:spPr>
          <a:xfrm>
            <a:off x="6424669" y="504549"/>
            <a:ext cx="6096000" cy="480131"/>
          </a:xfrm>
          <a:prstGeom prst="rect">
            <a:avLst/>
          </a:prstGeom>
          <a:noFill/>
        </p:spPr>
        <p:txBody>
          <a:bodyPr wrap="square">
            <a:spAutoFit/>
          </a:bodyPr>
          <a:lstStyle/>
          <a:p>
            <a:pPr marL="0" marR="0" lvl="0" indent="0" algn="l" defTabSz="609630" rtl="0" eaLnBrk="1" fontAlgn="auto" latinLnBrk="0" hangingPunct="1">
              <a:lnSpc>
                <a:spcPts val="3028"/>
              </a:lnSpc>
              <a:spcBef>
                <a:spcPts val="0"/>
              </a:spcBef>
              <a:spcAft>
                <a:spcPts val="0"/>
              </a:spcAft>
              <a:buClrTx/>
              <a:buSzTx/>
              <a:buFontTx/>
              <a:buNone/>
              <a:tabLst/>
              <a:defRPr/>
            </a:pP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Qué</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quiere</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decir</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esto</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a:t>
            </a:r>
          </a:p>
        </p:txBody>
      </p:sp>
      <p:sp>
        <p:nvSpPr>
          <p:cNvPr id="12" name="TextBox 5">
            <a:extLst>
              <a:ext uri="{FF2B5EF4-FFF2-40B4-BE49-F238E27FC236}">
                <a16:creationId xmlns:a16="http://schemas.microsoft.com/office/drawing/2014/main" id="{D2F0F76D-44DD-042F-B85B-B4B164A8ECCF}"/>
              </a:ext>
            </a:extLst>
          </p:cNvPr>
          <p:cNvSpPr txBox="1"/>
          <p:nvPr/>
        </p:nvSpPr>
        <p:spPr>
          <a:xfrm>
            <a:off x="5740400" y="1091998"/>
            <a:ext cx="6096000" cy="2080698"/>
          </a:xfrm>
          <a:prstGeom prst="rect">
            <a:avLst/>
          </a:prstGeom>
        </p:spPr>
        <p:txBody>
          <a:bodyPr wrap="square" lIns="0" tIns="0" rIns="0" bIns="0" rtlCol="0" anchor="t">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a:ea typeface="+mn-ea"/>
                <a:cs typeface="+mn-cs"/>
              </a:rPr>
              <a:t>Es un </a:t>
            </a:r>
            <a:r>
              <a:rPr kumimoji="0" lang="en-US" sz="1800" b="0" i="0" u="none" strike="noStrike" kern="1200" cap="none" spc="0" normalizeH="0" baseline="0" noProof="0" err="1">
                <a:ln>
                  <a:noFill/>
                </a:ln>
                <a:solidFill>
                  <a:srgbClr val="FFFFFF"/>
                </a:solidFill>
                <a:effectLst/>
                <a:uLnTx/>
                <a:uFillTx/>
                <a:latin typeface="Calibri"/>
                <a:ea typeface="+mn-ea"/>
                <a:cs typeface="+mn-cs"/>
              </a:rPr>
              <a:t>modelo</a:t>
            </a:r>
            <a:r>
              <a:rPr kumimoji="0" lang="en-US" sz="1800" b="0" i="0" u="none" strike="noStrike" kern="1200" cap="none" spc="0" normalizeH="0" baseline="0" noProof="0">
                <a:ln>
                  <a:noFill/>
                </a:ln>
                <a:solidFill>
                  <a:srgbClr val="FFFFFF"/>
                </a:solidFill>
                <a:effectLst/>
                <a:uLnTx/>
                <a:uFillTx/>
                <a:latin typeface="Calibri"/>
                <a:ea typeface="+mn-ea"/>
                <a:cs typeface="+mn-cs"/>
              </a:rPr>
              <a:t> que </a:t>
            </a:r>
            <a:r>
              <a:rPr kumimoji="0" lang="en-US" sz="2000" b="1" i="0" u="none" strike="noStrike" kern="1200" cap="none" spc="0" normalizeH="0" baseline="0" noProof="0" err="1">
                <a:ln>
                  <a:noFill/>
                </a:ln>
                <a:solidFill>
                  <a:srgbClr val="0097A9"/>
                </a:solidFill>
                <a:effectLst/>
                <a:uLnTx/>
                <a:uFillTx/>
                <a:latin typeface="Calibri"/>
                <a:ea typeface="+mn-ea"/>
                <a:cs typeface="+mn-cs"/>
              </a:rPr>
              <a:t>predice</a:t>
            </a:r>
            <a:r>
              <a:rPr kumimoji="0" lang="en-US" sz="2000" b="1" i="0" u="none" strike="noStrike" kern="1200" cap="none" spc="0" normalizeH="0" baseline="0" noProof="0">
                <a:ln>
                  <a:noFill/>
                </a:ln>
                <a:solidFill>
                  <a:srgbClr val="0097A9"/>
                </a:solidFill>
                <a:effectLst/>
                <a:uLnTx/>
                <a:uFillTx/>
                <a:latin typeface="Calibri"/>
                <a:ea typeface="+mn-ea"/>
                <a:cs typeface="+mn-cs"/>
              </a:rPr>
              <a:t> las palabras</a:t>
            </a:r>
            <a:r>
              <a:rPr kumimoji="0" lang="en-US" sz="1800" b="0" i="0" u="none" strike="noStrike" kern="1200" cap="none" spc="0" normalizeH="0" baseline="0" noProof="0">
                <a:ln>
                  <a:noFill/>
                </a:ln>
                <a:solidFill>
                  <a:srgbClr val="FFFFFF"/>
                </a:solidFill>
                <a:effectLst/>
                <a:uLnTx/>
                <a:uFillTx/>
                <a:latin typeface="Calibri"/>
                <a:ea typeface="+mn-ea"/>
                <a:cs typeface="+mn-cs"/>
              </a:rPr>
              <a:t>, es </a:t>
            </a:r>
            <a:r>
              <a:rPr kumimoji="0" lang="en-US" sz="1800" b="0" i="0" u="none" strike="noStrike" kern="1200" cap="none" spc="0" normalizeH="0" baseline="0" noProof="0" err="1">
                <a:ln>
                  <a:noFill/>
                </a:ln>
                <a:solidFill>
                  <a:srgbClr val="FFFFFF"/>
                </a:solidFill>
                <a:effectLst/>
                <a:uLnTx/>
                <a:uFillTx/>
                <a:latin typeface="Calibri"/>
                <a:ea typeface="+mn-ea"/>
                <a:cs typeface="+mn-cs"/>
              </a:rPr>
              <a:t>decir</a:t>
            </a:r>
            <a:r>
              <a:rPr kumimoji="0" lang="en-US" sz="1800" b="0" i="0" u="none" strike="noStrike" kern="1200" cap="none" spc="0" normalizeH="0" baseline="0" noProof="0">
                <a:ln>
                  <a:noFill/>
                </a:ln>
                <a:solidFill>
                  <a:srgbClr val="FFFFFF"/>
                </a:solidFill>
                <a:effectLst/>
                <a:uLnTx/>
                <a:uFillTx/>
                <a:latin typeface="Calibri"/>
                <a:ea typeface="+mn-ea"/>
                <a:cs typeface="+mn-cs"/>
              </a:rPr>
              <a:t>, que sabe responder </a:t>
            </a:r>
            <a:r>
              <a:rPr kumimoji="0" lang="en-US" sz="1800" b="0" i="0" u="none" strike="noStrike" kern="1200" cap="none" spc="0" normalizeH="0" baseline="0" noProof="0" err="1">
                <a:ln>
                  <a:noFill/>
                </a:ln>
                <a:solidFill>
                  <a:srgbClr val="FFFFFF"/>
                </a:solidFill>
                <a:effectLst/>
                <a:uLnTx/>
                <a:uFillTx/>
                <a:latin typeface="Calibri"/>
                <a:ea typeface="+mn-ea"/>
                <a:cs typeface="+mn-cs"/>
              </a:rPr>
              <a:t>luego</a:t>
            </a:r>
            <a:r>
              <a:rPr kumimoji="0" lang="en-US" sz="1800" b="0" i="0" u="none" strike="noStrike" kern="1200" cap="none" spc="0" normalizeH="0" baseline="0" noProof="0">
                <a:ln>
                  <a:noFill/>
                </a:ln>
                <a:solidFill>
                  <a:srgbClr val="FFFFFF"/>
                </a:solidFill>
                <a:effectLst/>
                <a:uLnTx/>
                <a:uFillTx/>
                <a:latin typeface="Calibri"/>
                <a:ea typeface="+mn-ea"/>
                <a:cs typeface="+mn-cs"/>
              </a:rPr>
              <a:t> de </a:t>
            </a:r>
            <a:r>
              <a:rPr kumimoji="0" lang="en-US" sz="1800" b="0" i="0" u="none" strike="noStrike" kern="1200" cap="none" spc="0" normalizeH="0" baseline="0" noProof="0" err="1">
                <a:ln>
                  <a:noFill/>
                </a:ln>
                <a:solidFill>
                  <a:srgbClr val="FFFFFF"/>
                </a:solidFill>
                <a:effectLst/>
                <a:uLnTx/>
                <a:uFillTx/>
                <a:latin typeface="Calibri"/>
                <a:ea typeface="+mn-ea"/>
                <a:cs typeface="+mn-cs"/>
              </a:rPr>
              <a:t>cada</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frase</a:t>
            </a:r>
            <a:r>
              <a:rPr kumimoji="0" lang="en-US" sz="1800" b="0" i="0" u="none" strike="noStrike" kern="1200" cap="none" spc="0" normalizeH="0" baseline="0" noProof="0">
                <a:ln>
                  <a:noFill/>
                </a:ln>
                <a:solidFill>
                  <a:srgbClr val="FFFFFF"/>
                </a:solidFill>
                <a:effectLst/>
                <a:uLnTx/>
                <a:uFillTx/>
                <a:latin typeface="Calibri"/>
                <a:ea typeface="+mn-ea"/>
                <a:cs typeface="+mn-cs"/>
              </a:rPr>
              <a:t>. Es similar a lo que </a:t>
            </a:r>
            <a:r>
              <a:rPr kumimoji="0" lang="en-US" sz="1800" b="0" i="0" u="none" strike="noStrike" kern="1200" cap="none" spc="0" normalizeH="0" baseline="0" noProof="0" err="1">
                <a:ln>
                  <a:noFill/>
                </a:ln>
                <a:solidFill>
                  <a:srgbClr val="FFFFFF"/>
                </a:solidFill>
                <a:effectLst/>
                <a:uLnTx/>
                <a:uFillTx/>
                <a:latin typeface="Calibri"/>
                <a:ea typeface="+mn-ea"/>
                <a:cs typeface="+mn-cs"/>
              </a:rPr>
              <a:t>hace</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el</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autocorrector</a:t>
            </a:r>
            <a:r>
              <a:rPr kumimoji="0" lang="en-US" sz="1800" b="0" i="0" u="none" strike="noStrike" kern="1200" cap="none" spc="0" normalizeH="0" baseline="0" noProof="0">
                <a:ln>
                  <a:noFill/>
                </a:ln>
                <a:solidFill>
                  <a:srgbClr val="FFFFFF"/>
                </a:solidFill>
                <a:effectLst/>
                <a:uLnTx/>
                <a:uFillTx/>
                <a:latin typeface="Calibri"/>
                <a:ea typeface="+mn-ea"/>
                <a:cs typeface="+mn-cs"/>
              </a:rPr>
              <a:t> de </a:t>
            </a:r>
            <a:r>
              <a:rPr kumimoji="0" lang="en-US" sz="1800" b="0" i="0" u="none" strike="noStrike" kern="1200" cap="none" spc="0" normalizeH="0" baseline="0" noProof="0" err="1">
                <a:ln>
                  <a:noFill/>
                </a:ln>
                <a:solidFill>
                  <a:srgbClr val="FFFFFF"/>
                </a:solidFill>
                <a:effectLst/>
                <a:uLnTx/>
                <a:uFillTx/>
                <a:latin typeface="Calibri"/>
                <a:ea typeface="+mn-ea"/>
                <a:cs typeface="+mn-cs"/>
              </a:rPr>
              <a:t>los</a:t>
            </a:r>
            <a:r>
              <a:rPr kumimoji="0" lang="en-US" sz="1800" b="0" i="0" u="none" strike="noStrike" kern="1200" cap="none" spc="0" normalizeH="0" baseline="0" noProof="0">
                <a:ln>
                  <a:noFill/>
                </a:ln>
                <a:solidFill>
                  <a:srgbClr val="FFFFFF"/>
                </a:solidFill>
                <a:effectLst/>
                <a:uLnTx/>
                <a:uFillTx/>
                <a:latin typeface="Calibri"/>
                <a:ea typeface="+mn-ea"/>
                <a:cs typeface="+mn-cs"/>
              </a:rPr>
              <a:t> smartphones, solo que es un </a:t>
            </a:r>
            <a:r>
              <a:rPr kumimoji="0" lang="en-US" sz="1800" b="0" i="0" u="none" strike="noStrike" kern="1200" cap="none" spc="0" normalizeH="0" baseline="0" noProof="0" err="1">
                <a:ln>
                  <a:noFill/>
                </a:ln>
                <a:solidFill>
                  <a:srgbClr val="FFFFFF"/>
                </a:solidFill>
                <a:effectLst/>
                <a:uLnTx/>
                <a:uFillTx/>
                <a:latin typeface="Calibri"/>
                <a:ea typeface="+mn-ea"/>
                <a:cs typeface="+mn-cs"/>
              </a:rPr>
              <a:t>millón</a:t>
            </a:r>
            <a:r>
              <a:rPr kumimoji="0" lang="en-US" sz="1800" b="0" i="0" u="none" strike="noStrike" kern="1200" cap="none" spc="0" normalizeH="0" baseline="0" noProof="0">
                <a:ln>
                  <a:noFill/>
                </a:ln>
                <a:solidFill>
                  <a:srgbClr val="FFFFFF"/>
                </a:solidFill>
                <a:effectLst/>
                <a:uLnTx/>
                <a:uFillTx/>
                <a:latin typeface="Calibri"/>
                <a:ea typeface="+mn-ea"/>
                <a:cs typeface="+mn-cs"/>
              </a:rPr>
              <a:t> de </a:t>
            </a:r>
            <a:r>
              <a:rPr kumimoji="0" lang="en-US" sz="1800" b="0" i="0" u="none" strike="noStrike" kern="1200" cap="none" spc="0" normalizeH="0" baseline="0" noProof="0" err="1">
                <a:ln>
                  <a:noFill/>
                </a:ln>
                <a:solidFill>
                  <a:srgbClr val="FFFFFF"/>
                </a:solidFill>
                <a:effectLst/>
                <a:uLnTx/>
                <a:uFillTx/>
                <a:latin typeface="Calibri"/>
                <a:ea typeface="+mn-ea"/>
                <a:cs typeface="+mn-cs"/>
              </a:rPr>
              <a:t>veces</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mejor</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haciendo</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posible</a:t>
            </a:r>
            <a:r>
              <a:rPr kumimoji="0" lang="en-US" sz="1800" b="0" i="0" u="none" strike="noStrike" kern="1200" cap="none" spc="0" normalizeH="0" baseline="0" noProof="0">
                <a:ln>
                  <a:noFill/>
                </a:ln>
                <a:solidFill>
                  <a:srgbClr val="FFFFFF"/>
                </a:solidFill>
                <a:effectLst/>
                <a:uLnTx/>
                <a:uFillTx/>
                <a:latin typeface="Calibri"/>
                <a:ea typeface="+mn-ea"/>
                <a:cs typeface="+mn-cs"/>
              </a:rPr>
              <a:t> que </a:t>
            </a:r>
            <a:r>
              <a:rPr kumimoji="0" lang="en-US" sz="1800" b="0" i="0" u="none" strike="noStrike" kern="1200" cap="none" spc="0" normalizeH="0" baseline="0" noProof="0" err="1">
                <a:ln>
                  <a:noFill/>
                </a:ln>
                <a:solidFill>
                  <a:srgbClr val="FFFFFF"/>
                </a:solidFill>
                <a:effectLst/>
                <a:uLnTx/>
                <a:uFillTx/>
                <a:latin typeface="Calibri"/>
                <a:ea typeface="+mn-ea"/>
                <a:cs typeface="+mn-cs"/>
              </a:rPr>
              <a:t>pueda</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generar</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una</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respuesta</a:t>
            </a:r>
            <a:r>
              <a:rPr kumimoji="0" lang="en-US" sz="1800" b="0" i="0" u="none" strike="noStrike" kern="1200" cap="none" spc="0" normalizeH="0" baseline="0" noProof="0">
                <a:ln>
                  <a:noFill/>
                </a:ln>
                <a:solidFill>
                  <a:srgbClr val="FFFFFF"/>
                </a:solidFill>
                <a:effectLst/>
                <a:uLnTx/>
                <a:uFillTx/>
                <a:latin typeface="Calibri"/>
                <a:ea typeface="+mn-ea"/>
                <a:cs typeface="+mn-cs"/>
              </a:rPr>
              <a:t> a </a:t>
            </a:r>
            <a:r>
              <a:rPr kumimoji="0" lang="en-US" sz="1800" b="0" i="0" u="none" strike="noStrike" kern="1200" cap="none" spc="0" normalizeH="0" baseline="0" noProof="0" err="1">
                <a:ln>
                  <a:noFill/>
                </a:ln>
                <a:solidFill>
                  <a:srgbClr val="FFFFFF"/>
                </a:solidFill>
                <a:effectLst/>
                <a:uLnTx/>
                <a:uFillTx/>
                <a:latin typeface="Calibri"/>
                <a:ea typeface="+mn-ea"/>
                <a:cs typeface="+mn-cs"/>
              </a:rPr>
              <a:t>tu</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pregunta</a:t>
            </a:r>
            <a:r>
              <a:rPr kumimoji="0" lang="en-US" sz="1800" b="0" i="0" u="none" strike="noStrike" kern="1200" cap="none" spc="0" normalizeH="0" baseline="0" noProof="0">
                <a:ln>
                  <a:noFill/>
                </a:ln>
                <a:solidFill>
                  <a:srgbClr val="FFFFFF"/>
                </a:solidFill>
                <a:effectLst/>
                <a:uLnTx/>
                <a:uFillTx/>
                <a:latin typeface="Calibri"/>
                <a:ea typeface="+mn-ea"/>
                <a:cs typeface="+mn-cs"/>
              </a:rPr>
              <a:t> </a:t>
            </a:r>
            <a:r>
              <a:rPr kumimoji="0" lang="en-US" sz="1800" b="0" i="0" u="none" strike="noStrike" kern="1200" cap="none" spc="0" normalizeH="0" baseline="0" noProof="0" err="1">
                <a:ln>
                  <a:noFill/>
                </a:ln>
                <a:solidFill>
                  <a:srgbClr val="FFFFFF"/>
                </a:solidFill>
                <a:effectLst/>
                <a:uLnTx/>
                <a:uFillTx/>
                <a:latin typeface="Calibri"/>
                <a:ea typeface="+mn-ea"/>
                <a:cs typeface="+mn-cs"/>
              </a:rPr>
              <a:t>cada</a:t>
            </a:r>
            <a:r>
              <a:rPr kumimoji="0" lang="en-US" sz="1800" b="0" i="0" u="none" strike="noStrike" kern="1200" cap="none" spc="0" normalizeH="0" baseline="0" noProof="0">
                <a:ln>
                  <a:noFill/>
                </a:ln>
                <a:solidFill>
                  <a:srgbClr val="FFFFFF"/>
                </a:solidFill>
                <a:effectLst/>
                <a:uLnTx/>
                <a:uFillTx/>
                <a:latin typeface="Calibri"/>
                <a:ea typeface="+mn-ea"/>
                <a:cs typeface="+mn-cs"/>
              </a:rPr>
              <a:t> que </a:t>
            </a:r>
            <a:r>
              <a:rPr kumimoji="0" lang="en-US" sz="1800" b="0" i="0" u="none" strike="noStrike" kern="1200" cap="none" spc="0" normalizeH="0" baseline="0" noProof="0" err="1">
                <a:ln>
                  <a:noFill/>
                </a:ln>
                <a:solidFill>
                  <a:srgbClr val="FFFFFF"/>
                </a:solidFill>
                <a:effectLst/>
                <a:uLnTx/>
                <a:uFillTx/>
                <a:latin typeface="Calibri"/>
                <a:ea typeface="+mn-ea"/>
                <a:cs typeface="+mn-cs"/>
              </a:rPr>
              <a:t>interectúas</a:t>
            </a:r>
            <a:r>
              <a:rPr kumimoji="0" lang="en-US" sz="1800" b="0" i="0" u="none" strike="noStrike" kern="1200" cap="none" spc="0" normalizeH="0" baseline="0" noProof="0">
                <a:ln>
                  <a:noFill/>
                </a:ln>
                <a:solidFill>
                  <a:srgbClr val="FFFFFF"/>
                </a:solidFill>
                <a:effectLst/>
                <a:uLnTx/>
                <a:uFillTx/>
                <a:latin typeface="Calibri"/>
                <a:ea typeface="+mn-ea"/>
                <a:cs typeface="+mn-cs"/>
              </a:rPr>
              <a:t> con </a:t>
            </a:r>
            <a:r>
              <a:rPr kumimoji="0" lang="en-US" sz="1800" b="0" i="0" u="none" strike="noStrike" kern="1200" cap="none" spc="0" normalizeH="0" baseline="0" noProof="0" err="1">
                <a:ln>
                  <a:noFill/>
                </a:ln>
                <a:solidFill>
                  <a:srgbClr val="FFFFFF"/>
                </a:solidFill>
                <a:effectLst/>
                <a:uLnTx/>
                <a:uFillTx/>
                <a:latin typeface="Calibri"/>
                <a:ea typeface="+mn-ea"/>
                <a:cs typeface="+mn-cs"/>
              </a:rPr>
              <a:t>él</a:t>
            </a:r>
            <a:r>
              <a:rPr kumimoji="0" lang="en-US" sz="1800" b="0" i="0" u="none" strike="noStrike" kern="1200" cap="none" spc="0" normalizeH="0" baseline="0" noProof="0">
                <a:ln>
                  <a:noFill/>
                </a:ln>
                <a:solidFill>
                  <a:srgbClr val="FFFFFF"/>
                </a:solidFill>
                <a:effectLst/>
                <a:uLnTx/>
                <a:uFillTx/>
                <a:latin typeface="Calibri"/>
                <a:ea typeface="+mn-ea"/>
                <a:cs typeface="+mn-cs"/>
              </a:rPr>
              <a:t>.</a:t>
            </a:r>
          </a:p>
        </p:txBody>
      </p:sp>
      <p:grpSp>
        <p:nvGrpSpPr>
          <p:cNvPr id="13" name="Graphic 4">
            <a:extLst>
              <a:ext uri="{FF2B5EF4-FFF2-40B4-BE49-F238E27FC236}">
                <a16:creationId xmlns:a16="http://schemas.microsoft.com/office/drawing/2014/main" id="{AF97605A-7868-E90A-7B9E-9DBCA7E40938}"/>
              </a:ext>
            </a:extLst>
          </p:cNvPr>
          <p:cNvGrpSpPr>
            <a:grpSpLocks noChangeAspect="1"/>
          </p:cNvGrpSpPr>
          <p:nvPr/>
        </p:nvGrpSpPr>
        <p:grpSpPr>
          <a:xfrm>
            <a:off x="431004" y="530503"/>
            <a:ext cx="583751" cy="583200"/>
            <a:chOff x="1952125" y="1402723"/>
            <a:chExt cx="362313" cy="361971"/>
          </a:xfrm>
          <a:solidFill>
            <a:srgbClr val="0097A9"/>
          </a:solidFill>
        </p:grpSpPr>
        <p:sp>
          <p:nvSpPr>
            <p:cNvPr id="14" name="Graphic 4">
              <a:extLst>
                <a:ext uri="{FF2B5EF4-FFF2-40B4-BE49-F238E27FC236}">
                  <a16:creationId xmlns:a16="http://schemas.microsoft.com/office/drawing/2014/main" id="{54A7EBB4-9BFD-4931-A35A-34021E708549}"/>
                </a:ext>
              </a:extLst>
            </p:cNvPr>
            <p:cNvSpPr/>
            <p:nvPr/>
          </p:nvSpPr>
          <p:spPr>
            <a:xfrm>
              <a:off x="2053562" y="1640645"/>
              <a:ext cx="172691" cy="37745"/>
            </a:xfrm>
            <a:custGeom>
              <a:avLst/>
              <a:gdLst>
                <a:gd name="connsiteX0" fmla="*/ 18694 w 172691"/>
                <a:gd name="connsiteY0" fmla="*/ 23183 h 37745"/>
                <a:gd name="connsiteX1" fmla="*/ 18055 w 172691"/>
                <a:gd name="connsiteY1" fmla="*/ 25736 h 37745"/>
                <a:gd name="connsiteX2" fmla="*/ 11665 w 172691"/>
                <a:gd name="connsiteY2" fmla="*/ 30844 h 37745"/>
                <a:gd name="connsiteX3" fmla="*/ 10387 w 172691"/>
                <a:gd name="connsiteY3" fmla="*/ 30844 h 37745"/>
                <a:gd name="connsiteX4" fmla="*/ 5914 w 172691"/>
                <a:gd name="connsiteY4" fmla="*/ 23183 h 37745"/>
                <a:gd name="connsiteX5" fmla="*/ 6553 w 172691"/>
                <a:gd name="connsiteY5" fmla="*/ 20629 h 37745"/>
                <a:gd name="connsiteX6" fmla="*/ 6553 w 172691"/>
                <a:gd name="connsiteY6" fmla="*/ 16799 h 37745"/>
                <a:gd name="connsiteX7" fmla="*/ 5914 w 172691"/>
                <a:gd name="connsiteY7" fmla="*/ 13607 h 37745"/>
                <a:gd name="connsiteX8" fmla="*/ 11026 w 172691"/>
                <a:gd name="connsiteY8" fmla="*/ 5946 h 37745"/>
                <a:gd name="connsiteX9" fmla="*/ 18694 w 172691"/>
                <a:gd name="connsiteY9" fmla="*/ 11053 h 37745"/>
                <a:gd name="connsiteX10" fmla="*/ 19333 w 172691"/>
                <a:gd name="connsiteY10" fmla="*/ 14245 h 37745"/>
                <a:gd name="connsiteX11" fmla="*/ 18694 w 172691"/>
                <a:gd name="connsiteY11" fmla="*/ 23183 h 37745"/>
                <a:gd name="connsiteX12" fmla="*/ 171413 w 172691"/>
                <a:gd name="connsiteY12" fmla="*/ 4669 h 37745"/>
                <a:gd name="connsiteX13" fmla="*/ 172691 w 172691"/>
                <a:gd name="connsiteY13" fmla="*/ 839 h 37745"/>
                <a:gd name="connsiteX14" fmla="*/ 16777 w 172691"/>
                <a:gd name="connsiteY14" fmla="*/ 839 h 37745"/>
                <a:gd name="connsiteX15" fmla="*/ 15499 w 172691"/>
                <a:gd name="connsiteY15" fmla="*/ 839 h 37745"/>
                <a:gd name="connsiteX16" fmla="*/ 3358 w 172691"/>
                <a:gd name="connsiteY16" fmla="*/ 2116 h 37745"/>
                <a:gd name="connsiteX17" fmla="*/ 163 w 172691"/>
                <a:gd name="connsiteY17" fmla="*/ 9776 h 37745"/>
                <a:gd name="connsiteX18" fmla="*/ 163 w 172691"/>
                <a:gd name="connsiteY18" fmla="*/ 27013 h 37745"/>
                <a:gd name="connsiteX19" fmla="*/ 3358 w 172691"/>
                <a:gd name="connsiteY19" fmla="*/ 35951 h 37745"/>
                <a:gd name="connsiteX20" fmla="*/ 15499 w 172691"/>
                <a:gd name="connsiteY20" fmla="*/ 36589 h 37745"/>
                <a:gd name="connsiteX21" fmla="*/ 17416 w 172691"/>
                <a:gd name="connsiteY21" fmla="*/ 35951 h 37745"/>
                <a:gd name="connsiteX22" fmla="*/ 172691 w 172691"/>
                <a:gd name="connsiteY22" fmla="*/ 35951 h 37745"/>
                <a:gd name="connsiteX23" fmla="*/ 171413 w 172691"/>
                <a:gd name="connsiteY23" fmla="*/ 32120 h 37745"/>
                <a:gd name="connsiteX24" fmla="*/ 171413 w 172691"/>
                <a:gd name="connsiteY24" fmla="*/ 4669 h 3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2691" h="37745">
                  <a:moveTo>
                    <a:pt x="18694" y="23183"/>
                  </a:moveTo>
                  <a:lnTo>
                    <a:pt x="18055" y="25736"/>
                  </a:lnTo>
                  <a:cubicBezTo>
                    <a:pt x="17416" y="28928"/>
                    <a:pt x="14860" y="30844"/>
                    <a:pt x="11665" y="30844"/>
                  </a:cubicBezTo>
                  <a:lnTo>
                    <a:pt x="10387" y="30844"/>
                  </a:lnTo>
                  <a:cubicBezTo>
                    <a:pt x="7192" y="30205"/>
                    <a:pt x="4636" y="26375"/>
                    <a:pt x="5914" y="23183"/>
                  </a:cubicBezTo>
                  <a:lnTo>
                    <a:pt x="6553" y="20629"/>
                  </a:lnTo>
                  <a:cubicBezTo>
                    <a:pt x="6553" y="19352"/>
                    <a:pt x="6553" y="18076"/>
                    <a:pt x="6553" y="16799"/>
                  </a:cubicBezTo>
                  <a:lnTo>
                    <a:pt x="5914" y="13607"/>
                  </a:lnTo>
                  <a:cubicBezTo>
                    <a:pt x="5275" y="9776"/>
                    <a:pt x="7192" y="6584"/>
                    <a:pt x="11026" y="5946"/>
                  </a:cubicBezTo>
                  <a:cubicBezTo>
                    <a:pt x="14860" y="5308"/>
                    <a:pt x="18055" y="7223"/>
                    <a:pt x="18694" y="11053"/>
                  </a:cubicBezTo>
                  <a:lnTo>
                    <a:pt x="19333" y="14245"/>
                  </a:lnTo>
                  <a:cubicBezTo>
                    <a:pt x="19333" y="17437"/>
                    <a:pt x="19333" y="20629"/>
                    <a:pt x="18694" y="23183"/>
                  </a:cubicBezTo>
                  <a:moveTo>
                    <a:pt x="171413" y="4669"/>
                  </a:moveTo>
                  <a:lnTo>
                    <a:pt x="172691" y="839"/>
                  </a:lnTo>
                  <a:lnTo>
                    <a:pt x="16777" y="839"/>
                  </a:lnTo>
                  <a:lnTo>
                    <a:pt x="15499" y="839"/>
                  </a:lnTo>
                  <a:cubicBezTo>
                    <a:pt x="11665" y="-438"/>
                    <a:pt x="7192" y="-438"/>
                    <a:pt x="3358" y="2116"/>
                  </a:cubicBezTo>
                  <a:cubicBezTo>
                    <a:pt x="802" y="4031"/>
                    <a:pt x="-476" y="7223"/>
                    <a:pt x="163" y="9776"/>
                  </a:cubicBezTo>
                  <a:lnTo>
                    <a:pt x="163" y="27013"/>
                  </a:lnTo>
                  <a:cubicBezTo>
                    <a:pt x="-476" y="30205"/>
                    <a:pt x="802" y="33397"/>
                    <a:pt x="3358" y="35951"/>
                  </a:cubicBezTo>
                  <a:cubicBezTo>
                    <a:pt x="7192" y="37866"/>
                    <a:pt x="11665" y="38504"/>
                    <a:pt x="15499" y="36589"/>
                  </a:cubicBezTo>
                  <a:cubicBezTo>
                    <a:pt x="16138" y="35951"/>
                    <a:pt x="16777" y="35951"/>
                    <a:pt x="17416" y="35951"/>
                  </a:cubicBezTo>
                  <a:lnTo>
                    <a:pt x="172691" y="35951"/>
                  </a:lnTo>
                  <a:lnTo>
                    <a:pt x="171413" y="32120"/>
                  </a:lnTo>
                  <a:cubicBezTo>
                    <a:pt x="168218" y="23183"/>
                    <a:pt x="168218" y="13607"/>
                    <a:pt x="171413" y="4669"/>
                  </a:cubicBezTo>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97A9"/>
                </a:solidFill>
                <a:effectLst/>
                <a:uLnTx/>
                <a:uFillTx/>
                <a:latin typeface="Calibri"/>
                <a:ea typeface="+mn-ea"/>
                <a:cs typeface="+mn-cs"/>
              </a:endParaRPr>
            </a:p>
          </p:txBody>
        </p:sp>
        <p:sp>
          <p:nvSpPr>
            <p:cNvPr id="15" name="Graphic 4">
              <a:extLst>
                <a:ext uri="{FF2B5EF4-FFF2-40B4-BE49-F238E27FC236}">
                  <a16:creationId xmlns:a16="http://schemas.microsoft.com/office/drawing/2014/main" id="{7E70236C-BA79-9B8D-0245-C96C12E53BCE}"/>
                </a:ext>
              </a:extLst>
            </p:cNvPr>
            <p:cNvSpPr/>
            <p:nvPr/>
          </p:nvSpPr>
          <p:spPr>
            <a:xfrm>
              <a:off x="2122098" y="1529764"/>
              <a:ext cx="5750" cy="31281"/>
            </a:xfrm>
            <a:custGeom>
              <a:avLst/>
              <a:gdLst>
                <a:gd name="connsiteX0" fmla="*/ 5751 w 5750"/>
                <a:gd name="connsiteY0" fmla="*/ 30643 h 31281"/>
                <a:gd name="connsiteX1" fmla="*/ 5751 w 5750"/>
                <a:gd name="connsiteY1" fmla="*/ 0 h 31281"/>
                <a:gd name="connsiteX2" fmla="*/ 0 w 5750"/>
                <a:gd name="connsiteY2" fmla="*/ 0 h 31281"/>
                <a:gd name="connsiteX3" fmla="*/ 0 w 5750"/>
                <a:gd name="connsiteY3" fmla="*/ 31281 h 31281"/>
                <a:gd name="connsiteX4" fmla="*/ 5751 w 5750"/>
                <a:gd name="connsiteY4" fmla="*/ 30643 h 31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0" h="31281">
                  <a:moveTo>
                    <a:pt x="5751" y="30643"/>
                  </a:moveTo>
                  <a:lnTo>
                    <a:pt x="5751" y="0"/>
                  </a:lnTo>
                  <a:lnTo>
                    <a:pt x="0" y="0"/>
                  </a:lnTo>
                  <a:lnTo>
                    <a:pt x="0" y="31281"/>
                  </a:lnTo>
                  <a:cubicBezTo>
                    <a:pt x="1917" y="30005"/>
                    <a:pt x="4473" y="30005"/>
                    <a:pt x="5751" y="30643"/>
                  </a:cubicBezTo>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97A9"/>
                </a:solidFill>
                <a:effectLst/>
                <a:uLnTx/>
                <a:uFillTx/>
                <a:latin typeface="Calibri"/>
                <a:ea typeface="+mn-ea"/>
                <a:cs typeface="+mn-cs"/>
              </a:endParaRPr>
            </a:p>
          </p:txBody>
        </p:sp>
        <p:sp>
          <p:nvSpPr>
            <p:cNvPr id="16" name="Graphic 4">
              <a:extLst>
                <a:ext uri="{FF2B5EF4-FFF2-40B4-BE49-F238E27FC236}">
                  <a16:creationId xmlns:a16="http://schemas.microsoft.com/office/drawing/2014/main" id="{11B0AB20-ED7F-A942-D992-8D14400506EF}"/>
                </a:ext>
              </a:extLst>
            </p:cNvPr>
            <p:cNvSpPr/>
            <p:nvPr/>
          </p:nvSpPr>
          <p:spPr>
            <a:xfrm>
              <a:off x="1952125" y="1402723"/>
              <a:ext cx="362313" cy="361971"/>
            </a:xfrm>
            <a:custGeom>
              <a:avLst/>
              <a:gdLst>
                <a:gd name="connsiteX0" fmla="*/ 284991 w 362313"/>
                <a:gd name="connsiteY0" fmla="*/ 266212 h 361971"/>
                <a:gd name="connsiteX1" fmla="*/ 287547 w 362313"/>
                <a:gd name="connsiteY1" fmla="*/ 273873 h 361971"/>
                <a:gd name="connsiteX2" fmla="*/ 289464 w 362313"/>
                <a:gd name="connsiteY2" fmla="*/ 273873 h 361971"/>
                <a:gd name="connsiteX3" fmla="*/ 295854 w 362313"/>
                <a:gd name="connsiteY3" fmla="*/ 280257 h 361971"/>
                <a:gd name="connsiteX4" fmla="*/ 289464 w 362313"/>
                <a:gd name="connsiteY4" fmla="*/ 286641 h 361971"/>
                <a:gd name="connsiteX5" fmla="*/ 120131 w 362313"/>
                <a:gd name="connsiteY5" fmla="*/ 286641 h 361971"/>
                <a:gd name="connsiteX6" fmla="*/ 110546 w 362313"/>
                <a:gd name="connsiteY6" fmla="*/ 287918 h 361971"/>
                <a:gd name="connsiteX7" fmla="*/ 97127 w 362313"/>
                <a:gd name="connsiteY7" fmla="*/ 283449 h 361971"/>
                <a:gd name="connsiteX8" fmla="*/ 88820 w 362313"/>
                <a:gd name="connsiteY8" fmla="*/ 264297 h 361971"/>
                <a:gd name="connsiteX9" fmla="*/ 88820 w 362313"/>
                <a:gd name="connsiteY9" fmla="*/ 247698 h 361971"/>
                <a:gd name="connsiteX10" fmla="*/ 97127 w 362313"/>
                <a:gd name="connsiteY10" fmla="*/ 229823 h 361971"/>
                <a:gd name="connsiteX11" fmla="*/ 119492 w 362313"/>
                <a:gd name="connsiteY11" fmla="*/ 225993 h 361971"/>
                <a:gd name="connsiteX12" fmla="*/ 288825 w 362313"/>
                <a:gd name="connsiteY12" fmla="*/ 225993 h 361971"/>
                <a:gd name="connsiteX13" fmla="*/ 295215 w 362313"/>
                <a:gd name="connsiteY13" fmla="*/ 232377 h 361971"/>
                <a:gd name="connsiteX14" fmla="*/ 288825 w 362313"/>
                <a:gd name="connsiteY14" fmla="*/ 238761 h 361971"/>
                <a:gd name="connsiteX15" fmla="*/ 288825 w 362313"/>
                <a:gd name="connsiteY15" fmla="*/ 238761 h 361971"/>
                <a:gd name="connsiteX16" fmla="*/ 287547 w 362313"/>
                <a:gd name="connsiteY16" fmla="*/ 238761 h 361971"/>
                <a:gd name="connsiteX17" fmla="*/ 284991 w 362313"/>
                <a:gd name="connsiteY17" fmla="*/ 246422 h 361971"/>
                <a:gd name="connsiteX18" fmla="*/ 284991 w 362313"/>
                <a:gd name="connsiteY18" fmla="*/ 266212 h 361971"/>
                <a:gd name="connsiteX19" fmla="*/ 261348 w 362313"/>
                <a:gd name="connsiteY19" fmla="*/ 190881 h 361971"/>
                <a:gd name="connsiteX20" fmla="*/ 262626 w 362313"/>
                <a:gd name="connsiteY20" fmla="*/ 197903 h 361971"/>
                <a:gd name="connsiteX21" fmla="*/ 257514 w 362313"/>
                <a:gd name="connsiteY21" fmla="*/ 204926 h 361971"/>
                <a:gd name="connsiteX22" fmla="*/ 256237 w 362313"/>
                <a:gd name="connsiteY22" fmla="*/ 204926 h 361971"/>
                <a:gd name="connsiteX23" fmla="*/ 249847 w 362313"/>
                <a:gd name="connsiteY23" fmla="*/ 199819 h 361971"/>
                <a:gd name="connsiteX24" fmla="*/ 248569 w 362313"/>
                <a:gd name="connsiteY24" fmla="*/ 192796 h 361971"/>
                <a:gd name="connsiteX25" fmla="*/ 248569 w 362313"/>
                <a:gd name="connsiteY25" fmla="*/ 176198 h 361971"/>
                <a:gd name="connsiteX26" fmla="*/ 249847 w 362313"/>
                <a:gd name="connsiteY26" fmla="*/ 170452 h 361971"/>
                <a:gd name="connsiteX27" fmla="*/ 257514 w 362313"/>
                <a:gd name="connsiteY27" fmla="*/ 165345 h 361971"/>
                <a:gd name="connsiteX28" fmla="*/ 262626 w 362313"/>
                <a:gd name="connsiteY28" fmla="*/ 173006 h 361971"/>
                <a:gd name="connsiteX29" fmla="*/ 262626 w 362313"/>
                <a:gd name="connsiteY29" fmla="*/ 173006 h 361971"/>
                <a:gd name="connsiteX30" fmla="*/ 261348 w 362313"/>
                <a:gd name="connsiteY30" fmla="*/ 178752 h 361971"/>
                <a:gd name="connsiteX31" fmla="*/ 261348 w 362313"/>
                <a:gd name="connsiteY31" fmla="*/ 190881 h 361971"/>
                <a:gd name="connsiteX32" fmla="*/ 68372 w 362313"/>
                <a:gd name="connsiteY32" fmla="*/ 215779 h 361971"/>
                <a:gd name="connsiteX33" fmla="*/ 74762 w 362313"/>
                <a:gd name="connsiteY33" fmla="*/ 209395 h 361971"/>
                <a:gd name="connsiteX34" fmla="*/ 78596 w 362313"/>
                <a:gd name="connsiteY34" fmla="*/ 209395 h 361971"/>
                <a:gd name="connsiteX35" fmla="*/ 80513 w 362313"/>
                <a:gd name="connsiteY35" fmla="*/ 199180 h 361971"/>
                <a:gd name="connsiteX36" fmla="*/ 80513 w 362313"/>
                <a:gd name="connsiteY36" fmla="*/ 171091 h 361971"/>
                <a:gd name="connsiteX37" fmla="*/ 78596 w 362313"/>
                <a:gd name="connsiteY37" fmla="*/ 160876 h 361971"/>
                <a:gd name="connsiteX38" fmla="*/ 74762 w 362313"/>
                <a:gd name="connsiteY38" fmla="*/ 160876 h 361971"/>
                <a:gd name="connsiteX39" fmla="*/ 68372 w 362313"/>
                <a:gd name="connsiteY39" fmla="*/ 154492 h 361971"/>
                <a:gd name="connsiteX40" fmla="*/ 74762 w 362313"/>
                <a:gd name="connsiteY40" fmla="*/ 148108 h 361971"/>
                <a:gd name="connsiteX41" fmla="*/ 146969 w 362313"/>
                <a:gd name="connsiteY41" fmla="*/ 148108 h 361971"/>
                <a:gd name="connsiteX42" fmla="*/ 153358 w 362313"/>
                <a:gd name="connsiteY42" fmla="*/ 154492 h 361971"/>
                <a:gd name="connsiteX43" fmla="*/ 146969 w 362313"/>
                <a:gd name="connsiteY43" fmla="*/ 160876 h 361971"/>
                <a:gd name="connsiteX44" fmla="*/ 92015 w 362313"/>
                <a:gd name="connsiteY44" fmla="*/ 160876 h 361971"/>
                <a:gd name="connsiteX45" fmla="*/ 93293 w 362313"/>
                <a:gd name="connsiteY45" fmla="*/ 169176 h 361971"/>
                <a:gd name="connsiteX46" fmla="*/ 93293 w 362313"/>
                <a:gd name="connsiteY46" fmla="*/ 201095 h 361971"/>
                <a:gd name="connsiteX47" fmla="*/ 92015 w 362313"/>
                <a:gd name="connsiteY47" fmla="*/ 209395 h 361971"/>
                <a:gd name="connsiteX48" fmla="*/ 257514 w 362313"/>
                <a:gd name="connsiteY48" fmla="*/ 209395 h 361971"/>
                <a:gd name="connsiteX49" fmla="*/ 258792 w 362313"/>
                <a:gd name="connsiteY49" fmla="*/ 209395 h 361971"/>
                <a:gd name="connsiteX50" fmla="*/ 265182 w 362313"/>
                <a:gd name="connsiteY50" fmla="*/ 208118 h 361971"/>
                <a:gd name="connsiteX51" fmla="*/ 269016 w 362313"/>
                <a:gd name="connsiteY51" fmla="*/ 196627 h 361971"/>
                <a:gd name="connsiteX52" fmla="*/ 269016 w 362313"/>
                <a:gd name="connsiteY52" fmla="*/ 174283 h 361971"/>
                <a:gd name="connsiteX53" fmla="*/ 269016 w 362313"/>
                <a:gd name="connsiteY53" fmla="*/ 173644 h 361971"/>
                <a:gd name="connsiteX54" fmla="*/ 265821 w 362313"/>
                <a:gd name="connsiteY54" fmla="*/ 160876 h 361971"/>
                <a:gd name="connsiteX55" fmla="*/ 259431 w 362313"/>
                <a:gd name="connsiteY55" fmla="*/ 160238 h 361971"/>
                <a:gd name="connsiteX56" fmla="*/ 257514 w 362313"/>
                <a:gd name="connsiteY56" fmla="*/ 160876 h 361971"/>
                <a:gd name="connsiteX57" fmla="*/ 200005 w 362313"/>
                <a:gd name="connsiteY57" fmla="*/ 160876 h 361971"/>
                <a:gd name="connsiteX58" fmla="*/ 193615 w 362313"/>
                <a:gd name="connsiteY58" fmla="*/ 154492 h 361971"/>
                <a:gd name="connsiteX59" fmla="*/ 200005 w 362313"/>
                <a:gd name="connsiteY59" fmla="*/ 148108 h 361971"/>
                <a:gd name="connsiteX60" fmla="*/ 256237 w 362313"/>
                <a:gd name="connsiteY60" fmla="*/ 148108 h 361971"/>
                <a:gd name="connsiteX61" fmla="*/ 273489 w 362313"/>
                <a:gd name="connsiteY61" fmla="*/ 150662 h 361971"/>
                <a:gd name="connsiteX62" fmla="*/ 281157 w 362313"/>
                <a:gd name="connsiteY62" fmla="*/ 174283 h 361971"/>
                <a:gd name="connsiteX63" fmla="*/ 281157 w 362313"/>
                <a:gd name="connsiteY63" fmla="*/ 195988 h 361971"/>
                <a:gd name="connsiteX64" fmla="*/ 272850 w 362313"/>
                <a:gd name="connsiteY64" fmla="*/ 217694 h 361971"/>
                <a:gd name="connsiteX65" fmla="*/ 260071 w 362313"/>
                <a:gd name="connsiteY65" fmla="*/ 222163 h 361971"/>
                <a:gd name="connsiteX66" fmla="*/ 256237 w 362313"/>
                <a:gd name="connsiteY66" fmla="*/ 221524 h 361971"/>
                <a:gd name="connsiteX67" fmla="*/ 74762 w 362313"/>
                <a:gd name="connsiteY67" fmla="*/ 221524 h 361971"/>
                <a:gd name="connsiteX68" fmla="*/ 68372 w 362313"/>
                <a:gd name="connsiteY68" fmla="*/ 215779 h 361971"/>
                <a:gd name="connsiteX69" fmla="*/ 109268 w 362313"/>
                <a:gd name="connsiteY69" fmla="*/ 104697 h 361971"/>
                <a:gd name="connsiteX70" fmla="*/ 108629 w 362313"/>
                <a:gd name="connsiteY70" fmla="*/ 99590 h 361971"/>
                <a:gd name="connsiteX71" fmla="*/ 113741 w 362313"/>
                <a:gd name="connsiteY71" fmla="*/ 91929 h 361971"/>
                <a:gd name="connsiteX72" fmla="*/ 113741 w 362313"/>
                <a:gd name="connsiteY72" fmla="*/ 91929 h 361971"/>
                <a:gd name="connsiteX73" fmla="*/ 120770 w 362313"/>
                <a:gd name="connsiteY73" fmla="*/ 97037 h 361971"/>
                <a:gd name="connsiteX74" fmla="*/ 121409 w 362313"/>
                <a:gd name="connsiteY74" fmla="*/ 102144 h 361971"/>
                <a:gd name="connsiteX75" fmla="*/ 121409 w 362313"/>
                <a:gd name="connsiteY75" fmla="*/ 114912 h 361971"/>
                <a:gd name="connsiteX76" fmla="*/ 120770 w 362313"/>
                <a:gd name="connsiteY76" fmla="*/ 119380 h 361971"/>
                <a:gd name="connsiteX77" fmla="*/ 114380 w 362313"/>
                <a:gd name="connsiteY77" fmla="*/ 124488 h 361971"/>
                <a:gd name="connsiteX78" fmla="*/ 113102 w 362313"/>
                <a:gd name="connsiteY78" fmla="*/ 124488 h 361971"/>
                <a:gd name="connsiteX79" fmla="*/ 107990 w 362313"/>
                <a:gd name="connsiteY79" fmla="*/ 116827 h 361971"/>
                <a:gd name="connsiteX80" fmla="*/ 107990 w 362313"/>
                <a:gd name="connsiteY80" fmla="*/ 116827 h 361971"/>
                <a:gd name="connsiteX81" fmla="*/ 108629 w 362313"/>
                <a:gd name="connsiteY81" fmla="*/ 112358 h 361971"/>
                <a:gd name="connsiteX82" fmla="*/ 109268 w 362313"/>
                <a:gd name="connsiteY82" fmla="*/ 104697 h 361971"/>
                <a:gd name="connsiteX83" fmla="*/ 149524 w 362313"/>
                <a:gd name="connsiteY83" fmla="*/ 126403 h 361971"/>
                <a:gd name="connsiteX84" fmla="*/ 143135 w 362313"/>
                <a:gd name="connsiteY84" fmla="*/ 120019 h 361971"/>
                <a:gd name="connsiteX85" fmla="*/ 149524 w 362313"/>
                <a:gd name="connsiteY85" fmla="*/ 113635 h 361971"/>
                <a:gd name="connsiteX86" fmla="*/ 189781 w 362313"/>
                <a:gd name="connsiteY86" fmla="*/ 113635 h 361971"/>
                <a:gd name="connsiteX87" fmla="*/ 196171 w 362313"/>
                <a:gd name="connsiteY87" fmla="*/ 120019 h 361971"/>
                <a:gd name="connsiteX88" fmla="*/ 189781 w 362313"/>
                <a:gd name="connsiteY88" fmla="*/ 126403 h 361971"/>
                <a:gd name="connsiteX89" fmla="*/ 188503 w 362313"/>
                <a:gd name="connsiteY89" fmla="*/ 126403 h 361971"/>
                <a:gd name="connsiteX90" fmla="*/ 188503 w 362313"/>
                <a:gd name="connsiteY90" fmla="*/ 171729 h 361971"/>
                <a:gd name="connsiteX91" fmla="*/ 182113 w 362313"/>
                <a:gd name="connsiteY91" fmla="*/ 178113 h 361971"/>
                <a:gd name="connsiteX92" fmla="*/ 177640 w 362313"/>
                <a:gd name="connsiteY92" fmla="*/ 176198 h 361971"/>
                <a:gd name="connsiteX93" fmla="*/ 173806 w 362313"/>
                <a:gd name="connsiteY93" fmla="*/ 172368 h 361971"/>
                <a:gd name="connsiteX94" fmla="*/ 168694 w 362313"/>
                <a:gd name="connsiteY94" fmla="*/ 177475 h 361971"/>
                <a:gd name="connsiteX95" fmla="*/ 164221 w 362313"/>
                <a:gd name="connsiteY95" fmla="*/ 179390 h 361971"/>
                <a:gd name="connsiteX96" fmla="*/ 161665 w 362313"/>
                <a:gd name="connsiteY96" fmla="*/ 178752 h 361971"/>
                <a:gd name="connsiteX97" fmla="*/ 157832 w 362313"/>
                <a:gd name="connsiteY97" fmla="*/ 173006 h 361971"/>
                <a:gd name="connsiteX98" fmla="*/ 157832 w 362313"/>
                <a:gd name="connsiteY98" fmla="*/ 127041 h 361971"/>
                <a:gd name="connsiteX99" fmla="*/ 149524 w 362313"/>
                <a:gd name="connsiteY99" fmla="*/ 126403 h 361971"/>
                <a:gd name="connsiteX100" fmla="*/ 88181 w 362313"/>
                <a:gd name="connsiteY100" fmla="*/ 117465 h 361971"/>
                <a:gd name="connsiteX101" fmla="*/ 88181 w 362313"/>
                <a:gd name="connsiteY101" fmla="*/ 98313 h 361971"/>
                <a:gd name="connsiteX102" fmla="*/ 99044 w 362313"/>
                <a:gd name="connsiteY102" fmla="*/ 75331 h 361971"/>
                <a:gd name="connsiteX103" fmla="*/ 113741 w 362313"/>
                <a:gd name="connsiteY103" fmla="*/ 74693 h 361971"/>
                <a:gd name="connsiteX104" fmla="*/ 240262 w 362313"/>
                <a:gd name="connsiteY104" fmla="*/ 76608 h 361971"/>
                <a:gd name="connsiteX105" fmla="*/ 246652 w 362313"/>
                <a:gd name="connsiteY105" fmla="*/ 82992 h 361971"/>
                <a:gd name="connsiteX106" fmla="*/ 240901 w 362313"/>
                <a:gd name="connsiteY106" fmla="*/ 89376 h 361971"/>
                <a:gd name="connsiteX107" fmla="*/ 238984 w 362313"/>
                <a:gd name="connsiteY107" fmla="*/ 98313 h 361971"/>
                <a:gd name="connsiteX108" fmla="*/ 238345 w 362313"/>
                <a:gd name="connsiteY108" fmla="*/ 123211 h 361971"/>
                <a:gd name="connsiteX109" fmla="*/ 239623 w 362313"/>
                <a:gd name="connsiteY109" fmla="*/ 132148 h 361971"/>
                <a:gd name="connsiteX110" fmla="*/ 246013 w 362313"/>
                <a:gd name="connsiteY110" fmla="*/ 138532 h 361971"/>
                <a:gd name="connsiteX111" fmla="*/ 239623 w 362313"/>
                <a:gd name="connsiteY111" fmla="*/ 144916 h 361971"/>
                <a:gd name="connsiteX112" fmla="*/ 239623 w 362313"/>
                <a:gd name="connsiteY112" fmla="*/ 144916 h 361971"/>
                <a:gd name="connsiteX113" fmla="*/ 198727 w 362313"/>
                <a:gd name="connsiteY113" fmla="*/ 144278 h 361971"/>
                <a:gd name="connsiteX114" fmla="*/ 192337 w 362313"/>
                <a:gd name="connsiteY114" fmla="*/ 137894 h 361971"/>
                <a:gd name="connsiteX115" fmla="*/ 198727 w 362313"/>
                <a:gd name="connsiteY115" fmla="*/ 131510 h 361971"/>
                <a:gd name="connsiteX116" fmla="*/ 227482 w 362313"/>
                <a:gd name="connsiteY116" fmla="*/ 132148 h 361971"/>
                <a:gd name="connsiteX117" fmla="*/ 226204 w 362313"/>
                <a:gd name="connsiteY117" fmla="*/ 125764 h 361971"/>
                <a:gd name="connsiteX118" fmla="*/ 226843 w 362313"/>
                <a:gd name="connsiteY118" fmla="*/ 96398 h 361971"/>
                <a:gd name="connsiteX119" fmla="*/ 228121 w 362313"/>
                <a:gd name="connsiteY119" fmla="*/ 90014 h 361971"/>
                <a:gd name="connsiteX120" fmla="*/ 112463 w 362313"/>
                <a:gd name="connsiteY120" fmla="*/ 88099 h 361971"/>
                <a:gd name="connsiteX121" fmla="*/ 109907 w 362313"/>
                <a:gd name="connsiteY121" fmla="*/ 87461 h 361971"/>
                <a:gd name="connsiteX122" fmla="*/ 106073 w 362313"/>
                <a:gd name="connsiteY122" fmla="*/ 87461 h 361971"/>
                <a:gd name="connsiteX123" fmla="*/ 101600 w 362313"/>
                <a:gd name="connsiteY123" fmla="*/ 99590 h 361971"/>
                <a:gd name="connsiteX124" fmla="*/ 101600 w 362313"/>
                <a:gd name="connsiteY124" fmla="*/ 119380 h 361971"/>
                <a:gd name="connsiteX125" fmla="*/ 104795 w 362313"/>
                <a:gd name="connsiteY125" fmla="*/ 132148 h 361971"/>
                <a:gd name="connsiteX126" fmla="*/ 109907 w 362313"/>
                <a:gd name="connsiteY126" fmla="*/ 131510 h 361971"/>
                <a:gd name="connsiteX127" fmla="*/ 113102 w 362313"/>
                <a:gd name="connsiteY127" fmla="*/ 130872 h 361971"/>
                <a:gd name="connsiteX128" fmla="*/ 146969 w 362313"/>
                <a:gd name="connsiteY128" fmla="*/ 131510 h 361971"/>
                <a:gd name="connsiteX129" fmla="*/ 153358 w 362313"/>
                <a:gd name="connsiteY129" fmla="*/ 137894 h 361971"/>
                <a:gd name="connsiteX130" fmla="*/ 146969 w 362313"/>
                <a:gd name="connsiteY130" fmla="*/ 144278 h 361971"/>
                <a:gd name="connsiteX131" fmla="*/ 146969 w 362313"/>
                <a:gd name="connsiteY131" fmla="*/ 144278 h 361971"/>
                <a:gd name="connsiteX132" fmla="*/ 114380 w 362313"/>
                <a:gd name="connsiteY132" fmla="*/ 143640 h 361971"/>
                <a:gd name="connsiteX133" fmla="*/ 106712 w 362313"/>
                <a:gd name="connsiteY133" fmla="*/ 145555 h 361971"/>
                <a:gd name="connsiteX134" fmla="*/ 97766 w 362313"/>
                <a:gd name="connsiteY134" fmla="*/ 143001 h 361971"/>
                <a:gd name="connsiteX135" fmla="*/ 89459 w 362313"/>
                <a:gd name="connsiteY135" fmla="*/ 119380 h 361971"/>
                <a:gd name="connsiteX136" fmla="*/ 181474 w 362313"/>
                <a:gd name="connsiteY136" fmla="*/ 0 h 361971"/>
                <a:gd name="connsiteX137" fmla="*/ 0 w 362313"/>
                <a:gd name="connsiteY137" fmla="*/ 180667 h 361971"/>
                <a:gd name="connsiteX138" fmla="*/ 180835 w 362313"/>
                <a:gd name="connsiteY138" fmla="*/ 361972 h 361971"/>
                <a:gd name="connsiteX139" fmla="*/ 362310 w 362313"/>
                <a:gd name="connsiteY139" fmla="*/ 181305 h 361971"/>
                <a:gd name="connsiteX140" fmla="*/ 362310 w 362313"/>
                <a:gd name="connsiteY140" fmla="*/ 181305 h 361971"/>
                <a:gd name="connsiteX141" fmla="*/ 181474 w 362313"/>
                <a:gd name="connsiteY141"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62313" h="361971">
                  <a:moveTo>
                    <a:pt x="284991" y="266212"/>
                  </a:moveTo>
                  <a:lnTo>
                    <a:pt x="287547" y="273873"/>
                  </a:lnTo>
                  <a:lnTo>
                    <a:pt x="289464" y="273873"/>
                  </a:lnTo>
                  <a:cubicBezTo>
                    <a:pt x="293298" y="273873"/>
                    <a:pt x="295854" y="276426"/>
                    <a:pt x="295854" y="280257"/>
                  </a:cubicBezTo>
                  <a:cubicBezTo>
                    <a:pt x="295854" y="284087"/>
                    <a:pt x="293298" y="286641"/>
                    <a:pt x="289464" y="286641"/>
                  </a:cubicBezTo>
                  <a:lnTo>
                    <a:pt x="120131" y="286641"/>
                  </a:lnTo>
                  <a:cubicBezTo>
                    <a:pt x="116936" y="287918"/>
                    <a:pt x="113741" y="287918"/>
                    <a:pt x="110546" y="287918"/>
                  </a:cubicBezTo>
                  <a:cubicBezTo>
                    <a:pt x="105434" y="287918"/>
                    <a:pt x="100961" y="286641"/>
                    <a:pt x="97127" y="283449"/>
                  </a:cubicBezTo>
                  <a:cubicBezTo>
                    <a:pt x="91376" y="278980"/>
                    <a:pt x="88181" y="271958"/>
                    <a:pt x="88820" y="264297"/>
                  </a:cubicBezTo>
                  <a:lnTo>
                    <a:pt x="88820" y="247698"/>
                  </a:lnTo>
                  <a:cubicBezTo>
                    <a:pt x="88820" y="240676"/>
                    <a:pt x="92015" y="234292"/>
                    <a:pt x="97127" y="229823"/>
                  </a:cubicBezTo>
                  <a:cubicBezTo>
                    <a:pt x="103517" y="225355"/>
                    <a:pt x="111824" y="224078"/>
                    <a:pt x="119492" y="225993"/>
                  </a:cubicBezTo>
                  <a:lnTo>
                    <a:pt x="288825" y="225993"/>
                  </a:lnTo>
                  <a:cubicBezTo>
                    <a:pt x="292659" y="225993"/>
                    <a:pt x="295215" y="228546"/>
                    <a:pt x="295215" y="232377"/>
                  </a:cubicBezTo>
                  <a:cubicBezTo>
                    <a:pt x="295215" y="236207"/>
                    <a:pt x="292659" y="238761"/>
                    <a:pt x="288825" y="238761"/>
                  </a:cubicBezTo>
                  <a:cubicBezTo>
                    <a:pt x="288825" y="238761"/>
                    <a:pt x="288825" y="238761"/>
                    <a:pt x="288825" y="238761"/>
                  </a:cubicBezTo>
                  <a:lnTo>
                    <a:pt x="287547" y="238761"/>
                  </a:lnTo>
                  <a:lnTo>
                    <a:pt x="284991" y="246422"/>
                  </a:lnTo>
                  <a:cubicBezTo>
                    <a:pt x="283074" y="253444"/>
                    <a:pt x="283074" y="260466"/>
                    <a:pt x="284991" y="266212"/>
                  </a:cubicBezTo>
                  <a:moveTo>
                    <a:pt x="261348" y="190881"/>
                  </a:moveTo>
                  <a:lnTo>
                    <a:pt x="262626" y="197903"/>
                  </a:lnTo>
                  <a:cubicBezTo>
                    <a:pt x="263266" y="201095"/>
                    <a:pt x="260709" y="204926"/>
                    <a:pt x="257514" y="204926"/>
                  </a:cubicBezTo>
                  <a:lnTo>
                    <a:pt x="256237" y="204926"/>
                  </a:lnTo>
                  <a:cubicBezTo>
                    <a:pt x="253042" y="204926"/>
                    <a:pt x="250486" y="203011"/>
                    <a:pt x="249847" y="199819"/>
                  </a:cubicBezTo>
                  <a:lnTo>
                    <a:pt x="248569" y="192796"/>
                  </a:lnTo>
                  <a:cubicBezTo>
                    <a:pt x="247291" y="187051"/>
                    <a:pt x="247291" y="181944"/>
                    <a:pt x="248569" y="176198"/>
                  </a:cubicBezTo>
                  <a:lnTo>
                    <a:pt x="249847" y="170452"/>
                  </a:lnTo>
                  <a:cubicBezTo>
                    <a:pt x="250486" y="166622"/>
                    <a:pt x="253681" y="164707"/>
                    <a:pt x="257514" y="165345"/>
                  </a:cubicBezTo>
                  <a:cubicBezTo>
                    <a:pt x="261348" y="165984"/>
                    <a:pt x="263266" y="169176"/>
                    <a:pt x="262626" y="173006"/>
                  </a:cubicBezTo>
                  <a:lnTo>
                    <a:pt x="262626" y="173006"/>
                  </a:lnTo>
                  <a:lnTo>
                    <a:pt x="261348" y="178752"/>
                  </a:lnTo>
                  <a:cubicBezTo>
                    <a:pt x="260709" y="182582"/>
                    <a:pt x="260709" y="186412"/>
                    <a:pt x="261348" y="190881"/>
                  </a:cubicBezTo>
                  <a:moveTo>
                    <a:pt x="68372" y="215779"/>
                  </a:moveTo>
                  <a:cubicBezTo>
                    <a:pt x="68372" y="211948"/>
                    <a:pt x="70928" y="209395"/>
                    <a:pt x="74762" y="209395"/>
                  </a:cubicBezTo>
                  <a:lnTo>
                    <a:pt x="78596" y="209395"/>
                  </a:lnTo>
                  <a:lnTo>
                    <a:pt x="80513" y="199180"/>
                  </a:lnTo>
                  <a:cubicBezTo>
                    <a:pt x="82430" y="190243"/>
                    <a:pt x="82430" y="180667"/>
                    <a:pt x="80513" y="171091"/>
                  </a:cubicBezTo>
                  <a:lnTo>
                    <a:pt x="78596" y="160876"/>
                  </a:lnTo>
                  <a:lnTo>
                    <a:pt x="74762" y="160876"/>
                  </a:lnTo>
                  <a:cubicBezTo>
                    <a:pt x="70928" y="160876"/>
                    <a:pt x="68372" y="158323"/>
                    <a:pt x="68372" y="154492"/>
                  </a:cubicBezTo>
                  <a:cubicBezTo>
                    <a:pt x="68372" y="150662"/>
                    <a:pt x="70928" y="148108"/>
                    <a:pt x="74762" y="148108"/>
                  </a:cubicBezTo>
                  <a:lnTo>
                    <a:pt x="146969" y="148108"/>
                  </a:lnTo>
                  <a:cubicBezTo>
                    <a:pt x="150803" y="148108"/>
                    <a:pt x="153358" y="150662"/>
                    <a:pt x="153358" y="154492"/>
                  </a:cubicBezTo>
                  <a:cubicBezTo>
                    <a:pt x="153358" y="158323"/>
                    <a:pt x="150803" y="160876"/>
                    <a:pt x="146969" y="160876"/>
                  </a:cubicBezTo>
                  <a:lnTo>
                    <a:pt x="92015" y="160876"/>
                  </a:lnTo>
                  <a:lnTo>
                    <a:pt x="93293" y="169176"/>
                  </a:lnTo>
                  <a:cubicBezTo>
                    <a:pt x="95210" y="180028"/>
                    <a:pt x="95210" y="190243"/>
                    <a:pt x="93293" y="201095"/>
                  </a:cubicBezTo>
                  <a:lnTo>
                    <a:pt x="92015" y="209395"/>
                  </a:lnTo>
                  <a:lnTo>
                    <a:pt x="257514" y="209395"/>
                  </a:lnTo>
                  <a:cubicBezTo>
                    <a:pt x="258153" y="209395"/>
                    <a:pt x="258153" y="209395"/>
                    <a:pt x="258792" y="209395"/>
                  </a:cubicBezTo>
                  <a:cubicBezTo>
                    <a:pt x="260709" y="210033"/>
                    <a:pt x="263266" y="209395"/>
                    <a:pt x="265182" y="208118"/>
                  </a:cubicBezTo>
                  <a:cubicBezTo>
                    <a:pt x="268377" y="204926"/>
                    <a:pt x="269655" y="200457"/>
                    <a:pt x="269016" y="196627"/>
                  </a:cubicBezTo>
                  <a:lnTo>
                    <a:pt x="269016" y="174283"/>
                  </a:lnTo>
                  <a:cubicBezTo>
                    <a:pt x="269016" y="174283"/>
                    <a:pt x="269016" y="173644"/>
                    <a:pt x="269016" y="173644"/>
                  </a:cubicBezTo>
                  <a:cubicBezTo>
                    <a:pt x="270294" y="169176"/>
                    <a:pt x="269016" y="164707"/>
                    <a:pt x="265821" y="160876"/>
                  </a:cubicBezTo>
                  <a:cubicBezTo>
                    <a:pt x="265182" y="160238"/>
                    <a:pt x="263904" y="158961"/>
                    <a:pt x="259431" y="160238"/>
                  </a:cubicBezTo>
                  <a:cubicBezTo>
                    <a:pt x="258792" y="160238"/>
                    <a:pt x="258153" y="160876"/>
                    <a:pt x="257514" y="160876"/>
                  </a:cubicBezTo>
                  <a:lnTo>
                    <a:pt x="200005" y="160876"/>
                  </a:lnTo>
                  <a:cubicBezTo>
                    <a:pt x="196171" y="160876"/>
                    <a:pt x="193615" y="158323"/>
                    <a:pt x="193615" y="154492"/>
                  </a:cubicBezTo>
                  <a:cubicBezTo>
                    <a:pt x="193615" y="150662"/>
                    <a:pt x="196171" y="148108"/>
                    <a:pt x="200005" y="148108"/>
                  </a:cubicBezTo>
                  <a:lnTo>
                    <a:pt x="256237" y="148108"/>
                  </a:lnTo>
                  <a:cubicBezTo>
                    <a:pt x="261987" y="146193"/>
                    <a:pt x="268377" y="146832"/>
                    <a:pt x="273489" y="150662"/>
                  </a:cubicBezTo>
                  <a:cubicBezTo>
                    <a:pt x="279879" y="156408"/>
                    <a:pt x="283074" y="165345"/>
                    <a:pt x="281157" y="174283"/>
                  </a:cubicBezTo>
                  <a:lnTo>
                    <a:pt x="281157" y="195988"/>
                  </a:lnTo>
                  <a:cubicBezTo>
                    <a:pt x="281796" y="204287"/>
                    <a:pt x="279240" y="211948"/>
                    <a:pt x="272850" y="217694"/>
                  </a:cubicBezTo>
                  <a:cubicBezTo>
                    <a:pt x="269016" y="220886"/>
                    <a:pt x="264543" y="222163"/>
                    <a:pt x="260071" y="222163"/>
                  </a:cubicBezTo>
                  <a:cubicBezTo>
                    <a:pt x="258792" y="222163"/>
                    <a:pt x="257514" y="222163"/>
                    <a:pt x="256237" y="221524"/>
                  </a:cubicBezTo>
                  <a:lnTo>
                    <a:pt x="74762" y="221524"/>
                  </a:lnTo>
                  <a:cubicBezTo>
                    <a:pt x="70928" y="221524"/>
                    <a:pt x="68372" y="218332"/>
                    <a:pt x="68372" y="215779"/>
                  </a:cubicBezTo>
                  <a:moveTo>
                    <a:pt x="109268" y="104697"/>
                  </a:moveTo>
                  <a:lnTo>
                    <a:pt x="108629" y="99590"/>
                  </a:lnTo>
                  <a:cubicBezTo>
                    <a:pt x="107990" y="96398"/>
                    <a:pt x="110546" y="92568"/>
                    <a:pt x="113741" y="91929"/>
                  </a:cubicBezTo>
                  <a:cubicBezTo>
                    <a:pt x="113741" y="91929"/>
                    <a:pt x="113741" y="91929"/>
                    <a:pt x="113741" y="91929"/>
                  </a:cubicBezTo>
                  <a:cubicBezTo>
                    <a:pt x="116936" y="91291"/>
                    <a:pt x="120770" y="93845"/>
                    <a:pt x="120770" y="97037"/>
                  </a:cubicBezTo>
                  <a:lnTo>
                    <a:pt x="121409" y="102144"/>
                  </a:lnTo>
                  <a:cubicBezTo>
                    <a:pt x="122048" y="106612"/>
                    <a:pt x="122048" y="110443"/>
                    <a:pt x="121409" y="114912"/>
                  </a:cubicBezTo>
                  <a:lnTo>
                    <a:pt x="120770" y="119380"/>
                  </a:lnTo>
                  <a:cubicBezTo>
                    <a:pt x="120131" y="122572"/>
                    <a:pt x="117575" y="124488"/>
                    <a:pt x="114380" y="124488"/>
                  </a:cubicBezTo>
                  <a:lnTo>
                    <a:pt x="113102" y="124488"/>
                  </a:lnTo>
                  <a:cubicBezTo>
                    <a:pt x="109907" y="123849"/>
                    <a:pt x="107351" y="120657"/>
                    <a:pt x="107990" y="116827"/>
                  </a:cubicBezTo>
                  <a:cubicBezTo>
                    <a:pt x="107990" y="116827"/>
                    <a:pt x="107990" y="116827"/>
                    <a:pt x="107990" y="116827"/>
                  </a:cubicBezTo>
                  <a:lnTo>
                    <a:pt x="108629" y="112358"/>
                  </a:lnTo>
                  <a:cubicBezTo>
                    <a:pt x="109907" y="109804"/>
                    <a:pt x="109907" y="107251"/>
                    <a:pt x="109268" y="104697"/>
                  </a:cubicBezTo>
                  <a:moveTo>
                    <a:pt x="149524" y="126403"/>
                  </a:moveTo>
                  <a:cubicBezTo>
                    <a:pt x="145690" y="126403"/>
                    <a:pt x="143135" y="123849"/>
                    <a:pt x="143135" y="120019"/>
                  </a:cubicBezTo>
                  <a:cubicBezTo>
                    <a:pt x="143135" y="116188"/>
                    <a:pt x="145690" y="113635"/>
                    <a:pt x="149524" y="113635"/>
                  </a:cubicBezTo>
                  <a:lnTo>
                    <a:pt x="189781" y="113635"/>
                  </a:lnTo>
                  <a:cubicBezTo>
                    <a:pt x="193615" y="113635"/>
                    <a:pt x="196171" y="116188"/>
                    <a:pt x="196171" y="120019"/>
                  </a:cubicBezTo>
                  <a:cubicBezTo>
                    <a:pt x="196171" y="123849"/>
                    <a:pt x="193615" y="126403"/>
                    <a:pt x="189781" y="126403"/>
                  </a:cubicBezTo>
                  <a:lnTo>
                    <a:pt x="188503" y="126403"/>
                  </a:lnTo>
                  <a:lnTo>
                    <a:pt x="188503" y="171729"/>
                  </a:lnTo>
                  <a:cubicBezTo>
                    <a:pt x="188503" y="175560"/>
                    <a:pt x="185308" y="178113"/>
                    <a:pt x="182113" y="178113"/>
                  </a:cubicBezTo>
                  <a:cubicBezTo>
                    <a:pt x="180196" y="178113"/>
                    <a:pt x="178918" y="177475"/>
                    <a:pt x="177640" y="176198"/>
                  </a:cubicBezTo>
                  <a:lnTo>
                    <a:pt x="173806" y="172368"/>
                  </a:lnTo>
                  <a:lnTo>
                    <a:pt x="168694" y="177475"/>
                  </a:lnTo>
                  <a:cubicBezTo>
                    <a:pt x="167416" y="178752"/>
                    <a:pt x="166138" y="179390"/>
                    <a:pt x="164221" y="179390"/>
                  </a:cubicBezTo>
                  <a:cubicBezTo>
                    <a:pt x="163582" y="179390"/>
                    <a:pt x="162304" y="179390"/>
                    <a:pt x="161665" y="178752"/>
                  </a:cubicBezTo>
                  <a:cubicBezTo>
                    <a:pt x="159109" y="177475"/>
                    <a:pt x="157832" y="175560"/>
                    <a:pt x="157832" y="173006"/>
                  </a:cubicBezTo>
                  <a:lnTo>
                    <a:pt x="157832" y="127041"/>
                  </a:lnTo>
                  <a:lnTo>
                    <a:pt x="149524" y="126403"/>
                  </a:lnTo>
                  <a:close/>
                  <a:moveTo>
                    <a:pt x="88181" y="117465"/>
                  </a:moveTo>
                  <a:lnTo>
                    <a:pt x="88181" y="98313"/>
                  </a:lnTo>
                  <a:cubicBezTo>
                    <a:pt x="87542" y="89376"/>
                    <a:pt x="92015" y="81077"/>
                    <a:pt x="99044" y="75331"/>
                  </a:cubicBezTo>
                  <a:cubicBezTo>
                    <a:pt x="103517" y="72777"/>
                    <a:pt x="109268" y="72139"/>
                    <a:pt x="113741" y="74693"/>
                  </a:cubicBezTo>
                  <a:lnTo>
                    <a:pt x="240262" y="76608"/>
                  </a:lnTo>
                  <a:cubicBezTo>
                    <a:pt x="244096" y="76608"/>
                    <a:pt x="246652" y="79161"/>
                    <a:pt x="246652" y="82992"/>
                  </a:cubicBezTo>
                  <a:cubicBezTo>
                    <a:pt x="246652" y="86184"/>
                    <a:pt x="244096" y="88737"/>
                    <a:pt x="240901" y="89376"/>
                  </a:cubicBezTo>
                  <a:lnTo>
                    <a:pt x="238984" y="98313"/>
                  </a:lnTo>
                  <a:cubicBezTo>
                    <a:pt x="237067" y="106612"/>
                    <a:pt x="237067" y="114912"/>
                    <a:pt x="238345" y="123211"/>
                  </a:cubicBezTo>
                  <a:lnTo>
                    <a:pt x="239623" y="132148"/>
                  </a:lnTo>
                  <a:cubicBezTo>
                    <a:pt x="243457" y="132148"/>
                    <a:pt x="246013" y="135340"/>
                    <a:pt x="246013" y="138532"/>
                  </a:cubicBezTo>
                  <a:cubicBezTo>
                    <a:pt x="246013" y="141724"/>
                    <a:pt x="242818" y="144916"/>
                    <a:pt x="239623" y="144916"/>
                  </a:cubicBezTo>
                  <a:lnTo>
                    <a:pt x="239623" y="144916"/>
                  </a:lnTo>
                  <a:lnTo>
                    <a:pt x="198727" y="144278"/>
                  </a:lnTo>
                  <a:cubicBezTo>
                    <a:pt x="194893" y="144278"/>
                    <a:pt x="192337" y="141724"/>
                    <a:pt x="192337" y="137894"/>
                  </a:cubicBezTo>
                  <a:cubicBezTo>
                    <a:pt x="192337" y="134064"/>
                    <a:pt x="194893" y="131510"/>
                    <a:pt x="198727" y="131510"/>
                  </a:cubicBezTo>
                  <a:lnTo>
                    <a:pt x="227482" y="132148"/>
                  </a:lnTo>
                  <a:lnTo>
                    <a:pt x="226204" y="125764"/>
                  </a:lnTo>
                  <a:cubicBezTo>
                    <a:pt x="224287" y="116188"/>
                    <a:pt x="224926" y="105974"/>
                    <a:pt x="226843" y="96398"/>
                  </a:cubicBezTo>
                  <a:lnTo>
                    <a:pt x="228121" y="90014"/>
                  </a:lnTo>
                  <a:lnTo>
                    <a:pt x="112463" y="88099"/>
                  </a:lnTo>
                  <a:cubicBezTo>
                    <a:pt x="111185" y="88099"/>
                    <a:pt x="110546" y="88099"/>
                    <a:pt x="109907" y="87461"/>
                  </a:cubicBezTo>
                  <a:cubicBezTo>
                    <a:pt x="108629" y="86822"/>
                    <a:pt x="107351" y="86822"/>
                    <a:pt x="106073" y="87461"/>
                  </a:cubicBezTo>
                  <a:cubicBezTo>
                    <a:pt x="102878" y="90653"/>
                    <a:pt x="100961" y="95121"/>
                    <a:pt x="101600" y="99590"/>
                  </a:cubicBezTo>
                  <a:lnTo>
                    <a:pt x="101600" y="119380"/>
                  </a:lnTo>
                  <a:cubicBezTo>
                    <a:pt x="100961" y="126403"/>
                    <a:pt x="102878" y="130872"/>
                    <a:pt x="104795" y="132148"/>
                  </a:cubicBezTo>
                  <a:cubicBezTo>
                    <a:pt x="106712" y="132787"/>
                    <a:pt x="108629" y="132787"/>
                    <a:pt x="109907" y="131510"/>
                  </a:cubicBezTo>
                  <a:cubicBezTo>
                    <a:pt x="110546" y="130872"/>
                    <a:pt x="111824" y="130872"/>
                    <a:pt x="113102" y="130872"/>
                  </a:cubicBezTo>
                  <a:lnTo>
                    <a:pt x="146969" y="131510"/>
                  </a:lnTo>
                  <a:cubicBezTo>
                    <a:pt x="150803" y="131510"/>
                    <a:pt x="153358" y="134064"/>
                    <a:pt x="153358" y="137894"/>
                  </a:cubicBezTo>
                  <a:cubicBezTo>
                    <a:pt x="153358" y="141724"/>
                    <a:pt x="150803" y="144278"/>
                    <a:pt x="146969" y="144278"/>
                  </a:cubicBezTo>
                  <a:lnTo>
                    <a:pt x="146969" y="144278"/>
                  </a:lnTo>
                  <a:lnTo>
                    <a:pt x="114380" y="143640"/>
                  </a:lnTo>
                  <a:cubicBezTo>
                    <a:pt x="111824" y="144916"/>
                    <a:pt x="109268" y="145555"/>
                    <a:pt x="106712" y="145555"/>
                  </a:cubicBezTo>
                  <a:cubicBezTo>
                    <a:pt x="103517" y="145555"/>
                    <a:pt x="100322" y="144278"/>
                    <a:pt x="97766" y="143001"/>
                  </a:cubicBezTo>
                  <a:cubicBezTo>
                    <a:pt x="90737" y="137256"/>
                    <a:pt x="87542" y="128318"/>
                    <a:pt x="89459" y="119380"/>
                  </a:cubicBezTo>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97A9"/>
                </a:solidFill>
                <a:effectLst/>
                <a:uLnTx/>
                <a:uFillTx/>
                <a:latin typeface="Calibri"/>
                <a:ea typeface="+mn-ea"/>
                <a:cs typeface="+mn-cs"/>
              </a:endParaRPr>
            </a:p>
          </p:txBody>
        </p:sp>
      </p:grpSp>
      <p:grpSp>
        <p:nvGrpSpPr>
          <p:cNvPr id="17" name="Graphic 4">
            <a:extLst>
              <a:ext uri="{FF2B5EF4-FFF2-40B4-BE49-F238E27FC236}">
                <a16:creationId xmlns:a16="http://schemas.microsoft.com/office/drawing/2014/main" id="{8CC5A1B0-376F-8D66-16CC-735EAF6713BB}"/>
              </a:ext>
            </a:extLst>
          </p:cNvPr>
          <p:cNvGrpSpPr/>
          <p:nvPr/>
        </p:nvGrpSpPr>
        <p:grpSpPr>
          <a:xfrm>
            <a:off x="5740400" y="504549"/>
            <a:ext cx="582468" cy="582951"/>
            <a:chOff x="9279466" y="4793256"/>
            <a:chExt cx="361671" cy="361971"/>
          </a:xfrm>
          <a:solidFill>
            <a:srgbClr val="0097A9"/>
          </a:solidFill>
        </p:grpSpPr>
        <p:sp>
          <p:nvSpPr>
            <p:cNvPr id="18" name="Graphic 4">
              <a:extLst>
                <a:ext uri="{FF2B5EF4-FFF2-40B4-BE49-F238E27FC236}">
                  <a16:creationId xmlns:a16="http://schemas.microsoft.com/office/drawing/2014/main" id="{2699C581-B4B3-1C35-439C-F2C1737FAFAA}"/>
                </a:ext>
              </a:extLst>
            </p:cNvPr>
            <p:cNvSpPr/>
            <p:nvPr/>
          </p:nvSpPr>
          <p:spPr>
            <a:xfrm>
              <a:off x="9279466" y="4793256"/>
              <a:ext cx="361671" cy="361971"/>
            </a:xfrm>
            <a:custGeom>
              <a:avLst/>
              <a:gdLst>
                <a:gd name="connsiteX0" fmla="*/ 180836 w 361671"/>
                <a:gd name="connsiteY0" fmla="*/ 0 h 361971"/>
                <a:gd name="connsiteX1" fmla="*/ 0 w 361671"/>
                <a:gd name="connsiteY1" fmla="*/ 180667 h 361971"/>
                <a:gd name="connsiteX2" fmla="*/ 180836 w 361671"/>
                <a:gd name="connsiteY2" fmla="*/ 361972 h 361971"/>
                <a:gd name="connsiteX3" fmla="*/ 361671 w 361671"/>
                <a:gd name="connsiteY3" fmla="*/ 181305 h 361971"/>
                <a:gd name="connsiteX4" fmla="*/ 361671 w 361671"/>
                <a:gd name="connsiteY4" fmla="*/ 181305 h 361971"/>
                <a:gd name="connsiteX5" fmla="*/ 180836 w 361671"/>
                <a:gd name="connsiteY5" fmla="*/ 0 h 361971"/>
                <a:gd name="connsiteX6" fmla="*/ 180836 w 361671"/>
                <a:gd name="connsiteY6" fmla="*/ 0 h 361971"/>
                <a:gd name="connsiteX7" fmla="*/ 111824 w 361671"/>
                <a:gd name="connsiteY7" fmla="*/ 107889 h 361971"/>
                <a:gd name="connsiteX8" fmla="*/ 137384 w 361671"/>
                <a:gd name="connsiteY8" fmla="*/ 133425 h 361971"/>
                <a:gd name="connsiteX9" fmla="*/ 111824 w 361671"/>
                <a:gd name="connsiteY9" fmla="*/ 158961 h 361971"/>
                <a:gd name="connsiteX10" fmla="*/ 86264 w 361671"/>
                <a:gd name="connsiteY10" fmla="*/ 133425 h 361971"/>
                <a:gd name="connsiteX11" fmla="*/ 111824 w 361671"/>
                <a:gd name="connsiteY11" fmla="*/ 107889 h 361971"/>
                <a:gd name="connsiteX12" fmla="*/ 151442 w 361671"/>
                <a:gd name="connsiteY12" fmla="*/ 253444 h 361971"/>
                <a:gd name="connsiteX13" fmla="*/ 145052 w 361671"/>
                <a:gd name="connsiteY13" fmla="*/ 259828 h 361971"/>
                <a:gd name="connsiteX14" fmla="*/ 138662 w 361671"/>
                <a:gd name="connsiteY14" fmla="*/ 253444 h 361971"/>
                <a:gd name="connsiteX15" fmla="*/ 138662 w 361671"/>
                <a:gd name="connsiteY15" fmla="*/ 193435 h 361971"/>
                <a:gd name="connsiteX16" fmla="*/ 86264 w 361671"/>
                <a:gd name="connsiteY16" fmla="*/ 191519 h 361971"/>
                <a:gd name="connsiteX17" fmla="*/ 86264 w 361671"/>
                <a:gd name="connsiteY17" fmla="*/ 253444 h 361971"/>
                <a:gd name="connsiteX18" fmla="*/ 79874 w 361671"/>
                <a:gd name="connsiteY18" fmla="*/ 259828 h 361971"/>
                <a:gd name="connsiteX19" fmla="*/ 73484 w 361671"/>
                <a:gd name="connsiteY19" fmla="*/ 253444 h 361971"/>
                <a:gd name="connsiteX20" fmla="*/ 73484 w 361671"/>
                <a:gd name="connsiteY20" fmla="*/ 187689 h 361971"/>
                <a:gd name="connsiteX21" fmla="*/ 76679 w 361671"/>
                <a:gd name="connsiteY21" fmla="*/ 181944 h 361971"/>
                <a:gd name="connsiteX22" fmla="*/ 148247 w 361671"/>
                <a:gd name="connsiteY22" fmla="*/ 184497 h 361971"/>
                <a:gd name="connsiteX23" fmla="*/ 148247 w 361671"/>
                <a:gd name="connsiteY23" fmla="*/ 184497 h 361971"/>
                <a:gd name="connsiteX24" fmla="*/ 148247 w 361671"/>
                <a:gd name="connsiteY24" fmla="*/ 184497 h 361971"/>
                <a:gd name="connsiteX25" fmla="*/ 178918 w 361671"/>
                <a:gd name="connsiteY25" fmla="*/ 208118 h 361971"/>
                <a:gd name="connsiteX26" fmla="*/ 203200 w 361671"/>
                <a:gd name="connsiteY26" fmla="*/ 182582 h 361971"/>
                <a:gd name="connsiteX27" fmla="*/ 212146 w 361671"/>
                <a:gd name="connsiteY27" fmla="*/ 182582 h 361971"/>
                <a:gd name="connsiteX28" fmla="*/ 212146 w 361671"/>
                <a:gd name="connsiteY28" fmla="*/ 191519 h 361971"/>
                <a:gd name="connsiteX29" fmla="*/ 212146 w 361671"/>
                <a:gd name="connsiteY29" fmla="*/ 191519 h 361971"/>
                <a:gd name="connsiteX30" fmla="*/ 184031 w 361671"/>
                <a:gd name="connsiteY30" fmla="*/ 220886 h 361971"/>
                <a:gd name="connsiteX31" fmla="*/ 179558 w 361671"/>
                <a:gd name="connsiteY31" fmla="*/ 222801 h 361971"/>
                <a:gd name="connsiteX32" fmla="*/ 175723 w 361671"/>
                <a:gd name="connsiteY32" fmla="*/ 221524 h 361971"/>
                <a:gd name="connsiteX33" fmla="*/ 150164 w 361671"/>
                <a:gd name="connsiteY33" fmla="*/ 202372 h 361971"/>
                <a:gd name="connsiteX34" fmla="*/ 151442 w 361671"/>
                <a:gd name="connsiteY34" fmla="*/ 253444 h 361971"/>
                <a:gd name="connsiteX35" fmla="*/ 287547 w 361671"/>
                <a:gd name="connsiteY35" fmla="*/ 253444 h 361971"/>
                <a:gd name="connsiteX36" fmla="*/ 281157 w 361671"/>
                <a:gd name="connsiteY36" fmla="*/ 259828 h 361971"/>
                <a:gd name="connsiteX37" fmla="*/ 173807 w 361671"/>
                <a:gd name="connsiteY37" fmla="*/ 259828 h 361971"/>
                <a:gd name="connsiteX38" fmla="*/ 167417 w 361671"/>
                <a:gd name="connsiteY38" fmla="*/ 253444 h 361971"/>
                <a:gd name="connsiteX39" fmla="*/ 167417 w 361671"/>
                <a:gd name="connsiteY39" fmla="*/ 238761 h 361971"/>
                <a:gd name="connsiteX40" fmla="*/ 173807 w 361671"/>
                <a:gd name="connsiteY40" fmla="*/ 232377 h 361971"/>
                <a:gd name="connsiteX41" fmla="*/ 180197 w 361671"/>
                <a:gd name="connsiteY41" fmla="*/ 238761 h 361971"/>
                <a:gd name="connsiteX42" fmla="*/ 180197 w 361671"/>
                <a:gd name="connsiteY42" fmla="*/ 247060 h 361971"/>
                <a:gd name="connsiteX43" fmla="*/ 274767 w 361671"/>
                <a:gd name="connsiteY43" fmla="*/ 247060 h 361971"/>
                <a:gd name="connsiteX44" fmla="*/ 274767 w 361671"/>
                <a:gd name="connsiteY44" fmla="*/ 114273 h 361971"/>
                <a:gd name="connsiteX45" fmla="*/ 180197 w 361671"/>
                <a:gd name="connsiteY45" fmla="*/ 114273 h 361971"/>
                <a:gd name="connsiteX46" fmla="*/ 180197 w 361671"/>
                <a:gd name="connsiteY46" fmla="*/ 165984 h 361971"/>
                <a:gd name="connsiteX47" fmla="*/ 173807 w 361671"/>
                <a:gd name="connsiteY47" fmla="*/ 172368 h 361971"/>
                <a:gd name="connsiteX48" fmla="*/ 167417 w 361671"/>
                <a:gd name="connsiteY48" fmla="*/ 165984 h 361971"/>
                <a:gd name="connsiteX49" fmla="*/ 167417 w 361671"/>
                <a:gd name="connsiteY49" fmla="*/ 107889 h 361971"/>
                <a:gd name="connsiteX50" fmla="*/ 173807 w 361671"/>
                <a:gd name="connsiteY50" fmla="*/ 101505 h 361971"/>
                <a:gd name="connsiteX51" fmla="*/ 281157 w 361671"/>
                <a:gd name="connsiteY51" fmla="*/ 101505 h 361971"/>
                <a:gd name="connsiteX52" fmla="*/ 287547 w 361671"/>
                <a:gd name="connsiteY52" fmla="*/ 107889 h 361971"/>
                <a:gd name="connsiteX53" fmla="*/ 287547 w 361671"/>
                <a:gd name="connsiteY53"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61671" h="361971">
                  <a:moveTo>
                    <a:pt x="180836" y="0"/>
                  </a:moveTo>
                  <a:cubicBezTo>
                    <a:pt x="80514" y="0"/>
                    <a:pt x="0" y="81077"/>
                    <a:pt x="0" y="180667"/>
                  </a:cubicBezTo>
                  <a:cubicBezTo>
                    <a:pt x="0" y="280257"/>
                    <a:pt x="81153" y="361972"/>
                    <a:pt x="180836" y="361972"/>
                  </a:cubicBezTo>
                  <a:cubicBezTo>
                    <a:pt x="281157" y="361972"/>
                    <a:pt x="361671" y="280895"/>
                    <a:pt x="361671" y="181305"/>
                  </a:cubicBezTo>
                  <a:cubicBezTo>
                    <a:pt x="361671" y="181305"/>
                    <a:pt x="361671" y="181305"/>
                    <a:pt x="361671" y="181305"/>
                  </a:cubicBezTo>
                  <a:cubicBezTo>
                    <a:pt x="361671" y="80438"/>
                    <a:pt x="280518" y="0"/>
                    <a:pt x="180836" y="0"/>
                  </a:cubicBezTo>
                  <a:cubicBezTo>
                    <a:pt x="180836" y="0"/>
                    <a:pt x="180836" y="0"/>
                    <a:pt x="180836" y="0"/>
                  </a:cubicBezTo>
                  <a:close/>
                  <a:moveTo>
                    <a:pt x="111824" y="107889"/>
                  </a:moveTo>
                  <a:cubicBezTo>
                    <a:pt x="125882" y="107889"/>
                    <a:pt x="137384" y="119381"/>
                    <a:pt x="137384" y="133425"/>
                  </a:cubicBezTo>
                  <a:cubicBezTo>
                    <a:pt x="137384" y="147470"/>
                    <a:pt x="125882" y="158961"/>
                    <a:pt x="111824" y="158961"/>
                  </a:cubicBezTo>
                  <a:cubicBezTo>
                    <a:pt x="97766" y="158961"/>
                    <a:pt x="86264" y="147470"/>
                    <a:pt x="86264" y="133425"/>
                  </a:cubicBezTo>
                  <a:cubicBezTo>
                    <a:pt x="86264" y="119381"/>
                    <a:pt x="97128" y="107889"/>
                    <a:pt x="111824" y="107889"/>
                  </a:cubicBezTo>
                  <a:close/>
                  <a:moveTo>
                    <a:pt x="151442" y="253444"/>
                  </a:moveTo>
                  <a:cubicBezTo>
                    <a:pt x="151442" y="257274"/>
                    <a:pt x="148886" y="259828"/>
                    <a:pt x="145052" y="259828"/>
                  </a:cubicBezTo>
                  <a:cubicBezTo>
                    <a:pt x="141218" y="259828"/>
                    <a:pt x="138662" y="257274"/>
                    <a:pt x="138662" y="253444"/>
                  </a:cubicBezTo>
                  <a:lnTo>
                    <a:pt x="138662" y="193435"/>
                  </a:lnTo>
                  <a:cubicBezTo>
                    <a:pt x="122687" y="185135"/>
                    <a:pt x="103517" y="184497"/>
                    <a:pt x="86264" y="191519"/>
                  </a:cubicBezTo>
                  <a:lnTo>
                    <a:pt x="86264" y="253444"/>
                  </a:lnTo>
                  <a:cubicBezTo>
                    <a:pt x="86264" y="257274"/>
                    <a:pt x="83709" y="259828"/>
                    <a:pt x="79874" y="259828"/>
                  </a:cubicBezTo>
                  <a:cubicBezTo>
                    <a:pt x="76040" y="259828"/>
                    <a:pt x="73484" y="257274"/>
                    <a:pt x="73484" y="253444"/>
                  </a:cubicBezTo>
                  <a:lnTo>
                    <a:pt x="73484" y="187689"/>
                  </a:lnTo>
                  <a:cubicBezTo>
                    <a:pt x="73484" y="185135"/>
                    <a:pt x="74763" y="183220"/>
                    <a:pt x="76679" y="181944"/>
                  </a:cubicBezTo>
                  <a:cubicBezTo>
                    <a:pt x="77958" y="181305"/>
                    <a:pt x="115019" y="162153"/>
                    <a:pt x="148247" y="184497"/>
                  </a:cubicBezTo>
                  <a:lnTo>
                    <a:pt x="148247" y="184497"/>
                  </a:lnTo>
                  <a:lnTo>
                    <a:pt x="148247" y="184497"/>
                  </a:lnTo>
                  <a:lnTo>
                    <a:pt x="178918" y="208118"/>
                  </a:lnTo>
                  <a:lnTo>
                    <a:pt x="203200" y="182582"/>
                  </a:lnTo>
                  <a:cubicBezTo>
                    <a:pt x="205756" y="180028"/>
                    <a:pt x="209590" y="180028"/>
                    <a:pt x="212146" y="182582"/>
                  </a:cubicBezTo>
                  <a:cubicBezTo>
                    <a:pt x="214703" y="185135"/>
                    <a:pt x="214703" y="188966"/>
                    <a:pt x="212146" y="191519"/>
                  </a:cubicBezTo>
                  <a:cubicBezTo>
                    <a:pt x="212146" y="191519"/>
                    <a:pt x="212146" y="191519"/>
                    <a:pt x="212146" y="191519"/>
                  </a:cubicBezTo>
                  <a:lnTo>
                    <a:pt x="184031" y="220886"/>
                  </a:lnTo>
                  <a:cubicBezTo>
                    <a:pt x="182753" y="222163"/>
                    <a:pt x="180836" y="222801"/>
                    <a:pt x="179558" y="222801"/>
                  </a:cubicBezTo>
                  <a:cubicBezTo>
                    <a:pt x="178279" y="222801"/>
                    <a:pt x="177002" y="222163"/>
                    <a:pt x="175723" y="221524"/>
                  </a:cubicBezTo>
                  <a:lnTo>
                    <a:pt x="150164" y="202372"/>
                  </a:lnTo>
                  <a:lnTo>
                    <a:pt x="151442" y="253444"/>
                  </a:lnTo>
                  <a:close/>
                  <a:moveTo>
                    <a:pt x="287547" y="253444"/>
                  </a:moveTo>
                  <a:cubicBezTo>
                    <a:pt x="287547" y="257274"/>
                    <a:pt x="284992" y="259828"/>
                    <a:pt x="281157" y="259828"/>
                  </a:cubicBezTo>
                  <a:lnTo>
                    <a:pt x="173807" y="259828"/>
                  </a:lnTo>
                  <a:cubicBezTo>
                    <a:pt x="169973" y="259828"/>
                    <a:pt x="167417" y="257274"/>
                    <a:pt x="167417" y="253444"/>
                  </a:cubicBezTo>
                  <a:lnTo>
                    <a:pt x="167417" y="238761"/>
                  </a:lnTo>
                  <a:cubicBezTo>
                    <a:pt x="167417" y="234930"/>
                    <a:pt x="169973" y="232377"/>
                    <a:pt x="173807" y="232377"/>
                  </a:cubicBezTo>
                  <a:cubicBezTo>
                    <a:pt x="177641" y="232377"/>
                    <a:pt x="180197" y="234930"/>
                    <a:pt x="180197" y="238761"/>
                  </a:cubicBezTo>
                  <a:lnTo>
                    <a:pt x="180197" y="247060"/>
                  </a:lnTo>
                  <a:lnTo>
                    <a:pt x="274767" y="247060"/>
                  </a:lnTo>
                  <a:lnTo>
                    <a:pt x="274767" y="114273"/>
                  </a:lnTo>
                  <a:lnTo>
                    <a:pt x="180197" y="114273"/>
                  </a:lnTo>
                  <a:lnTo>
                    <a:pt x="180197" y="165984"/>
                  </a:lnTo>
                  <a:cubicBezTo>
                    <a:pt x="180197" y="169814"/>
                    <a:pt x="177641" y="172368"/>
                    <a:pt x="173807" y="172368"/>
                  </a:cubicBezTo>
                  <a:cubicBezTo>
                    <a:pt x="169973" y="172368"/>
                    <a:pt x="167417" y="169814"/>
                    <a:pt x="167417" y="165984"/>
                  </a:cubicBezTo>
                  <a:lnTo>
                    <a:pt x="167417" y="107889"/>
                  </a:lnTo>
                  <a:cubicBezTo>
                    <a:pt x="167417" y="104059"/>
                    <a:pt x="169973" y="101505"/>
                    <a:pt x="173807" y="101505"/>
                  </a:cubicBezTo>
                  <a:lnTo>
                    <a:pt x="281157" y="101505"/>
                  </a:lnTo>
                  <a:cubicBezTo>
                    <a:pt x="284992" y="101505"/>
                    <a:pt x="287547" y="104059"/>
                    <a:pt x="287547" y="107889"/>
                  </a:cubicBezTo>
                  <a:lnTo>
                    <a:pt x="287547" y="253444"/>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97A9"/>
                </a:solidFill>
                <a:effectLst/>
                <a:uLnTx/>
                <a:uFillTx/>
                <a:latin typeface="Calibri"/>
                <a:ea typeface="+mn-ea"/>
                <a:cs typeface="+mn-cs"/>
              </a:endParaRPr>
            </a:p>
          </p:txBody>
        </p:sp>
        <p:sp>
          <p:nvSpPr>
            <p:cNvPr id="19" name="Graphic 4">
              <a:extLst>
                <a:ext uri="{FF2B5EF4-FFF2-40B4-BE49-F238E27FC236}">
                  <a16:creationId xmlns:a16="http://schemas.microsoft.com/office/drawing/2014/main" id="{8CA945FA-7345-1777-525D-EB796B7F4919}"/>
                </a:ext>
              </a:extLst>
            </p:cNvPr>
            <p:cNvSpPr/>
            <p:nvPr/>
          </p:nvSpPr>
          <p:spPr>
            <a:xfrm>
              <a:off x="9378510" y="4913913"/>
              <a:ext cx="25559" cy="25535"/>
            </a:xfrm>
            <a:custGeom>
              <a:avLst/>
              <a:gdLst>
                <a:gd name="connsiteX0" fmla="*/ 12780 w 25559"/>
                <a:gd name="connsiteY0" fmla="*/ 25536 h 25535"/>
                <a:gd name="connsiteX1" fmla="*/ 25560 w 25559"/>
                <a:gd name="connsiteY1" fmla="*/ 12768 h 25535"/>
                <a:gd name="connsiteX2" fmla="*/ 12780 w 25559"/>
                <a:gd name="connsiteY2" fmla="*/ 0 h 25535"/>
                <a:gd name="connsiteX3" fmla="*/ 0 w 25559"/>
                <a:gd name="connsiteY3" fmla="*/ 12768 h 25535"/>
                <a:gd name="connsiteX4" fmla="*/ 12780 w 25559"/>
                <a:gd name="connsiteY4" fmla="*/ 25536 h 2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59" h="25535">
                  <a:moveTo>
                    <a:pt x="12780" y="25536"/>
                  </a:moveTo>
                  <a:cubicBezTo>
                    <a:pt x="19809" y="25536"/>
                    <a:pt x="25560" y="19791"/>
                    <a:pt x="25560" y="12768"/>
                  </a:cubicBezTo>
                  <a:cubicBezTo>
                    <a:pt x="25560" y="5746"/>
                    <a:pt x="19809" y="0"/>
                    <a:pt x="12780" y="0"/>
                  </a:cubicBezTo>
                  <a:cubicBezTo>
                    <a:pt x="5751" y="0"/>
                    <a:pt x="0" y="5746"/>
                    <a:pt x="0" y="12768"/>
                  </a:cubicBezTo>
                  <a:cubicBezTo>
                    <a:pt x="0" y="19791"/>
                    <a:pt x="5112" y="25536"/>
                    <a:pt x="12780" y="25536"/>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97A9"/>
                </a:solidFill>
                <a:effectLst/>
                <a:uLnTx/>
                <a:uFillTx/>
                <a:latin typeface="Calibri"/>
                <a:ea typeface="+mn-ea"/>
                <a:cs typeface="+mn-cs"/>
              </a:endParaRP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sp>
        <p:nvSpPr>
          <p:cNvPr id="4" name="TextBox 4"/>
          <p:cNvSpPr txBox="1"/>
          <p:nvPr/>
        </p:nvSpPr>
        <p:spPr>
          <a:xfrm>
            <a:off x="420855" y="394941"/>
            <a:ext cx="6281457" cy="570541"/>
          </a:xfrm>
          <a:prstGeom prst="rect">
            <a:avLst/>
          </a:prstGeom>
        </p:spPr>
        <p:txBody>
          <a:bodyPr wrap="square" lIns="0" tIns="0" rIns="0" bIns="0" rtlCol="0" anchor="t">
            <a:spAutoFit/>
          </a:bodyPr>
          <a:lstStyle/>
          <a:p>
            <a:pPr marL="0" marR="0" lvl="0" indent="0" algn="l" defTabSz="609630" rtl="0" eaLnBrk="1" fontAlgn="auto" latinLnBrk="0" hangingPunct="1">
              <a:lnSpc>
                <a:spcPts val="4853"/>
              </a:lnSpc>
              <a:spcBef>
                <a:spcPts val="0"/>
              </a:spcBef>
              <a:spcAft>
                <a:spcPts val="0"/>
              </a:spcAft>
              <a:buClrTx/>
              <a:buSzTx/>
              <a:buFontTx/>
              <a:buNone/>
              <a:tabLst/>
              <a:defRPr/>
            </a:pP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Cómo</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funciona</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a:t>
            </a:r>
          </a:p>
        </p:txBody>
      </p:sp>
      <p:sp>
        <p:nvSpPr>
          <p:cNvPr id="5" name="TextBox 5"/>
          <p:cNvSpPr txBox="1"/>
          <p:nvPr/>
        </p:nvSpPr>
        <p:spPr>
          <a:xfrm>
            <a:off x="8191292" y="1213587"/>
            <a:ext cx="6698371" cy="1017586"/>
          </a:xfrm>
          <a:prstGeom prst="rect">
            <a:avLst/>
          </a:prstGeom>
        </p:spPr>
        <p:txBody>
          <a:bodyPr lIns="0" tIns="0" rIns="0" bIns="0" rtlCol="0" anchor="t">
            <a:spAutoFit/>
          </a:bodyPr>
          <a:lstStyle/>
          <a:p>
            <a:pPr marL="0" marR="0" lvl="0" indent="0" algn="l" defTabSz="609630" rtl="0" eaLnBrk="1" fontAlgn="auto" latinLnBrk="0" hangingPunct="1">
              <a:lnSpc>
                <a:spcPts val="2707"/>
              </a:lnSpc>
              <a:spcBef>
                <a:spcPts val="0"/>
              </a:spcBef>
              <a:spcAft>
                <a:spcPts val="0"/>
              </a:spcAft>
              <a:buClrTx/>
              <a:buSzTx/>
              <a:buFontTx/>
              <a:buNone/>
              <a:tabLst/>
              <a:defRPr/>
            </a:pPr>
            <a:r>
              <a:rPr kumimoji="0" lang="en-US" sz="1733" b="0" i="0" u="none" strike="noStrike" kern="1200" cap="none" spc="0" normalizeH="0" baseline="0" noProof="0">
                <a:ln>
                  <a:noFill/>
                </a:ln>
                <a:solidFill>
                  <a:srgbClr val="FFFFFF"/>
                </a:solidFill>
                <a:effectLst/>
                <a:uLnTx/>
                <a:uFillTx/>
                <a:latin typeface="Calibri"/>
                <a:ea typeface="+mn-ea"/>
                <a:cs typeface="+mn-cs"/>
              </a:rPr>
              <a:t>GPT es un </a:t>
            </a:r>
            <a:r>
              <a:rPr kumimoji="0" lang="en-US" sz="1733" b="0" i="0" u="none" strike="noStrike" kern="1200" cap="none" spc="0" normalizeH="0" baseline="0" noProof="0" err="1">
                <a:ln>
                  <a:noFill/>
                </a:ln>
                <a:solidFill>
                  <a:srgbClr val="FFFFFF"/>
                </a:solidFill>
                <a:effectLst/>
                <a:uLnTx/>
                <a:uFillTx/>
                <a:latin typeface="Calibri"/>
                <a:ea typeface="+mn-ea"/>
                <a:cs typeface="+mn-cs"/>
              </a:rPr>
              <a:t>modelo</a:t>
            </a:r>
            <a:r>
              <a:rPr kumimoji="0" lang="en-US" sz="1733" b="0" i="0" u="none" strike="noStrike" kern="1200" cap="none" spc="0" normalizeH="0" baseline="0" noProof="0">
                <a:ln>
                  <a:noFill/>
                </a:ln>
                <a:solidFill>
                  <a:srgbClr val="FFFFFF"/>
                </a:solidFill>
                <a:effectLst/>
                <a:uLnTx/>
                <a:uFillTx/>
                <a:latin typeface="Calibri"/>
                <a:ea typeface="+mn-ea"/>
                <a:cs typeface="+mn-cs"/>
              </a:rPr>
              <a:t> </a:t>
            </a:r>
            <a:r>
              <a:rPr kumimoji="0" lang="en-US" sz="1733" b="0" i="0" u="none" strike="noStrike" kern="1200" cap="none" spc="0" normalizeH="0" baseline="0" noProof="0" err="1">
                <a:ln>
                  <a:noFill/>
                </a:ln>
                <a:solidFill>
                  <a:srgbClr val="FFFFFF"/>
                </a:solidFill>
                <a:effectLst/>
                <a:uLnTx/>
                <a:uFillTx/>
                <a:latin typeface="Calibri"/>
                <a:ea typeface="+mn-ea"/>
                <a:cs typeface="+mn-cs"/>
              </a:rPr>
              <a:t>lenguaje</a:t>
            </a:r>
            <a:r>
              <a:rPr kumimoji="0" lang="en-US" sz="1733" b="0" i="0" u="none" strike="noStrike" kern="1200" cap="none" spc="0" normalizeH="0" baseline="0" noProof="0">
                <a:ln>
                  <a:noFill/>
                </a:ln>
                <a:solidFill>
                  <a:srgbClr val="FFFFFF"/>
                </a:solidFill>
                <a:effectLst/>
                <a:uLnTx/>
                <a:uFillTx/>
                <a:latin typeface="Calibri"/>
                <a:ea typeface="+mn-ea"/>
                <a:cs typeface="+mn-cs"/>
              </a:rPr>
              <a:t> </a:t>
            </a:r>
            <a:r>
              <a:rPr kumimoji="0" lang="en-US" sz="1733" b="0" i="0" u="none" strike="noStrike" kern="1200" cap="none" spc="0" normalizeH="0" baseline="0" noProof="0" err="1">
                <a:ln>
                  <a:noFill/>
                </a:ln>
                <a:solidFill>
                  <a:srgbClr val="FFFFFF"/>
                </a:solidFill>
                <a:effectLst/>
                <a:uLnTx/>
                <a:uFillTx/>
                <a:latin typeface="Calibri"/>
                <a:ea typeface="+mn-ea"/>
                <a:cs typeface="+mn-cs"/>
              </a:rPr>
              <a:t>predictivo</a:t>
            </a:r>
            <a:r>
              <a:rPr kumimoji="0" lang="en-US" sz="1733" b="0" i="0" u="none" strike="noStrike" kern="1200" cap="none" spc="0" normalizeH="0" baseline="0" noProof="0">
                <a:ln>
                  <a:noFill/>
                </a:ln>
                <a:solidFill>
                  <a:srgbClr val="FFFFFF"/>
                </a:solidFill>
                <a:effectLst/>
                <a:uLnTx/>
                <a:uFillTx/>
                <a:latin typeface="Calibri"/>
                <a:ea typeface="+mn-ea"/>
                <a:cs typeface="+mn-cs"/>
              </a:rPr>
              <a:t>. </a:t>
            </a:r>
          </a:p>
          <a:p>
            <a:pPr marL="0" marR="0" lvl="0" indent="0" algn="l" defTabSz="609630" rtl="0" eaLnBrk="1" fontAlgn="auto" latinLnBrk="0" hangingPunct="1">
              <a:lnSpc>
                <a:spcPts val="2707"/>
              </a:lnSpc>
              <a:spcBef>
                <a:spcPts val="0"/>
              </a:spcBef>
              <a:spcAft>
                <a:spcPts val="0"/>
              </a:spcAft>
              <a:buClrTx/>
              <a:buSzTx/>
              <a:buFontTx/>
              <a:buNone/>
              <a:tabLst/>
              <a:defRPr/>
            </a:pPr>
            <a:endParaRPr kumimoji="0" lang="en-US" sz="1933" b="0" i="0" u="none" strike="noStrike" kern="1200" cap="none" spc="0" normalizeH="0" baseline="0" noProof="0">
              <a:ln>
                <a:noFill/>
              </a:ln>
              <a:solidFill>
                <a:srgbClr val="FFFFFF"/>
              </a:solidFill>
              <a:effectLst/>
              <a:uLnTx/>
              <a:uFillTx/>
              <a:latin typeface="Calibri"/>
              <a:ea typeface="+mn-ea"/>
              <a:cs typeface="+mn-cs"/>
            </a:endParaRPr>
          </a:p>
          <a:p>
            <a:pPr marL="0" marR="0" lvl="0" indent="0" algn="l" defTabSz="609630" rtl="0" eaLnBrk="1" fontAlgn="auto" latinLnBrk="0" hangingPunct="1">
              <a:lnSpc>
                <a:spcPts val="2707"/>
              </a:lnSpc>
              <a:spcBef>
                <a:spcPts val="0"/>
              </a:spcBef>
              <a:spcAft>
                <a:spcPts val="0"/>
              </a:spcAft>
              <a:buClrTx/>
              <a:buSzTx/>
              <a:buFontTx/>
              <a:buNone/>
              <a:tabLst/>
              <a:defRPr/>
            </a:pPr>
            <a:endParaRPr kumimoji="0" lang="en-US" sz="1933" b="0" i="0" u="none" strike="noStrike" kern="1200" cap="none" spc="0" normalizeH="0" baseline="0" noProof="0">
              <a:ln>
                <a:noFill/>
              </a:ln>
              <a:solidFill>
                <a:srgbClr val="FFFFFF"/>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E312B79E-41B6-6150-0250-F66134352DEF}"/>
              </a:ext>
            </a:extLst>
          </p:cNvPr>
          <p:cNvSpPr/>
          <p:nvPr/>
        </p:nvSpPr>
        <p:spPr>
          <a:xfrm>
            <a:off x="0" y="2199050"/>
            <a:ext cx="9651999" cy="86360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630" rtl="0" eaLnBrk="1" fontAlgn="auto" latinLnBrk="0" hangingPunct="1">
              <a:lnSpc>
                <a:spcPts val="2707"/>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err="1">
                <a:ln>
                  <a:noFill/>
                </a:ln>
                <a:solidFill>
                  <a:prstClr val="white"/>
                </a:solidFill>
                <a:effectLst/>
                <a:uLnTx/>
                <a:uFillTx/>
                <a:latin typeface="Calibri"/>
                <a:ea typeface="+mn-ea"/>
                <a:cs typeface="+mn-cs"/>
              </a:rPr>
              <a:t>Utiliza</a:t>
            </a: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err="1">
                <a:ln>
                  <a:noFill/>
                </a:ln>
                <a:solidFill>
                  <a:prstClr val="white"/>
                </a:solidFill>
                <a:effectLst/>
                <a:uLnTx/>
                <a:uFillTx/>
                <a:latin typeface="Calibri"/>
                <a:ea typeface="+mn-ea"/>
                <a:cs typeface="+mn-cs"/>
              </a:rPr>
              <a:t>una</a:t>
            </a: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2000" b="1" i="0" u="none" strike="noStrike" kern="1200" cap="none" spc="0" normalizeH="0" baseline="0" noProof="0">
                <a:ln>
                  <a:noFill/>
                </a:ln>
                <a:solidFill>
                  <a:prstClr val="white"/>
                </a:solidFill>
                <a:effectLst/>
                <a:uLnTx/>
                <a:uFillTx/>
                <a:latin typeface="Calibri"/>
                <a:ea typeface="+mn-ea"/>
                <a:cs typeface="+mn-cs"/>
              </a:rPr>
              <a:t>red neuronal</a:t>
            </a:r>
            <a:r>
              <a:rPr kumimoji="0" lang="en-US" sz="1800" b="1"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a:ln>
                  <a:noFill/>
                </a:ln>
                <a:solidFill>
                  <a:prstClr val="white"/>
                </a:solidFill>
                <a:effectLst/>
                <a:uLnTx/>
                <a:uFillTx/>
                <a:latin typeface="Calibri"/>
                <a:ea typeface="+mn-ea"/>
                <a:cs typeface="+mn-cs"/>
              </a:rPr>
              <a:t>para </a:t>
            </a:r>
            <a:r>
              <a:rPr kumimoji="0" lang="en-US" sz="1800" b="0" i="0" u="none" strike="noStrike" kern="1200" cap="none" spc="0" normalizeH="0" baseline="0" noProof="0" err="1">
                <a:ln>
                  <a:noFill/>
                </a:ln>
                <a:solidFill>
                  <a:prstClr val="white"/>
                </a:solidFill>
                <a:effectLst/>
                <a:uLnTx/>
                <a:uFillTx/>
                <a:latin typeface="Calibri"/>
                <a:ea typeface="+mn-ea"/>
                <a:cs typeface="+mn-cs"/>
              </a:rPr>
              <a:t>poder</a:t>
            </a: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2000" b="1" i="0" u="none" strike="noStrike" kern="1200" cap="none" spc="0" normalizeH="0" baseline="0" noProof="0" err="1">
                <a:ln>
                  <a:noFill/>
                </a:ln>
                <a:solidFill>
                  <a:prstClr val="white"/>
                </a:solidFill>
                <a:effectLst/>
                <a:uLnTx/>
                <a:uFillTx/>
                <a:latin typeface="Calibri"/>
                <a:ea typeface="+mn-ea"/>
                <a:cs typeface="+mn-cs"/>
              </a:rPr>
              <a:t>relacionar</a:t>
            </a:r>
            <a:r>
              <a:rPr kumimoji="0" lang="en-US" sz="2000" b="1" i="0" u="none" strike="noStrike" kern="1200" cap="none" spc="0" normalizeH="0" baseline="0" noProof="0">
                <a:ln>
                  <a:noFill/>
                </a:ln>
                <a:solidFill>
                  <a:prstClr val="white"/>
                </a:solidFill>
                <a:effectLst/>
                <a:uLnTx/>
                <a:uFillTx/>
                <a:latin typeface="Calibri"/>
                <a:ea typeface="+mn-ea"/>
                <a:cs typeface="+mn-cs"/>
              </a:rPr>
              <a:t> las palabras</a:t>
            </a:r>
            <a:r>
              <a:rPr kumimoji="0" lang="en-US" sz="1800" b="1"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a:ln>
                  <a:noFill/>
                </a:ln>
                <a:solidFill>
                  <a:prstClr val="white"/>
                </a:solidFill>
                <a:effectLst/>
                <a:uLnTx/>
                <a:uFillTx/>
                <a:latin typeface="Calibri"/>
                <a:ea typeface="+mn-ea"/>
                <a:cs typeface="+mn-cs"/>
              </a:rPr>
              <a:t>con </a:t>
            </a:r>
            <a:r>
              <a:rPr kumimoji="0" lang="en-US" sz="1800" b="0" i="0" u="none" strike="noStrike" kern="1200" cap="none" spc="0" normalizeH="0" baseline="0" noProof="0" err="1">
                <a:ln>
                  <a:noFill/>
                </a:ln>
                <a:solidFill>
                  <a:prstClr val="white"/>
                </a:solidFill>
                <a:effectLst/>
                <a:uLnTx/>
                <a:uFillTx/>
                <a:latin typeface="Calibri"/>
                <a:ea typeface="+mn-ea"/>
                <a:cs typeface="+mn-cs"/>
              </a:rPr>
              <a:t>otras</a:t>
            </a:r>
            <a:r>
              <a:rPr kumimoji="0" lang="en-US" sz="1800" b="0" i="0" u="none" strike="noStrike" kern="1200" cap="none" spc="0" normalizeH="0" baseline="0" noProof="0">
                <a:ln>
                  <a:noFill/>
                </a:ln>
                <a:solidFill>
                  <a:prstClr val="white"/>
                </a:solidFill>
                <a:effectLst/>
                <a:uLnTx/>
                <a:uFillTx/>
                <a:latin typeface="Calibri"/>
                <a:ea typeface="+mn-ea"/>
                <a:cs typeface="+mn-cs"/>
              </a:rPr>
              <a:t>. </a:t>
            </a:r>
          </a:p>
        </p:txBody>
      </p:sp>
      <p:sp>
        <p:nvSpPr>
          <p:cNvPr id="7" name="Rectangle 6">
            <a:extLst>
              <a:ext uri="{FF2B5EF4-FFF2-40B4-BE49-F238E27FC236}">
                <a16:creationId xmlns:a16="http://schemas.microsoft.com/office/drawing/2014/main" id="{CF0E7246-D583-85B5-A3AD-4717A7F05374}"/>
              </a:ext>
            </a:extLst>
          </p:cNvPr>
          <p:cNvSpPr/>
          <p:nvPr/>
        </p:nvSpPr>
        <p:spPr>
          <a:xfrm>
            <a:off x="3048000" y="3222356"/>
            <a:ext cx="9144000" cy="863600"/>
          </a:xfrm>
          <a:prstGeom prst="rect">
            <a:avLst/>
          </a:prstGeom>
          <a:solidFill>
            <a:srgbClr val="6FC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630" rtl="0" eaLnBrk="1" fontAlgn="auto" latinLnBrk="0" hangingPunct="1">
              <a:lnSpc>
                <a:spcPts val="2707"/>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a:p>
            <a:pPr marL="0" marR="0" lvl="0" indent="0" algn="l" defTabSz="609630" rtl="0" eaLnBrk="1" fontAlgn="auto" latinLnBrk="0" hangingPunct="1">
              <a:lnSpc>
                <a:spcPts val="2707"/>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err="1">
                <a:ln>
                  <a:noFill/>
                </a:ln>
                <a:solidFill>
                  <a:prstClr val="white"/>
                </a:solidFill>
                <a:effectLst/>
                <a:uLnTx/>
                <a:uFillTx/>
                <a:latin typeface="Calibri"/>
                <a:ea typeface="+mn-ea"/>
                <a:cs typeface="+mn-cs"/>
              </a:rPr>
              <a:t>Recordemos</a:t>
            </a:r>
            <a:r>
              <a:rPr kumimoji="0" lang="en-US" sz="1800" b="0" i="0" u="none" strike="noStrike" kern="1200" cap="none" spc="0" normalizeH="0" baseline="0" noProof="0">
                <a:ln>
                  <a:noFill/>
                </a:ln>
                <a:solidFill>
                  <a:prstClr val="white"/>
                </a:solidFill>
                <a:effectLst/>
                <a:uLnTx/>
                <a:uFillTx/>
                <a:latin typeface="Calibri"/>
                <a:ea typeface="+mn-ea"/>
                <a:cs typeface="+mn-cs"/>
              </a:rPr>
              <a:t> que las </a:t>
            </a:r>
            <a:r>
              <a:rPr kumimoji="0" lang="en-US" sz="2000" b="1" i="0" u="none" strike="noStrike" kern="1200" cap="none" spc="0" normalizeH="0" baseline="0" noProof="0" err="1">
                <a:ln>
                  <a:noFill/>
                </a:ln>
                <a:solidFill>
                  <a:prstClr val="white"/>
                </a:solidFill>
                <a:effectLst/>
                <a:uLnTx/>
                <a:uFillTx/>
                <a:latin typeface="Calibri"/>
                <a:ea typeface="+mn-ea"/>
                <a:cs typeface="+mn-cs"/>
              </a:rPr>
              <a:t>computadoras</a:t>
            </a:r>
            <a:r>
              <a:rPr kumimoji="0" lang="en-US" sz="2000" b="1" i="0" u="none" strike="noStrike" kern="1200" cap="none" spc="0" normalizeH="0" baseline="0" noProof="0">
                <a:ln>
                  <a:noFill/>
                </a:ln>
                <a:solidFill>
                  <a:prstClr val="white"/>
                </a:solidFill>
                <a:effectLst/>
                <a:uLnTx/>
                <a:uFillTx/>
                <a:latin typeface="Calibri"/>
                <a:ea typeface="+mn-ea"/>
                <a:cs typeface="+mn-cs"/>
              </a:rPr>
              <a:t> no </a:t>
            </a:r>
            <a:r>
              <a:rPr kumimoji="0" lang="en-US" sz="2000" b="1" i="0" u="none" strike="noStrike" kern="1200" cap="none" spc="0" normalizeH="0" baseline="0" noProof="0" err="1">
                <a:ln>
                  <a:noFill/>
                </a:ln>
                <a:solidFill>
                  <a:prstClr val="white"/>
                </a:solidFill>
                <a:effectLst/>
                <a:uLnTx/>
                <a:uFillTx/>
                <a:latin typeface="Calibri"/>
                <a:ea typeface="+mn-ea"/>
                <a:cs typeface="+mn-cs"/>
              </a:rPr>
              <a:t>entienden</a:t>
            </a:r>
            <a:r>
              <a:rPr kumimoji="0" lang="en-US" sz="2000" b="1" i="0" u="none" strike="noStrike" kern="1200" cap="none" spc="0" normalizeH="0" baseline="0" noProof="0">
                <a:ln>
                  <a:noFill/>
                </a:ln>
                <a:solidFill>
                  <a:prstClr val="white"/>
                </a:solidFill>
                <a:effectLst/>
                <a:uLnTx/>
                <a:uFillTx/>
                <a:latin typeface="Calibri"/>
                <a:ea typeface="+mn-ea"/>
                <a:cs typeface="+mn-cs"/>
              </a:rPr>
              <a:t> palabras</a:t>
            </a: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err="1">
                <a:ln>
                  <a:noFill/>
                </a:ln>
                <a:solidFill>
                  <a:prstClr val="white"/>
                </a:solidFill>
                <a:effectLst/>
                <a:uLnTx/>
                <a:uFillTx/>
                <a:latin typeface="Calibri"/>
                <a:ea typeface="+mn-ea"/>
                <a:cs typeface="+mn-cs"/>
              </a:rPr>
              <a:t>entienden</a:t>
            </a: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err="1">
                <a:ln>
                  <a:noFill/>
                </a:ln>
                <a:solidFill>
                  <a:prstClr val="white"/>
                </a:solidFill>
                <a:effectLst/>
                <a:uLnTx/>
                <a:uFillTx/>
                <a:latin typeface="Calibri"/>
                <a:ea typeface="+mn-ea"/>
                <a:cs typeface="+mn-cs"/>
              </a:rPr>
              <a:t>números</a:t>
            </a:r>
            <a:r>
              <a:rPr kumimoji="0" lang="en-US" sz="1800" b="0" i="0" u="none" strike="noStrike" kern="1200" cap="none" spc="0" normalizeH="0" baseline="0" noProof="0">
                <a:ln>
                  <a:noFill/>
                </a:ln>
                <a:solidFill>
                  <a:prstClr val="white"/>
                </a:solidFill>
                <a:effectLst/>
                <a:uLnTx/>
                <a:uFillTx/>
                <a:latin typeface="Calibri"/>
                <a:ea typeface="+mn-ea"/>
                <a:cs typeface="+mn-cs"/>
              </a:rPr>
              <a:t>. </a:t>
            </a:r>
          </a:p>
          <a:p>
            <a:pPr marL="0" marR="0" lvl="0" indent="0" algn="l" defTabSz="609630" rtl="0" eaLnBrk="1" fontAlgn="auto" latinLnBrk="0" hangingPunct="1">
              <a:lnSpc>
                <a:spcPts val="2707"/>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50AA0482-6052-F2FC-8646-2F652ECDD75A}"/>
              </a:ext>
            </a:extLst>
          </p:cNvPr>
          <p:cNvSpPr/>
          <p:nvPr/>
        </p:nvSpPr>
        <p:spPr>
          <a:xfrm>
            <a:off x="4793" y="4321000"/>
            <a:ext cx="9647207" cy="86360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630" rtl="0" eaLnBrk="1" fontAlgn="auto" latinLnBrk="0" hangingPunct="1">
              <a:lnSpc>
                <a:spcPts val="2707"/>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  </a:t>
            </a:r>
            <a:r>
              <a:rPr kumimoji="0" lang="en-US" sz="2000" b="1" i="0" u="none" strike="noStrike" kern="1200" cap="none" spc="0" normalizeH="0" baseline="0" noProof="0">
                <a:ln>
                  <a:noFill/>
                </a:ln>
                <a:solidFill>
                  <a:prstClr val="white"/>
                </a:solidFill>
                <a:effectLst/>
                <a:uLnTx/>
                <a:uFillTx/>
                <a:latin typeface="Calibri"/>
                <a:ea typeface="+mn-ea"/>
                <a:cs typeface="+mn-cs"/>
              </a:rPr>
              <a:t>A </a:t>
            </a:r>
            <a:r>
              <a:rPr kumimoji="0" lang="en-US" sz="2000" b="1" i="0" u="none" strike="noStrike" kern="1200" cap="none" spc="0" normalizeH="0" baseline="0" noProof="0" err="1">
                <a:ln>
                  <a:noFill/>
                </a:ln>
                <a:solidFill>
                  <a:prstClr val="white"/>
                </a:solidFill>
                <a:effectLst/>
                <a:uLnTx/>
                <a:uFillTx/>
                <a:latin typeface="Calibri"/>
                <a:ea typeface="+mn-ea"/>
                <a:cs typeface="+mn-cs"/>
              </a:rPr>
              <a:t>cada</a:t>
            </a:r>
            <a:r>
              <a:rPr kumimoji="0" lang="en-US" sz="2000" b="1" i="0" u="none" strike="noStrike" kern="1200" cap="none" spc="0" normalizeH="0" baseline="0" noProof="0">
                <a:ln>
                  <a:noFill/>
                </a:ln>
                <a:solidFill>
                  <a:prstClr val="white"/>
                </a:solidFill>
                <a:effectLst/>
                <a:uLnTx/>
                <a:uFillTx/>
                <a:latin typeface="Calibri"/>
                <a:ea typeface="+mn-ea"/>
                <a:cs typeface="+mn-cs"/>
              </a:rPr>
              <a:t> </a:t>
            </a:r>
            <a:r>
              <a:rPr kumimoji="0" lang="en-US" sz="2000" b="1" i="0" u="none" strike="noStrike" kern="1200" cap="none" spc="0" normalizeH="0" baseline="0" noProof="0" err="1">
                <a:ln>
                  <a:noFill/>
                </a:ln>
                <a:solidFill>
                  <a:prstClr val="white"/>
                </a:solidFill>
                <a:effectLst/>
                <a:uLnTx/>
                <a:uFillTx/>
                <a:latin typeface="Calibri"/>
                <a:ea typeface="+mn-ea"/>
                <a:cs typeface="+mn-cs"/>
              </a:rPr>
              <a:t>letra</a:t>
            </a:r>
            <a:r>
              <a:rPr kumimoji="0" lang="en-US" sz="2000" b="1" i="0" u="none" strike="noStrike" kern="1200" cap="none" spc="0" normalizeH="0" baseline="0" noProof="0">
                <a:ln>
                  <a:noFill/>
                </a:ln>
                <a:solidFill>
                  <a:prstClr val="white"/>
                </a:solidFill>
                <a:effectLst/>
                <a:uLnTx/>
                <a:uFillTx/>
                <a:latin typeface="Calibri"/>
                <a:ea typeface="+mn-ea"/>
                <a:cs typeface="+mn-cs"/>
              </a:rPr>
              <a:t> se le </a:t>
            </a:r>
            <a:r>
              <a:rPr kumimoji="0" lang="en-US" sz="2000" b="1" i="0" u="none" strike="noStrike" kern="1200" cap="none" spc="0" normalizeH="0" baseline="0" noProof="0" err="1">
                <a:ln>
                  <a:noFill/>
                </a:ln>
                <a:solidFill>
                  <a:prstClr val="white"/>
                </a:solidFill>
                <a:effectLst/>
                <a:uLnTx/>
                <a:uFillTx/>
                <a:latin typeface="Calibri"/>
                <a:ea typeface="+mn-ea"/>
                <a:cs typeface="+mn-cs"/>
              </a:rPr>
              <a:t>asigna</a:t>
            </a:r>
            <a:r>
              <a:rPr kumimoji="0" lang="en-US" sz="2000" b="1" i="0" u="none" strike="noStrike" kern="1200" cap="none" spc="0" normalizeH="0" baseline="0" noProof="0">
                <a:ln>
                  <a:noFill/>
                </a:ln>
                <a:solidFill>
                  <a:prstClr val="white"/>
                </a:solidFill>
                <a:effectLst/>
                <a:uLnTx/>
                <a:uFillTx/>
                <a:latin typeface="Calibri"/>
                <a:ea typeface="+mn-ea"/>
                <a:cs typeface="+mn-cs"/>
              </a:rPr>
              <a:t> un </a:t>
            </a:r>
            <a:r>
              <a:rPr kumimoji="0" lang="en-US" sz="2000" b="1" i="0" u="none" strike="noStrike" kern="1200" cap="none" spc="0" normalizeH="0" baseline="0" noProof="0" err="1">
                <a:ln>
                  <a:noFill/>
                </a:ln>
                <a:solidFill>
                  <a:prstClr val="white"/>
                </a:solidFill>
                <a:effectLst/>
                <a:uLnTx/>
                <a:uFillTx/>
                <a:latin typeface="Calibri"/>
                <a:ea typeface="+mn-ea"/>
                <a:cs typeface="+mn-cs"/>
              </a:rPr>
              <a:t>número</a:t>
            </a:r>
            <a:r>
              <a:rPr kumimoji="0" lang="en-US" sz="1800" b="0" i="0" u="none" strike="noStrike" kern="1200" cap="none" spc="0" normalizeH="0" baseline="0" noProof="0">
                <a:ln>
                  <a:noFill/>
                </a:ln>
                <a:solidFill>
                  <a:prstClr val="white"/>
                </a:solidFill>
                <a:effectLst/>
                <a:uLnTx/>
                <a:uFillTx/>
                <a:latin typeface="Calibri"/>
                <a:ea typeface="+mn-ea"/>
                <a:cs typeface="+mn-cs"/>
              </a:rPr>
              <a:t>, GPT </a:t>
            </a:r>
            <a:r>
              <a:rPr kumimoji="0" lang="en-US" sz="1800" b="0" i="0" u="none" strike="noStrike" kern="1200" cap="none" spc="0" normalizeH="0" baseline="0" noProof="0" err="1">
                <a:ln>
                  <a:noFill/>
                </a:ln>
                <a:solidFill>
                  <a:prstClr val="white"/>
                </a:solidFill>
                <a:effectLst/>
                <a:uLnTx/>
                <a:uFillTx/>
                <a:latin typeface="Calibri"/>
                <a:ea typeface="+mn-ea"/>
                <a:cs typeface="+mn-cs"/>
              </a:rPr>
              <a:t>encuentra</a:t>
            </a: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err="1">
                <a:ln>
                  <a:noFill/>
                </a:ln>
                <a:solidFill>
                  <a:prstClr val="white"/>
                </a:solidFill>
                <a:effectLst/>
                <a:uLnTx/>
                <a:uFillTx/>
                <a:latin typeface="Calibri"/>
                <a:ea typeface="+mn-ea"/>
                <a:cs typeface="+mn-cs"/>
              </a:rPr>
              <a:t>patrones</a:t>
            </a:r>
            <a:r>
              <a:rPr kumimoji="0" lang="en-US" sz="1800" b="0" i="0" u="none" strike="noStrike" kern="1200" cap="none" spc="0" normalizeH="0" baseline="0" noProof="0">
                <a:ln>
                  <a:noFill/>
                </a:ln>
                <a:solidFill>
                  <a:prstClr val="white"/>
                </a:solidFill>
                <a:effectLst/>
                <a:uLnTx/>
                <a:uFillTx/>
                <a:latin typeface="Calibri"/>
                <a:ea typeface="+mn-ea"/>
                <a:cs typeface="+mn-cs"/>
              </a:rPr>
              <a:t> y </a:t>
            </a:r>
            <a:r>
              <a:rPr kumimoji="0" lang="en-US" sz="1800" b="0" i="0" u="none" strike="noStrike" kern="1200" cap="none" spc="0" normalizeH="0" baseline="0" noProof="0" err="1">
                <a:ln>
                  <a:noFill/>
                </a:ln>
                <a:solidFill>
                  <a:prstClr val="white"/>
                </a:solidFill>
                <a:effectLst/>
                <a:uLnTx/>
                <a:uFillTx/>
                <a:latin typeface="Calibri"/>
                <a:ea typeface="+mn-ea"/>
                <a:cs typeface="+mn-cs"/>
              </a:rPr>
              <a:t>los</a:t>
            </a: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err="1">
                <a:ln>
                  <a:noFill/>
                </a:ln>
                <a:solidFill>
                  <a:prstClr val="white"/>
                </a:solidFill>
                <a:effectLst/>
                <a:uLnTx/>
                <a:uFillTx/>
                <a:latin typeface="Calibri"/>
                <a:ea typeface="+mn-ea"/>
                <a:cs typeface="+mn-cs"/>
              </a:rPr>
              <a:t>guarda</a:t>
            </a:r>
            <a:r>
              <a:rPr kumimoji="0" lang="en-US" sz="1800" b="0" i="0" u="none" strike="noStrike" kern="1200" cap="none" spc="0" normalizeH="0" baseline="0" noProof="0">
                <a:ln>
                  <a:noFill/>
                </a:ln>
                <a:solidFill>
                  <a:prstClr val="white"/>
                </a:solidFill>
                <a:effectLst/>
                <a:uLnTx/>
                <a:uFillTx/>
                <a:latin typeface="Calibri"/>
                <a:ea typeface="+mn-ea"/>
                <a:cs typeface="+mn-cs"/>
              </a:rPr>
              <a:t>, </a:t>
            </a:r>
          </a:p>
          <a:p>
            <a:pPr marL="0" marR="0" lvl="0" indent="0" algn="l" defTabSz="609630" rtl="0" eaLnBrk="1" fontAlgn="auto" latinLnBrk="0" hangingPunct="1">
              <a:lnSpc>
                <a:spcPts val="2707"/>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err="1">
                <a:ln>
                  <a:noFill/>
                </a:ln>
                <a:solidFill>
                  <a:prstClr val="white"/>
                </a:solidFill>
                <a:effectLst/>
                <a:uLnTx/>
                <a:uFillTx/>
                <a:latin typeface="Calibri"/>
                <a:ea typeface="+mn-ea"/>
                <a:cs typeface="+mn-cs"/>
              </a:rPr>
              <a:t>llamándolos</a:t>
            </a: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1800" b="0" i="1" u="none" strike="noStrike" kern="1200" cap="none" spc="0" normalizeH="0" baseline="0" noProof="0">
                <a:ln>
                  <a:noFill/>
                </a:ln>
                <a:solidFill>
                  <a:prstClr val="white"/>
                </a:solidFill>
                <a:effectLst/>
                <a:uLnTx/>
                <a:uFillTx/>
                <a:latin typeface="Calibri"/>
                <a:ea typeface="+mn-ea"/>
                <a:cs typeface="+mn-cs"/>
              </a:rPr>
              <a:t>“token”</a:t>
            </a:r>
            <a:r>
              <a:rPr kumimoji="0" lang="en-US" sz="1800" b="0" i="0" u="none" strike="noStrike" kern="1200" cap="none" spc="0" normalizeH="0" baseline="0" noProof="0">
                <a:ln>
                  <a:noFill/>
                </a:ln>
                <a:solidFill>
                  <a:prstClr val="white"/>
                </a:solidFill>
                <a:effectLst/>
                <a:uLnTx/>
                <a:uFillTx/>
                <a:latin typeface="Calibri"/>
                <a:ea typeface="+mn-ea"/>
                <a:cs typeface="+mn-cs"/>
              </a:rPr>
              <a:t>.</a:t>
            </a:r>
          </a:p>
        </p:txBody>
      </p:sp>
      <p:sp>
        <p:nvSpPr>
          <p:cNvPr id="9" name="Rectangle 8">
            <a:extLst>
              <a:ext uri="{FF2B5EF4-FFF2-40B4-BE49-F238E27FC236}">
                <a16:creationId xmlns:a16="http://schemas.microsoft.com/office/drawing/2014/main" id="{EF02574E-1862-362B-5A0B-D5F3B61ADB1A}"/>
              </a:ext>
            </a:extLst>
          </p:cNvPr>
          <p:cNvSpPr/>
          <p:nvPr/>
        </p:nvSpPr>
        <p:spPr>
          <a:xfrm>
            <a:off x="3048000" y="5392348"/>
            <a:ext cx="9144000" cy="863600"/>
          </a:xfrm>
          <a:prstGeom prst="rect">
            <a:avLst/>
          </a:prstGeom>
          <a:solidFill>
            <a:srgbClr val="6FC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630" rtl="0" eaLnBrk="1" fontAlgn="auto" latinLnBrk="0" hangingPunct="1">
              <a:lnSpc>
                <a:spcPts val="2707"/>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                   </a:t>
            </a:r>
            <a:r>
              <a:rPr kumimoji="0" lang="en-US" sz="2000" b="1" i="0" u="none" strike="noStrike" kern="1200" cap="none" spc="0" normalizeH="0" baseline="0" noProof="0">
                <a:ln>
                  <a:noFill/>
                </a:ln>
                <a:solidFill>
                  <a:prstClr val="white"/>
                </a:solidFill>
                <a:effectLst/>
                <a:uLnTx/>
                <a:uFillTx/>
                <a:latin typeface="Calibri"/>
                <a:ea typeface="+mn-ea"/>
                <a:cs typeface="+mn-cs"/>
              </a:rPr>
              <a:t>A </a:t>
            </a:r>
            <a:r>
              <a:rPr kumimoji="0" lang="en-US" sz="2000" b="1" i="0" u="none" strike="noStrike" kern="1200" cap="none" spc="0" normalizeH="0" baseline="0" noProof="0" err="1">
                <a:ln>
                  <a:noFill/>
                </a:ln>
                <a:solidFill>
                  <a:prstClr val="white"/>
                </a:solidFill>
                <a:effectLst/>
                <a:uLnTx/>
                <a:uFillTx/>
                <a:latin typeface="Calibri"/>
                <a:ea typeface="+mn-ea"/>
                <a:cs typeface="+mn-cs"/>
              </a:rPr>
              <a:t>cada</a:t>
            </a:r>
            <a:r>
              <a:rPr kumimoji="0" lang="en-US" sz="2000" b="1" i="0" u="none" strike="noStrike" kern="1200" cap="none" spc="0" normalizeH="0" baseline="0" noProof="0">
                <a:ln>
                  <a:noFill/>
                </a:ln>
                <a:solidFill>
                  <a:prstClr val="white"/>
                </a:solidFill>
                <a:effectLst/>
                <a:uLnTx/>
                <a:uFillTx/>
                <a:latin typeface="Calibri"/>
                <a:ea typeface="+mn-ea"/>
                <a:cs typeface="+mn-cs"/>
              </a:rPr>
              <a:t> </a:t>
            </a:r>
            <a:r>
              <a:rPr kumimoji="0" lang="en-US" sz="2000" b="1" i="1" u="none" strike="noStrike" kern="1200" cap="none" spc="0" normalizeH="0" baseline="0" noProof="0">
                <a:ln>
                  <a:noFill/>
                </a:ln>
                <a:solidFill>
                  <a:prstClr val="white"/>
                </a:solidFill>
                <a:effectLst/>
                <a:uLnTx/>
                <a:uFillTx/>
                <a:latin typeface="Calibri"/>
                <a:ea typeface="+mn-ea"/>
                <a:cs typeface="+mn-cs"/>
              </a:rPr>
              <a:t>token</a:t>
            </a:r>
            <a:r>
              <a:rPr kumimoji="0" lang="en-US" sz="2000" b="1" i="0" u="none" strike="noStrike" kern="1200" cap="none" spc="0" normalizeH="0" baseline="0" noProof="0">
                <a:ln>
                  <a:noFill/>
                </a:ln>
                <a:solidFill>
                  <a:prstClr val="white"/>
                </a:solidFill>
                <a:effectLst/>
                <a:uLnTx/>
                <a:uFillTx/>
                <a:latin typeface="Calibri"/>
                <a:ea typeface="+mn-ea"/>
                <a:cs typeface="+mn-cs"/>
              </a:rPr>
              <a:t> se le </a:t>
            </a:r>
            <a:r>
              <a:rPr kumimoji="0" lang="en-US" sz="2000" b="1" i="0" u="none" strike="noStrike" kern="1200" cap="none" spc="0" normalizeH="0" baseline="0" noProof="0" err="1">
                <a:ln>
                  <a:noFill/>
                </a:ln>
                <a:solidFill>
                  <a:prstClr val="white"/>
                </a:solidFill>
                <a:effectLst/>
                <a:uLnTx/>
                <a:uFillTx/>
                <a:latin typeface="Calibri"/>
                <a:ea typeface="+mn-ea"/>
                <a:cs typeface="+mn-cs"/>
              </a:rPr>
              <a:t>asigna</a:t>
            </a:r>
            <a:r>
              <a:rPr kumimoji="0" lang="en-US" sz="2000" b="1" i="0" u="none" strike="noStrike" kern="1200" cap="none" spc="0" normalizeH="0" baseline="0" noProof="0">
                <a:ln>
                  <a:noFill/>
                </a:ln>
                <a:solidFill>
                  <a:prstClr val="white"/>
                </a:solidFill>
                <a:effectLst/>
                <a:uLnTx/>
                <a:uFillTx/>
                <a:latin typeface="Calibri"/>
                <a:ea typeface="+mn-ea"/>
                <a:cs typeface="+mn-cs"/>
              </a:rPr>
              <a:t> un </a:t>
            </a:r>
            <a:r>
              <a:rPr kumimoji="0" lang="en-US" sz="2000" b="1" i="0" u="none" strike="noStrike" kern="1200" cap="none" spc="0" normalizeH="0" baseline="0" noProof="0" err="1">
                <a:ln>
                  <a:noFill/>
                </a:ln>
                <a:solidFill>
                  <a:prstClr val="white"/>
                </a:solidFill>
                <a:effectLst/>
                <a:uLnTx/>
                <a:uFillTx/>
                <a:latin typeface="Calibri"/>
                <a:ea typeface="+mn-ea"/>
                <a:cs typeface="+mn-cs"/>
              </a:rPr>
              <a:t>número</a:t>
            </a:r>
            <a:r>
              <a:rPr kumimoji="0" lang="en-US" sz="1800" b="1" i="0" u="none" strike="noStrike" kern="1200" cap="none" spc="0" normalizeH="0" baseline="0" noProof="0">
                <a:ln>
                  <a:noFill/>
                </a:ln>
                <a:solidFill>
                  <a:prstClr val="white"/>
                </a:solidFill>
                <a:effectLst/>
                <a:uLnTx/>
                <a:uFillTx/>
                <a:latin typeface="Calibri"/>
                <a:ea typeface="+mn-ea"/>
                <a:cs typeface="+mn-cs"/>
              </a:rPr>
              <a:t> </a:t>
            </a:r>
            <a:r>
              <a:rPr kumimoji="0" lang="en-US" sz="1800" b="0" i="0" u="none" strike="noStrike" kern="1200" cap="none" spc="0" normalizeH="0" baseline="0" noProof="0">
                <a:ln>
                  <a:noFill/>
                </a:ln>
                <a:solidFill>
                  <a:prstClr val="white"/>
                </a:solidFill>
                <a:effectLst/>
                <a:uLnTx/>
                <a:uFillTx/>
                <a:latin typeface="Calibri"/>
                <a:ea typeface="+mn-ea"/>
                <a:cs typeface="+mn-cs"/>
              </a:rPr>
              <a:t>para </a:t>
            </a:r>
            <a:r>
              <a:rPr kumimoji="0" lang="en-US" sz="1800" b="0" i="0" u="none" strike="noStrike" kern="1200" cap="none" spc="0" normalizeH="0" baseline="0" noProof="0" err="1">
                <a:ln>
                  <a:noFill/>
                </a:ln>
                <a:solidFill>
                  <a:prstClr val="white"/>
                </a:solidFill>
                <a:effectLst/>
                <a:uLnTx/>
                <a:uFillTx/>
                <a:latin typeface="Calibri"/>
                <a:ea typeface="+mn-ea"/>
                <a:cs typeface="+mn-cs"/>
              </a:rPr>
              <a:t>identificarlo</a:t>
            </a:r>
            <a:r>
              <a:rPr kumimoji="0" lang="en-US" sz="1800" b="0" i="0" u="none" strike="noStrike" kern="1200" cap="none" spc="0" normalizeH="0" baseline="0" noProof="0">
                <a:ln>
                  <a:noFill/>
                </a:ln>
                <a:solidFill>
                  <a:prstClr val="white"/>
                </a:solidFill>
                <a:effectLst/>
                <a:uLnTx/>
                <a:uFillTx/>
                <a:latin typeface="Calibri"/>
                <a:ea typeface="+mn-ea"/>
                <a:cs typeface="+mn-cs"/>
              </a:rPr>
              <a:t>.</a:t>
            </a:r>
          </a:p>
        </p:txBody>
      </p:sp>
      <p:sp>
        <p:nvSpPr>
          <p:cNvPr id="10" name="Oval 9">
            <a:extLst>
              <a:ext uri="{FF2B5EF4-FFF2-40B4-BE49-F238E27FC236}">
                <a16:creationId xmlns:a16="http://schemas.microsoft.com/office/drawing/2014/main" id="{B1FF629D-E78B-F5D6-7086-1E80084DA84F}"/>
              </a:ext>
            </a:extLst>
          </p:cNvPr>
          <p:cNvSpPr/>
          <p:nvPr/>
        </p:nvSpPr>
        <p:spPr>
          <a:xfrm>
            <a:off x="8094161" y="1368770"/>
            <a:ext cx="74768" cy="747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nvGrpSpPr>
          <p:cNvPr id="12" name="Graphic 4">
            <a:extLst>
              <a:ext uri="{FF2B5EF4-FFF2-40B4-BE49-F238E27FC236}">
                <a16:creationId xmlns:a16="http://schemas.microsoft.com/office/drawing/2014/main" id="{617E9A9C-7579-1FD2-FB48-E7603A74CC76}"/>
              </a:ext>
            </a:extLst>
          </p:cNvPr>
          <p:cNvGrpSpPr/>
          <p:nvPr/>
        </p:nvGrpSpPr>
        <p:grpSpPr>
          <a:xfrm>
            <a:off x="3200399" y="3338475"/>
            <a:ext cx="600000" cy="600000"/>
            <a:chOff x="6146480" y="3824168"/>
            <a:chExt cx="362309" cy="361971"/>
          </a:xfrm>
          <a:solidFill>
            <a:schemeClr val="bg1"/>
          </a:solidFill>
        </p:grpSpPr>
        <p:sp>
          <p:nvSpPr>
            <p:cNvPr id="13" name="Graphic 4">
              <a:extLst>
                <a:ext uri="{FF2B5EF4-FFF2-40B4-BE49-F238E27FC236}">
                  <a16:creationId xmlns:a16="http://schemas.microsoft.com/office/drawing/2014/main" id="{C505C85A-6ECE-F1E4-5A88-9100B34C0B5C}"/>
                </a:ext>
              </a:extLst>
            </p:cNvPr>
            <p:cNvSpPr/>
            <p:nvPr/>
          </p:nvSpPr>
          <p:spPr>
            <a:xfrm>
              <a:off x="6283225" y="3891199"/>
              <a:ext cx="20447" cy="20428"/>
            </a:xfrm>
            <a:custGeom>
              <a:avLst/>
              <a:gdLst>
                <a:gd name="connsiteX0" fmla="*/ 20448 w 20447"/>
                <a:gd name="connsiteY0" fmla="*/ 10214 h 20428"/>
                <a:gd name="connsiteX1" fmla="*/ 10224 w 20447"/>
                <a:gd name="connsiteY1" fmla="*/ 0 h 20428"/>
                <a:gd name="connsiteX2" fmla="*/ 0 w 20447"/>
                <a:gd name="connsiteY2" fmla="*/ 10214 h 20428"/>
                <a:gd name="connsiteX3" fmla="*/ 10224 w 20447"/>
                <a:gd name="connsiteY3" fmla="*/ 20428 h 20428"/>
                <a:gd name="connsiteX4" fmla="*/ 10863 w 20447"/>
                <a:gd name="connsiteY4" fmla="*/ 20428 h 20428"/>
                <a:gd name="connsiteX5" fmla="*/ 20448 w 20447"/>
                <a:gd name="connsiteY5" fmla="*/ 10214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47" h="20428">
                  <a:moveTo>
                    <a:pt x="20448" y="10214"/>
                  </a:moveTo>
                  <a:cubicBezTo>
                    <a:pt x="20448" y="4468"/>
                    <a:pt x="15975" y="0"/>
                    <a:pt x="10224" y="0"/>
                  </a:cubicBezTo>
                  <a:cubicBezTo>
                    <a:pt x="4473" y="0"/>
                    <a:pt x="0" y="4468"/>
                    <a:pt x="0" y="10214"/>
                  </a:cubicBezTo>
                  <a:cubicBezTo>
                    <a:pt x="0" y="15960"/>
                    <a:pt x="4473" y="20428"/>
                    <a:pt x="10224" y="20428"/>
                  </a:cubicBezTo>
                  <a:cubicBezTo>
                    <a:pt x="10224" y="20428"/>
                    <a:pt x="10224" y="20428"/>
                    <a:pt x="10863" y="20428"/>
                  </a:cubicBezTo>
                  <a:cubicBezTo>
                    <a:pt x="15975" y="19790"/>
                    <a:pt x="20448" y="15321"/>
                    <a:pt x="20448" y="10214"/>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4" name="Graphic 4">
              <a:extLst>
                <a:ext uri="{FF2B5EF4-FFF2-40B4-BE49-F238E27FC236}">
                  <a16:creationId xmlns:a16="http://schemas.microsoft.com/office/drawing/2014/main" id="{0A9D97C0-9A48-87D2-731A-D85DBD8B0001}"/>
                </a:ext>
              </a:extLst>
            </p:cNvPr>
            <p:cNvSpPr/>
            <p:nvPr/>
          </p:nvSpPr>
          <p:spPr>
            <a:xfrm>
              <a:off x="6351597" y="3890561"/>
              <a:ext cx="20447" cy="20428"/>
            </a:xfrm>
            <a:custGeom>
              <a:avLst/>
              <a:gdLst>
                <a:gd name="connsiteX0" fmla="*/ 10224 w 20447"/>
                <a:gd name="connsiteY0" fmla="*/ 20429 h 20428"/>
                <a:gd name="connsiteX1" fmla="*/ 20448 w 20447"/>
                <a:gd name="connsiteY1" fmla="*/ 10215 h 20428"/>
                <a:gd name="connsiteX2" fmla="*/ 10224 w 20447"/>
                <a:gd name="connsiteY2" fmla="*/ 0 h 20428"/>
                <a:gd name="connsiteX3" fmla="*/ 0 w 20447"/>
                <a:gd name="connsiteY3" fmla="*/ 10215 h 20428"/>
                <a:gd name="connsiteX4" fmla="*/ 0 w 20447"/>
                <a:gd name="connsiteY4" fmla="*/ 10215 h 20428"/>
                <a:gd name="connsiteX5" fmla="*/ 10224 w 20447"/>
                <a:gd name="connsiteY5" fmla="*/ 20429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47" h="20428">
                  <a:moveTo>
                    <a:pt x="10224" y="20429"/>
                  </a:moveTo>
                  <a:cubicBezTo>
                    <a:pt x="15975" y="20429"/>
                    <a:pt x="20448" y="15960"/>
                    <a:pt x="20448" y="10215"/>
                  </a:cubicBezTo>
                  <a:cubicBezTo>
                    <a:pt x="20448" y="4469"/>
                    <a:pt x="15975" y="0"/>
                    <a:pt x="10224" y="0"/>
                  </a:cubicBezTo>
                  <a:cubicBezTo>
                    <a:pt x="4473" y="0"/>
                    <a:pt x="0" y="4469"/>
                    <a:pt x="0" y="10215"/>
                  </a:cubicBezTo>
                  <a:lnTo>
                    <a:pt x="0" y="10215"/>
                  </a:lnTo>
                  <a:cubicBezTo>
                    <a:pt x="0" y="15960"/>
                    <a:pt x="4473" y="20429"/>
                    <a:pt x="10224" y="20429"/>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5" name="Graphic 4">
              <a:extLst>
                <a:ext uri="{FF2B5EF4-FFF2-40B4-BE49-F238E27FC236}">
                  <a16:creationId xmlns:a16="http://schemas.microsoft.com/office/drawing/2014/main" id="{4826C796-E8DA-DED2-B9EA-6A4D3F45B03F}"/>
                </a:ext>
              </a:extLst>
            </p:cNvPr>
            <p:cNvSpPr/>
            <p:nvPr/>
          </p:nvSpPr>
          <p:spPr>
            <a:xfrm>
              <a:off x="6284503" y="3981213"/>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20429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ubicBezTo>
                    <a:pt x="10224" y="20429"/>
                    <a:pt x="10224" y="20429"/>
                    <a:pt x="10224" y="20429"/>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Graphic 4">
              <a:extLst>
                <a:ext uri="{FF2B5EF4-FFF2-40B4-BE49-F238E27FC236}">
                  <a16:creationId xmlns:a16="http://schemas.microsoft.com/office/drawing/2014/main" id="{ADD27C11-6C4C-7E5A-1B7C-3CE654C5B17E}"/>
                </a:ext>
              </a:extLst>
            </p:cNvPr>
            <p:cNvSpPr/>
            <p:nvPr/>
          </p:nvSpPr>
          <p:spPr>
            <a:xfrm>
              <a:off x="6146480" y="3824168"/>
              <a:ext cx="362309" cy="361971"/>
            </a:xfrm>
            <a:custGeom>
              <a:avLst/>
              <a:gdLst>
                <a:gd name="connsiteX0" fmla="*/ 181474 w 362309"/>
                <a:gd name="connsiteY0" fmla="*/ 0 h 361971"/>
                <a:gd name="connsiteX1" fmla="*/ 0 w 362309"/>
                <a:gd name="connsiteY1" fmla="*/ 180667 h 361971"/>
                <a:gd name="connsiteX2" fmla="*/ 180835 w 362309"/>
                <a:gd name="connsiteY2" fmla="*/ 361971 h 361971"/>
                <a:gd name="connsiteX3" fmla="*/ 362309 w 362309"/>
                <a:gd name="connsiteY3" fmla="*/ 181305 h 361971"/>
                <a:gd name="connsiteX4" fmla="*/ 362309 w 362309"/>
                <a:gd name="connsiteY4" fmla="*/ 181305 h 361971"/>
                <a:gd name="connsiteX5" fmla="*/ 181474 w 362309"/>
                <a:gd name="connsiteY5" fmla="*/ 0 h 361971"/>
                <a:gd name="connsiteX6" fmla="*/ 214702 w 362309"/>
                <a:gd name="connsiteY6" fmla="*/ 307708 h 361971"/>
                <a:gd name="connsiteX7" fmla="*/ 147607 w 362309"/>
                <a:gd name="connsiteY7" fmla="*/ 307708 h 361971"/>
                <a:gd name="connsiteX8" fmla="*/ 141217 w 362309"/>
                <a:gd name="connsiteY8" fmla="*/ 301324 h 361971"/>
                <a:gd name="connsiteX9" fmla="*/ 147607 w 362309"/>
                <a:gd name="connsiteY9" fmla="*/ 294940 h 361971"/>
                <a:gd name="connsiteX10" fmla="*/ 214702 w 362309"/>
                <a:gd name="connsiteY10" fmla="*/ 294940 h 361971"/>
                <a:gd name="connsiteX11" fmla="*/ 221092 w 362309"/>
                <a:gd name="connsiteY11" fmla="*/ 301324 h 361971"/>
                <a:gd name="connsiteX12" fmla="*/ 214702 w 362309"/>
                <a:gd name="connsiteY12" fmla="*/ 307708 h 361971"/>
                <a:gd name="connsiteX13" fmla="*/ 214702 w 362309"/>
                <a:gd name="connsiteY13" fmla="*/ 285364 h 361971"/>
                <a:gd name="connsiteX14" fmla="*/ 147607 w 362309"/>
                <a:gd name="connsiteY14" fmla="*/ 285364 h 361971"/>
                <a:gd name="connsiteX15" fmla="*/ 141217 w 362309"/>
                <a:gd name="connsiteY15" fmla="*/ 278980 h 361971"/>
                <a:gd name="connsiteX16" fmla="*/ 147607 w 362309"/>
                <a:gd name="connsiteY16" fmla="*/ 272596 h 361971"/>
                <a:gd name="connsiteX17" fmla="*/ 214702 w 362309"/>
                <a:gd name="connsiteY17" fmla="*/ 272596 h 361971"/>
                <a:gd name="connsiteX18" fmla="*/ 221092 w 362309"/>
                <a:gd name="connsiteY18" fmla="*/ 278980 h 361971"/>
                <a:gd name="connsiteX19" fmla="*/ 214702 w 362309"/>
                <a:gd name="connsiteY19" fmla="*/ 285364 h 361971"/>
                <a:gd name="connsiteX20" fmla="*/ 281157 w 362309"/>
                <a:gd name="connsiteY20" fmla="*/ 227908 h 361971"/>
                <a:gd name="connsiteX21" fmla="*/ 243456 w 362309"/>
                <a:gd name="connsiteY21" fmla="*/ 265574 h 361971"/>
                <a:gd name="connsiteX22" fmla="*/ 118214 w 362309"/>
                <a:gd name="connsiteY22" fmla="*/ 265574 h 361971"/>
                <a:gd name="connsiteX23" fmla="*/ 80513 w 362309"/>
                <a:gd name="connsiteY23" fmla="*/ 227908 h 361971"/>
                <a:gd name="connsiteX24" fmla="*/ 80513 w 362309"/>
                <a:gd name="connsiteY24" fmla="*/ 140448 h 361971"/>
                <a:gd name="connsiteX25" fmla="*/ 118214 w 362309"/>
                <a:gd name="connsiteY25" fmla="*/ 102782 h 361971"/>
                <a:gd name="connsiteX26" fmla="*/ 157192 w 362309"/>
                <a:gd name="connsiteY26" fmla="*/ 102782 h 361971"/>
                <a:gd name="connsiteX27" fmla="*/ 154636 w 362309"/>
                <a:gd name="connsiteY27" fmla="*/ 97675 h 361971"/>
                <a:gd name="connsiteX28" fmla="*/ 125881 w 362309"/>
                <a:gd name="connsiteY28" fmla="*/ 83630 h 361971"/>
                <a:gd name="connsiteX29" fmla="*/ 139939 w 362309"/>
                <a:gd name="connsiteY29" fmla="*/ 54902 h 361971"/>
                <a:gd name="connsiteX30" fmla="*/ 168694 w 362309"/>
                <a:gd name="connsiteY30" fmla="*/ 68947 h 361971"/>
                <a:gd name="connsiteX31" fmla="*/ 169972 w 362309"/>
                <a:gd name="connsiteY31" fmla="*/ 76608 h 361971"/>
                <a:gd name="connsiteX32" fmla="*/ 165499 w 362309"/>
                <a:gd name="connsiteY32" fmla="*/ 90652 h 361971"/>
                <a:gd name="connsiteX33" fmla="*/ 171889 w 362309"/>
                <a:gd name="connsiteY33" fmla="*/ 102782 h 361971"/>
                <a:gd name="connsiteX34" fmla="*/ 171889 w 362309"/>
                <a:gd name="connsiteY34" fmla="*/ 102782 h 361971"/>
                <a:gd name="connsiteX35" fmla="*/ 189142 w 362309"/>
                <a:gd name="connsiteY35" fmla="*/ 102782 h 361971"/>
                <a:gd name="connsiteX36" fmla="*/ 189142 w 362309"/>
                <a:gd name="connsiteY36" fmla="*/ 102782 h 361971"/>
                <a:gd name="connsiteX37" fmla="*/ 196171 w 362309"/>
                <a:gd name="connsiteY37" fmla="*/ 90014 h 361971"/>
                <a:gd name="connsiteX38" fmla="*/ 201283 w 362309"/>
                <a:gd name="connsiteY38" fmla="*/ 58094 h 361971"/>
                <a:gd name="connsiteX39" fmla="*/ 233233 w 362309"/>
                <a:gd name="connsiteY39" fmla="*/ 63201 h 361971"/>
                <a:gd name="connsiteX40" fmla="*/ 228120 w 362309"/>
                <a:gd name="connsiteY40" fmla="*/ 95121 h 361971"/>
                <a:gd name="connsiteX41" fmla="*/ 214702 w 362309"/>
                <a:gd name="connsiteY41" fmla="*/ 99590 h 361971"/>
                <a:gd name="connsiteX42" fmla="*/ 206395 w 362309"/>
                <a:gd name="connsiteY42" fmla="*/ 98313 h 361971"/>
                <a:gd name="connsiteX43" fmla="*/ 203839 w 362309"/>
                <a:gd name="connsiteY43" fmla="*/ 103420 h 361971"/>
                <a:gd name="connsiteX44" fmla="*/ 243456 w 362309"/>
                <a:gd name="connsiteY44" fmla="*/ 103420 h 361971"/>
                <a:gd name="connsiteX45" fmla="*/ 281157 w 362309"/>
                <a:gd name="connsiteY45" fmla="*/ 141086 h 361971"/>
                <a:gd name="connsiteX46" fmla="*/ 281157 w 362309"/>
                <a:gd name="connsiteY46" fmla="*/ 22790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62309" h="361971">
                  <a:moveTo>
                    <a:pt x="181474" y="0"/>
                  </a:moveTo>
                  <a:cubicBezTo>
                    <a:pt x="81152" y="0"/>
                    <a:pt x="0" y="81076"/>
                    <a:pt x="0" y="180667"/>
                  </a:cubicBezTo>
                  <a:cubicBezTo>
                    <a:pt x="0" y="280257"/>
                    <a:pt x="81152" y="361971"/>
                    <a:pt x="180835" y="361971"/>
                  </a:cubicBezTo>
                  <a:cubicBezTo>
                    <a:pt x="280518" y="361971"/>
                    <a:pt x="362309" y="280895"/>
                    <a:pt x="362309" y="181305"/>
                  </a:cubicBezTo>
                  <a:cubicBezTo>
                    <a:pt x="362309" y="181305"/>
                    <a:pt x="362309" y="181305"/>
                    <a:pt x="362309" y="181305"/>
                  </a:cubicBezTo>
                  <a:cubicBezTo>
                    <a:pt x="362309" y="81076"/>
                    <a:pt x="281157" y="0"/>
                    <a:pt x="181474" y="0"/>
                  </a:cubicBezTo>
                  <a:close/>
                  <a:moveTo>
                    <a:pt x="214702" y="307708"/>
                  </a:moveTo>
                  <a:lnTo>
                    <a:pt x="147607" y="307708"/>
                  </a:lnTo>
                  <a:cubicBezTo>
                    <a:pt x="143774" y="307708"/>
                    <a:pt x="141217" y="305154"/>
                    <a:pt x="141217" y="301324"/>
                  </a:cubicBezTo>
                  <a:cubicBezTo>
                    <a:pt x="141217" y="297493"/>
                    <a:pt x="143774" y="294940"/>
                    <a:pt x="147607" y="294940"/>
                  </a:cubicBezTo>
                  <a:lnTo>
                    <a:pt x="214702" y="294940"/>
                  </a:lnTo>
                  <a:cubicBezTo>
                    <a:pt x="218536" y="294940"/>
                    <a:pt x="221092" y="297493"/>
                    <a:pt x="221092" y="301324"/>
                  </a:cubicBezTo>
                  <a:cubicBezTo>
                    <a:pt x="221092" y="305154"/>
                    <a:pt x="218536" y="307708"/>
                    <a:pt x="214702" y="307708"/>
                  </a:cubicBezTo>
                  <a:close/>
                  <a:moveTo>
                    <a:pt x="214702" y="285364"/>
                  </a:moveTo>
                  <a:lnTo>
                    <a:pt x="147607" y="285364"/>
                  </a:lnTo>
                  <a:cubicBezTo>
                    <a:pt x="143774" y="285364"/>
                    <a:pt x="141217" y="282810"/>
                    <a:pt x="141217" y="278980"/>
                  </a:cubicBezTo>
                  <a:cubicBezTo>
                    <a:pt x="141217" y="275149"/>
                    <a:pt x="143774" y="272596"/>
                    <a:pt x="147607" y="272596"/>
                  </a:cubicBezTo>
                  <a:lnTo>
                    <a:pt x="214702" y="272596"/>
                  </a:lnTo>
                  <a:cubicBezTo>
                    <a:pt x="218536" y="272596"/>
                    <a:pt x="221092" y="275149"/>
                    <a:pt x="221092" y="278980"/>
                  </a:cubicBezTo>
                  <a:cubicBezTo>
                    <a:pt x="221092" y="282810"/>
                    <a:pt x="218536" y="285364"/>
                    <a:pt x="214702" y="285364"/>
                  </a:cubicBezTo>
                  <a:close/>
                  <a:moveTo>
                    <a:pt x="281157" y="227908"/>
                  </a:moveTo>
                  <a:cubicBezTo>
                    <a:pt x="281157" y="248337"/>
                    <a:pt x="264543" y="265574"/>
                    <a:pt x="243456" y="265574"/>
                  </a:cubicBezTo>
                  <a:lnTo>
                    <a:pt x="118214" y="265574"/>
                  </a:lnTo>
                  <a:cubicBezTo>
                    <a:pt x="97766" y="265574"/>
                    <a:pt x="80513" y="248975"/>
                    <a:pt x="80513" y="227908"/>
                  </a:cubicBezTo>
                  <a:lnTo>
                    <a:pt x="80513" y="140448"/>
                  </a:lnTo>
                  <a:cubicBezTo>
                    <a:pt x="80513" y="120019"/>
                    <a:pt x="97127" y="102782"/>
                    <a:pt x="118214" y="102782"/>
                  </a:cubicBezTo>
                  <a:lnTo>
                    <a:pt x="157192" y="102782"/>
                  </a:lnTo>
                  <a:lnTo>
                    <a:pt x="154636" y="97675"/>
                  </a:lnTo>
                  <a:cubicBezTo>
                    <a:pt x="143134" y="102144"/>
                    <a:pt x="129716" y="95760"/>
                    <a:pt x="125881" y="83630"/>
                  </a:cubicBezTo>
                  <a:cubicBezTo>
                    <a:pt x="122048" y="71500"/>
                    <a:pt x="127799" y="58732"/>
                    <a:pt x="139939" y="54902"/>
                  </a:cubicBezTo>
                  <a:cubicBezTo>
                    <a:pt x="151441" y="50433"/>
                    <a:pt x="164860" y="56817"/>
                    <a:pt x="168694" y="68947"/>
                  </a:cubicBezTo>
                  <a:cubicBezTo>
                    <a:pt x="169333" y="71500"/>
                    <a:pt x="169972" y="74054"/>
                    <a:pt x="169972" y="76608"/>
                  </a:cubicBezTo>
                  <a:cubicBezTo>
                    <a:pt x="169972" y="81715"/>
                    <a:pt x="168055" y="86184"/>
                    <a:pt x="165499" y="90652"/>
                  </a:cubicBezTo>
                  <a:lnTo>
                    <a:pt x="171889" y="102782"/>
                  </a:lnTo>
                  <a:lnTo>
                    <a:pt x="171889" y="102782"/>
                  </a:lnTo>
                  <a:lnTo>
                    <a:pt x="189142" y="102782"/>
                  </a:lnTo>
                  <a:lnTo>
                    <a:pt x="189142" y="102782"/>
                  </a:lnTo>
                  <a:lnTo>
                    <a:pt x="196171" y="90014"/>
                  </a:lnTo>
                  <a:cubicBezTo>
                    <a:pt x="189142" y="79800"/>
                    <a:pt x="191059" y="65755"/>
                    <a:pt x="201283" y="58094"/>
                  </a:cubicBezTo>
                  <a:cubicBezTo>
                    <a:pt x="211507" y="50433"/>
                    <a:pt x="225565" y="52987"/>
                    <a:pt x="233233" y="63201"/>
                  </a:cubicBezTo>
                  <a:cubicBezTo>
                    <a:pt x="240900" y="73416"/>
                    <a:pt x="238345" y="87460"/>
                    <a:pt x="228120" y="95121"/>
                  </a:cubicBezTo>
                  <a:cubicBezTo>
                    <a:pt x="224287" y="97675"/>
                    <a:pt x="219814" y="99590"/>
                    <a:pt x="214702" y="99590"/>
                  </a:cubicBezTo>
                  <a:cubicBezTo>
                    <a:pt x="212146" y="99590"/>
                    <a:pt x="208951" y="98952"/>
                    <a:pt x="206395" y="98313"/>
                  </a:cubicBezTo>
                  <a:lnTo>
                    <a:pt x="203839" y="103420"/>
                  </a:lnTo>
                  <a:lnTo>
                    <a:pt x="243456" y="103420"/>
                  </a:lnTo>
                  <a:cubicBezTo>
                    <a:pt x="263904" y="103420"/>
                    <a:pt x="281157" y="120019"/>
                    <a:pt x="281157" y="141086"/>
                  </a:cubicBezTo>
                  <a:lnTo>
                    <a:pt x="281157" y="227908"/>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7" name="Graphic 4">
              <a:extLst>
                <a:ext uri="{FF2B5EF4-FFF2-40B4-BE49-F238E27FC236}">
                  <a16:creationId xmlns:a16="http://schemas.microsoft.com/office/drawing/2014/main" id="{7B626044-B60A-E749-2A23-06C4064A8936}"/>
                </a:ext>
              </a:extLst>
            </p:cNvPr>
            <p:cNvSpPr/>
            <p:nvPr/>
          </p:nvSpPr>
          <p:spPr>
            <a:xfrm>
              <a:off x="6347763" y="3981852"/>
              <a:ext cx="19808" cy="19790"/>
            </a:xfrm>
            <a:custGeom>
              <a:avLst/>
              <a:gdLst>
                <a:gd name="connsiteX0" fmla="*/ 9585 w 19808"/>
                <a:gd name="connsiteY0" fmla="*/ 19791 h 19790"/>
                <a:gd name="connsiteX1" fmla="*/ 19809 w 19808"/>
                <a:gd name="connsiteY1" fmla="*/ 10215 h 19790"/>
                <a:gd name="connsiteX2" fmla="*/ 10224 w 19808"/>
                <a:gd name="connsiteY2" fmla="*/ 0 h 19790"/>
                <a:gd name="connsiteX3" fmla="*/ 0 w 19808"/>
                <a:gd name="connsiteY3" fmla="*/ 9576 h 19790"/>
                <a:gd name="connsiteX4" fmla="*/ 0 w 19808"/>
                <a:gd name="connsiteY4" fmla="*/ 9576 h 19790"/>
                <a:gd name="connsiteX5" fmla="*/ 9585 w 19808"/>
                <a:gd name="connsiteY5" fmla="*/ 19791 h 1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08" h="19790">
                  <a:moveTo>
                    <a:pt x="9585" y="19791"/>
                  </a:moveTo>
                  <a:cubicBezTo>
                    <a:pt x="15336" y="19791"/>
                    <a:pt x="19809" y="15322"/>
                    <a:pt x="19809" y="10215"/>
                  </a:cubicBezTo>
                  <a:cubicBezTo>
                    <a:pt x="19809" y="5107"/>
                    <a:pt x="15336" y="0"/>
                    <a:pt x="10224" y="0"/>
                  </a:cubicBezTo>
                  <a:cubicBezTo>
                    <a:pt x="5112" y="0"/>
                    <a:pt x="0" y="4469"/>
                    <a:pt x="0" y="9576"/>
                  </a:cubicBezTo>
                  <a:cubicBezTo>
                    <a:pt x="0" y="9576"/>
                    <a:pt x="0" y="9576"/>
                    <a:pt x="0" y="9576"/>
                  </a:cubicBezTo>
                  <a:cubicBezTo>
                    <a:pt x="0" y="15322"/>
                    <a:pt x="4473" y="19791"/>
                    <a:pt x="9585" y="19791"/>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8" name="Graphic 4">
              <a:extLst>
                <a:ext uri="{FF2B5EF4-FFF2-40B4-BE49-F238E27FC236}">
                  <a16:creationId xmlns:a16="http://schemas.microsoft.com/office/drawing/2014/main" id="{0CDBB50B-5386-A9BC-C18A-FA12C21482F2}"/>
                </a:ext>
              </a:extLst>
            </p:cNvPr>
            <p:cNvSpPr/>
            <p:nvPr/>
          </p:nvSpPr>
          <p:spPr>
            <a:xfrm>
              <a:off x="6240412" y="3940356"/>
              <a:ext cx="175084" cy="137255"/>
            </a:xfrm>
            <a:custGeom>
              <a:avLst/>
              <a:gdLst>
                <a:gd name="connsiteX0" fmla="*/ 150164 w 175084"/>
                <a:gd name="connsiteY0" fmla="*/ 0 h 137255"/>
                <a:gd name="connsiteX1" fmla="*/ 24921 w 175084"/>
                <a:gd name="connsiteY1" fmla="*/ 0 h 137255"/>
                <a:gd name="connsiteX2" fmla="*/ 0 w 175084"/>
                <a:gd name="connsiteY2" fmla="*/ 24898 h 137255"/>
                <a:gd name="connsiteX3" fmla="*/ 0 w 175084"/>
                <a:gd name="connsiteY3" fmla="*/ 112358 h 137255"/>
                <a:gd name="connsiteX4" fmla="*/ 24921 w 175084"/>
                <a:gd name="connsiteY4" fmla="*/ 137256 h 137255"/>
                <a:gd name="connsiteX5" fmla="*/ 150164 w 175084"/>
                <a:gd name="connsiteY5" fmla="*/ 137256 h 137255"/>
                <a:gd name="connsiteX6" fmla="*/ 175084 w 175084"/>
                <a:gd name="connsiteY6" fmla="*/ 112358 h 137255"/>
                <a:gd name="connsiteX7" fmla="*/ 175084 w 175084"/>
                <a:gd name="connsiteY7" fmla="*/ 24898 h 137255"/>
                <a:gd name="connsiteX8" fmla="*/ 150164 w 175084"/>
                <a:gd name="connsiteY8" fmla="*/ 0 h 137255"/>
                <a:gd name="connsiteX9" fmla="*/ 116936 w 175084"/>
                <a:gd name="connsiteY9" fmla="*/ 28728 h 137255"/>
                <a:gd name="connsiteX10" fmla="*/ 139940 w 175084"/>
                <a:gd name="connsiteY10" fmla="*/ 51072 h 137255"/>
                <a:gd name="connsiteX11" fmla="*/ 117575 w 175084"/>
                <a:gd name="connsiteY11" fmla="*/ 74054 h 137255"/>
                <a:gd name="connsiteX12" fmla="*/ 94571 w 175084"/>
                <a:gd name="connsiteY12" fmla="*/ 51710 h 137255"/>
                <a:gd name="connsiteX13" fmla="*/ 94571 w 175084"/>
                <a:gd name="connsiteY13" fmla="*/ 51710 h 137255"/>
                <a:gd name="connsiteX14" fmla="*/ 116936 w 175084"/>
                <a:gd name="connsiteY14" fmla="*/ 28728 h 137255"/>
                <a:gd name="connsiteX15" fmla="*/ 54314 w 175084"/>
                <a:gd name="connsiteY15" fmla="*/ 28728 h 137255"/>
                <a:gd name="connsiteX16" fmla="*/ 77318 w 175084"/>
                <a:gd name="connsiteY16" fmla="*/ 51710 h 137255"/>
                <a:gd name="connsiteX17" fmla="*/ 54314 w 175084"/>
                <a:gd name="connsiteY17" fmla="*/ 74693 h 137255"/>
                <a:gd name="connsiteX18" fmla="*/ 31311 w 175084"/>
                <a:gd name="connsiteY18" fmla="*/ 51710 h 137255"/>
                <a:gd name="connsiteX19" fmla="*/ 31311 w 175084"/>
                <a:gd name="connsiteY19" fmla="*/ 51710 h 137255"/>
                <a:gd name="connsiteX20" fmla="*/ 54314 w 175084"/>
                <a:gd name="connsiteY20" fmla="*/ 28728 h 137255"/>
                <a:gd name="connsiteX21" fmla="*/ 139301 w 175084"/>
                <a:gd name="connsiteY21" fmla="*/ 114273 h 137255"/>
                <a:gd name="connsiteX22" fmla="*/ 35145 w 175084"/>
                <a:gd name="connsiteY22" fmla="*/ 114273 h 137255"/>
                <a:gd name="connsiteX23" fmla="*/ 28755 w 175084"/>
                <a:gd name="connsiteY23" fmla="*/ 107889 h 137255"/>
                <a:gd name="connsiteX24" fmla="*/ 35145 w 175084"/>
                <a:gd name="connsiteY24" fmla="*/ 101505 h 137255"/>
                <a:gd name="connsiteX25" fmla="*/ 139301 w 175084"/>
                <a:gd name="connsiteY25" fmla="*/ 101505 h 137255"/>
                <a:gd name="connsiteX26" fmla="*/ 145691 w 175084"/>
                <a:gd name="connsiteY26" fmla="*/ 107889 h 137255"/>
                <a:gd name="connsiteX27" fmla="*/ 139301 w 175084"/>
                <a:gd name="connsiteY27" fmla="*/ 114273 h 13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5084" h="137255">
                  <a:moveTo>
                    <a:pt x="150164" y="0"/>
                  </a:moveTo>
                  <a:lnTo>
                    <a:pt x="24921" y="0"/>
                  </a:lnTo>
                  <a:cubicBezTo>
                    <a:pt x="11502" y="0"/>
                    <a:pt x="0" y="10853"/>
                    <a:pt x="0" y="24898"/>
                  </a:cubicBezTo>
                  <a:lnTo>
                    <a:pt x="0" y="112358"/>
                  </a:lnTo>
                  <a:cubicBezTo>
                    <a:pt x="0" y="125765"/>
                    <a:pt x="10863" y="137256"/>
                    <a:pt x="24921" y="137256"/>
                  </a:cubicBezTo>
                  <a:lnTo>
                    <a:pt x="150164" y="137256"/>
                  </a:lnTo>
                  <a:cubicBezTo>
                    <a:pt x="163583" y="137256"/>
                    <a:pt x="175084" y="126403"/>
                    <a:pt x="175084" y="112358"/>
                  </a:cubicBezTo>
                  <a:lnTo>
                    <a:pt x="175084" y="24898"/>
                  </a:lnTo>
                  <a:cubicBezTo>
                    <a:pt x="174446" y="10853"/>
                    <a:pt x="163583" y="0"/>
                    <a:pt x="150164" y="0"/>
                  </a:cubicBezTo>
                  <a:close/>
                  <a:moveTo>
                    <a:pt x="116936" y="28728"/>
                  </a:moveTo>
                  <a:cubicBezTo>
                    <a:pt x="129716" y="28728"/>
                    <a:pt x="139940" y="38943"/>
                    <a:pt x="139940" y="51072"/>
                  </a:cubicBezTo>
                  <a:cubicBezTo>
                    <a:pt x="139940" y="63840"/>
                    <a:pt x="129716" y="74054"/>
                    <a:pt x="117575" y="74054"/>
                  </a:cubicBezTo>
                  <a:cubicBezTo>
                    <a:pt x="104795" y="74054"/>
                    <a:pt x="94571" y="63840"/>
                    <a:pt x="94571" y="51710"/>
                  </a:cubicBezTo>
                  <a:cubicBezTo>
                    <a:pt x="94571" y="51710"/>
                    <a:pt x="94571" y="51710"/>
                    <a:pt x="94571" y="51710"/>
                  </a:cubicBezTo>
                  <a:cubicBezTo>
                    <a:pt x="94571" y="38943"/>
                    <a:pt x="104795" y="28728"/>
                    <a:pt x="116936" y="28728"/>
                  </a:cubicBezTo>
                  <a:close/>
                  <a:moveTo>
                    <a:pt x="54314" y="28728"/>
                  </a:moveTo>
                  <a:cubicBezTo>
                    <a:pt x="67094" y="28728"/>
                    <a:pt x="77318" y="38943"/>
                    <a:pt x="77318" y="51710"/>
                  </a:cubicBezTo>
                  <a:cubicBezTo>
                    <a:pt x="77318" y="64478"/>
                    <a:pt x="67094" y="74693"/>
                    <a:pt x="54314" y="74693"/>
                  </a:cubicBezTo>
                  <a:cubicBezTo>
                    <a:pt x="41535" y="74693"/>
                    <a:pt x="31311" y="64478"/>
                    <a:pt x="31311" y="51710"/>
                  </a:cubicBezTo>
                  <a:lnTo>
                    <a:pt x="31311" y="51710"/>
                  </a:lnTo>
                  <a:cubicBezTo>
                    <a:pt x="31311" y="38943"/>
                    <a:pt x="41535" y="28728"/>
                    <a:pt x="54314" y="28728"/>
                  </a:cubicBezTo>
                  <a:close/>
                  <a:moveTo>
                    <a:pt x="139301" y="114273"/>
                  </a:moveTo>
                  <a:lnTo>
                    <a:pt x="35145" y="114273"/>
                  </a:lnTo>
                  <a:cubicBezTo>
                    <a:pt x="31311" y="114273"/>
                    <a:pt x="28755" y="111720"/>
                    <a:pt x="28755" y="107889"/>
                  </a:cubicBezTo>
                  <a:cubicBezTo>
                    <a:pt x="28755" y="104059"/>
                    <a:pt x="31311" y="101505"/>
                    <a:pt x="35145" y="101505"/>
                  </a:cubicBezTo>
                  <a:lnTo>
                    <a:pt x="139301" y="101505"/>
                  </a:lnTo>
                  <a:cubicBezTo>
                    <a:pt x="143135" y="101505"/>
                    <a:pt x="145691" y="104059"/>
                    <a:pt x="145691" y="107889"/>
                  </a:cubicBezTo>
                  <a:cubicBezTo>
                    <a:pt x="145691" y="111720"/>
                    <a:pt x="143135" y="114273"/>
                    <a:pt x="139301" y="114273"/>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9" name="Group 18">
            <a:extLst>
              <a:ext uri="{FF2B5EF4-FFF2-40B4-BE49-F238E27FC236}">
                <a16:creationId xmlns:a16="http://schemas.microsoft.com/office/drawing/2014/main" id="{C7B6E734-1F6D-3A35-70C5-94BF01B6DAA9}"/>
              </a:ext>
            </a:extLst>
          </p:cNvPr>
          <p:cNvGrpSpPr>
            <a:grpSpLocks noChangeAspect="1"/>
          </p:cNvGrpSpPr>
          <p:nvPr/>
        </p:nvGrpSpPr>
        <p:grpSpPr>
          <a:xfrm>
            <a:off x="7607489" y="2324100"/>
            <a:ext cx="600560" cy="600000"/>
            <a:chOff x="905454" y="2855717"/>
            <a:chExt cx="362309" cy="361971"/>
          </a:xfrm>
          <a:solidFill>
            <a:schemeClr val="bg1"/>
          </a:solidFill>
        </p:grpSpPr>
        <p:sp>
          <p:nvSpPr>
            <p:cNvPr id="20" name="Graphic 4">
              <a:extLst>
                <a:ext uri="{FF2B5EF4-FFF2-40B4-BE49-F238E27FC236}">
                  <a16:creationId xmlns:a16="http://schemas.microsoft.com/office/drawing/2014/main" id="{1B75469F-2518-5323-A97F-D29C1DB6C6CB}"/>
                </a:ext>
              </a:extLst>
            </p:cNvPr>
            <p:cNvSpPr/>
            <p:nvPr/>
          </p:nvSpPr>
          <p:spPr>
            <a:xfrm>
              <a:off x="905454" y="2855717"/>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251125 w 362309"/>
                <a:gd name="connsiteY6" fmla="*/ 196627 h 361971"/>
                <a:gd name="connsiteX7" fmla="*/ 242818 w 362309"/>
                <a:gd name="connsiteY7" fmla="*/ 217055 h 361971"/>
                <a:gd name="connsiteX8" fmla="*/ 242818 w 362309"/>
                <a:gd name="connsiteY8" fmla="*/ 291109 h 361971"/>
                <a:gd name="connsiteX9" fmla="*/ 236428 w 362309"/>
                <a:gd name="connsiteY9" fmla="*/ 297493 h 361971"/>
                <a:gd name="connsiteX10" fmla="*/ 156553 w 362309"/>
                <a:gd name="connsiteY10" fmla="*/ 297493 h 361971"/>
                <a:gd name="connsiteX11" fmla="*/ 150164 w 362309"/>
                <a:gd name="connsiteY11" fmla="*/ 291109 h 361971"/>
                <a:gd name="connsiteX12" fmla="*/ 150164 w 362309"/>
                <a:gd name="connsiteY12" fmla="*/ 245783 h 361971"/>
                <a:gd name="connsiteX13" fmla="*/ 132911 w 362309"/>
                <a:gd name="connsiteY13" fmla="*/ 245145 h 361971"/>
                <a:gd name="connsiteX14" fmla="*/ 115019 w 362309"/>
                <a:gd name="connsiteY14" fmla="*/ 236846 h 361971"/>
                <a:gd name="connsiteX15" fmla="*/ 109907 w 362309"/>
                <a:gd name="connsiteY15" fmla="*/ 221524 h 361971"/>
                <a:gd name="connsiteX16" fmla="*/ 109907 w 362309"/>
                <a:gd name="connsiteY16" fmla="*/ 201734 h 361971"/>
                <a:gd name="connsiteX17" fmla="*/ 102878 w 362309"/>
                <a:gd name="connsiteY17" fmla="*/ 201095 h 361971"/>
                <a:gd name="connsiteX18" fmla="*/ 92654 w 362309"/>
                <a:gd name="connsiteY18" fmla="*/ 195350 h 361971"/>
                <a:gd name="connsiteX19" fmla="*/ 91376 w 362309"/>
                <a:gd name="connsiteY19" fmla="*/ 182582 h 361971"/>
                <a:gd name="connsiteX20" fmla="*/ 91376 w 362309"/>
                <a:gd name="connsiteY20" fmla="*/ 181944 h 361971"/>
                <a:gd name="connsiteX21" fmla="*/ 107351 w 362309"/>
                <a:gd name="connsiteY21" fmla="*/ 148108 h 361971"/>
                <a:gd name="connsiteX22" fmla="*/ 109907 w 362309"/>
                <a:gd name="connsiteY22" fmla="*/ 137256 h 361971"/>
                <a:gd name="connsiteX23" fmla="*/ 110546 w 362309"/>
                <a:gd name="connsiteY23" fmla="*/ 131510 h 361971"/>
                <a:gd name="connsiteX24" fmla="*/ 166777 w 362309"/>
                <a:gd name="connsiteY24" fmla="*/ 67032 h 361971"/>
                <a:gd name="connsiteX25" fmla="*/ 267738 w 362309"/>
                <a:gd name="connsiteY25" fmla="*/ 119380 h 361971"/>
                <a:gd name="connsiteX26" fmla="*/ 268377 w 362309"/>
                <a:gd name="connsiteY26" fmla="*/ 120657 h 361971"/>
                <a:gd name="connsiteX27" fmla="*/ 251125 w 362309"/>
                <a:gd name="connsiteY27" fmla="*/ 196627 h 361971"/>
                <a:gd name="connsiteX28" fmla="*/ 251125 w 362309"/>
                <a:gd name="connsiteY28" fmla="*/ 19662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2309" h="361971">
                  <a:moveTo>
                    <a:pt x="180835" y="0"/>
                  </a:moveTo>
                  <a:cubicBezTo>
                    <a:pt x="80513" y="0"/>
                    <a:pt x="0" y="81076"/>
                    <a:pt x="0" y="181305"/>
                  </a:cubicBezTo>
                  <a:cubicBezTo>
                    <a:pt x="0" y="281533"/>
                    <a:pt x="81152" y="361972"/>
                    <a:pt x="181474" y="361972"/>
                  </a:cubicBezTo>
                  <a:cubicBezTo>
                    <a:pt x="281157" y="361972"/>
                    <a:pt x="362309" y="280895"/>
                    <a:pt x="362309" y="180667"/>
                  </a:cubicBezTo>
                  <a:cubicBezTo>
                    <a:pt x="362309" y="80438"/>
                    <a:pt x="281157" y="0"/>
                    <a:pt x="180835" y="0"/>
                  </a:cubicBezTo>
                  <a:cubicBezTo>
                    <a:pt x="180835" y="0"/>
                    <a:pt x="180835" y="0"/>
                    <a:pt x="180835" y="0"/>
                  </a:cubicBezTo>
                  <a:close/>
                  <a:moveTo>
                    <a:pt x="251125" y="196627"/>
                  </a:moveTo>
                  <a:cubicBezTo>
                    <a:pt x="247291" y="203011"/>
                    <a:pt x="244096" y="210033"/>
                    <a:pt x="242818" y="217055"/>
                  </a:cubicBezTo>
                  <a:lnTo>
                    <a:pt x="242818" y="291109"/>
                  </a:lnTo>
                  <a:cubicBezTo>
                    <a:pt x="242818" y="294940"/>
                    <a:pt x="240262" y="297493"/>
                    <a:pt x="236428" y="297493"/>
                  </a:cubicBezTo>
                  <a:lnTo>
                    <a:pt x="156553" y="297493"/>
                  </a:lnTo>
                  <a:cubicBezTo>
                    <a:pt x="152720" y="297493"/>
                    <a:pt x="150164" y="294940"/>
                    <a:pt x="150164" y="291109"/>
                  </a:cubicBezTo>
                  <a:lnTo>
                    <a:pt x="150164" y="245783"/>
                  </a:lnTo>
                  <a:cubicBezTo>
                    <a:pt x="146330" y="245783"/>
                    <a:pt x="141218" y="245145"/>
                    <a:pt x="132911" y="245145"/>
                  </a:cubicBezTo>
                  <a:cubicBezTo>
                    <a:pt x="125882" y="245145"/>
                    <a:pt x="119492" y="241953"/>
                    <a:pt x="115019" y="236846"/>
                  </a:cubicBezTo>
                  <a:cubicBezTo>
                    <a:pt x="111824" y="232377"/>
                    <a:pt x="109907" y="227270"/>
                    <a:pt x="109907" y="221524"/>
                  </a:cubicBezTo>
                  <a:lnTo>
                    <a:pt x="109907" y="201734"/>
                  </a:lnTo>
                  <a:lnTo>
                    <a:pt x="102878" y="201095"/>
                  </a:lnTo>
                  <a:cubicBezTo>
                    <a:pt x="99044" y="201095"/>
                    <a:pt x="95210" y="199180"/>
                    <a:pt x="92654" y="195350"/>
                  </a:cubicBezTo>
                  <a:cubicBezTo>
                    <a:pt x="90098" y="191519"/>
                    <a:pt x="90098" y="187051"/>
                    <a:pt x="91376" y="182582"/>
                  </a:cubicBezTo>
                  <a:cubicBezTo>
                    <a:pt x="91376" y="182582"/>
                    <a:pt x="91376" y="181944"/>
                    <a:pt x="91376" y="181944"/>
                  </a:cubicBezTo>
                  <a:cubicBezTo>
                    <a:pt x="92015" y="180667"/>
                    <a:pt x="103517" y="155131"/>
                    <a:pt x="107351" y="148108"/>
                  </a:cubicBezTo>
                  <a:cubicBezTo>
                    <a:pt x="109268" y="144916"/>
                    <a:pt x="109907" y="141086"/>
                    <a:pt x="109907" y="137256"/>
                  </a:cubicBezTo>
                  <a:cubicBezTo>
                    <a:pt x="109907" y="135340"/>
                    <a:pt x="109907" y="134064"/>
                    <a:pt x="110546" y="131510"/>
                  </a:cubicBezTo>
                  <a:cubicBezTo>
                    <a:pt x="113741" y="103420"/>
                    <a:pt x="136106" y="77884"/>
                    <a:pt x="166777" y="67032"/>
                  </a:cubicBezTo>
                  <a:cubicBezTo>
                    <a:pt x="208951" y="53625"/>
                    <a:pt x="254320" y="77246"/>
                    <a:pt x="267738" y="119380"/>
                  </a:cubicBezTo>
                  <a:cubicBezTo>
                    <a:pt x="267738" y="120019"/>
                    <a:pt x="267738" y="120019"/>
                    <a:pt x="268377" y="120657"/>
                  </a:cubicBezTo>
                  <a:cubicBezTo>
                    <a:pt x="274767" y="148108"/>
                    <a:pt x="268377" y="175560"/>
                    <a:pt x="251125" y="196627"/>
                  </a:cubicBezTo>
                  <a:lnTo>
                    <a:pt x="251125" y="196627"/>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1" name="Graphic 4">
              <a:extLst>
                <a:ext uri="{FF2B5EF4-FFF2-40B4-BE49-F238E27FC236}">
                  <a16:creationId xmlns:a16="http://schemas.microsoft.com/office/drawing/2014/main" id="{51F9EE17-06C3-18B1-41D1-DFB4F851C58B}"/>
                </a:ext>
              </a:extLst>
            </p:cNvPr>
            <p:cNvSpPr/>
            <p:nvPr/>
          </p:nvSpPr>
          <p:spPr>
            <a:xfrm>
              <a:off x="1008332" y="2932251"/>
              <a:ext cx="155027" cy="208192"/>
            </a:xfrm>
            <a:custGeom>
              <a:avLst/>
              <a:gdLst>
                <a:gd name="connsiteX0" fmla="*/ 120131 w 155027"/>
                <a:gd name="connsiteY0" fmla="*/ 8374 h 208192"/>
                <a:gd name="connsiteX1" fmla="*/ 68372 w 155027"/>
                <a:gd name="connsiteY1" fmla="*/ 3266 h 208192"/>
                <a:gd name="connsiteX2" fmla="*/ 20448 w 155027"/>
                <a:gd name="connsiteY2" fmla="*/ 56892 h 208192"/>
                <a:gd name="connsiteX3" fmla="*/ 19809 w 155027"/>
                <a:gd name="connsiteY3" fmla="*/ 61999 h 208192"/>
                <a:gd name="connsiteX4" fmla="*/ 15336 w 155027"/>
                <a:gd name="connsiteY4" fmla="*/ 77959 h 208192"/>
                <a:gd name="connsiteX5" fmla="*/ 0 w 155027"/>
                <a:gd name="connsiteY5" fmla="*/ 109879 h 208192"/>
                <a:gd name="connsiteX6" fmla="*/ 0 w 155027"/>
                <a:gd name="connsiteY6" fmla="*/ 111156 h 208192"/>
                <a:gd name="connsiteX7" fmla="*/ 639 w 155027"/>
                <a:gd name="connsiteY7" fmla="*/ 111156 h 208192"/>
                <a:gd name="connsiteX8" fmla="*/ 13419 w 155027"/>
                <a:gd name="connsiteY8" fmla="*/ 111794 h 208192"/>
                <a:gd name="connsiteX9" fmla="*/ 19809 w 155027"/>
                <a:gd name="connsiteY9" fmla="*/ 118178 h 208192"/>
                <a:gd name="connsiteX10" fmla="*/ 19809 w 155027"/>
                <a:gd name="connsiteY10" fmla="*/ 144352 h 208192"/>
                <a:gd name="connsiteX11" fmla="*/ 19809 w 155027"/>
                <a:gd name="connsiteY11" fmla="*/ 144991 h 208192"/>
                <a:gd name="connsiteX12" fmla="*/ 21726 w 155027"/>
                <a:gd name="connsiteY12" fmla="*/ 151375 h 208192"/>
                <a:gd name="connsiteX13" fmla="*/ 30672 w 155027"/>
                <a:gd name="connsiteY13" fmla="*/ 155205 h 208192"/>
                <a:gd name="connsiteX14" fmla="*/ 53036 w 155027"/>
                <a:gd name="connsiteY14" fmla="*/ 156482 h 208192"/>
                <a:gd name="connsiteX15" fmla="*/ 60065 w 155027"/>
                <a:gd name="connsiteY15" fmla="*/ 162228 h 208192"/>
                <a:gd name="connsiteX16" fmla="*/ 60065 w 155027"/>
                <a:gd name="connsiteY16" fmla="*/ 162866 h 208192"/>
                <a:gd name="connsiteX17" fmla="*/ 60065 w 155027"/>
                <a:gd name="connsiteY17" fmla="*/ 208192 h 208192"/>
                <a:gd name="connsiteX18" fmla="*/ 127799 w 155027"/>
                <a:gd name="connsiteY18" fmla="*/ 208192 h 208192"/>
                <a:gd name="connsiteX19" fmla="*/ 127799 w 155027"/>
                <a:gd name="connsiteY19" fmla="*/ 139884 h 208192"/>
                <a:gd name="connsiteX20" fmla="*/ 127799 w 155027"/>
                <a:gd name="connsiteY20" fmla="*/ 138607 h 208192"/>
                <a:gd name="connsiteX21" fmla="*/ 138662 w 155027"/>
                <a:gd name="connsiteY21" fmla="*/ 111794 h 208192"/>
                <a:gd name="connsiteX22" fmla="*/ 152719 w 155027"/>
                <a:gd name="connsiteY22" fmla="*/ 48593 h 208192"/>
                <a:gd name="connsiteX23" fmla="*/ 120131 w 155027"/>
                <a:gd name="connsiteY23" fmla="*/ 8374 h 208192"/>
                <a:gd name="connsiteX24" fmla="*/ 140579 w 155027"/>
                <a:gd name="connsiteY24" fmla="*/ 88173 h 208192"/>
                <a:gd name="connsiteX25" fmla="*/ 125882 w 155027"/>
                <a:gd name="connsiteY25" fmla="*/ 95196 h 208192"/>
                <a:gd name="connsiteX26" fmla="*/ 122048 w 155027"/>
                <a:gd name="connsiteY26" fmla="*/ 94557 h 208192"/>
                <a:gd name="connsiteX27" fmla="*/ 111824 w 155027"/>
                <a:gd name="connsiteY27" fmla="*/ 88812 h 208192"/>
                <a:gd name="connsiteX28" fmla="*/ 86903 w 155027"/>
                <a:gd name="connsiteY28" fmla="*/ 80512 h 208192"/>
                <a:gd name="connsiteX29" fmla="*/ 85625 w 155027"/>
                <a:gd name="connsiteY29" fmla="*/ 77959 h 208192"/>
                <a:gd name="connsiteX30" fmla="*/ 77957 w 155027"/>
                <a:gd name="connsiteY30" fmla="*/ 75405 h 208192"/>
                <a:gd name="connsiteX31" fmla="*/ 59426 w 155027"/>
                <a:gd name="connsiteY31" fmla="*/ 76044 h 208192"/>
                <a:gd name="connsiteX32" fmla="*/ 33867 w 155027"/>
                <a:gd name="connsiteY32" fmla="*/ 67745 h 208192"/>
                <a:gd name="connsiteX33" fmla="*/ 33867 w 155027"/>
                <a:gd name="connsiteY33" fmla="*/ 50508 h 208192"/>
                <a:gd name="connsiteX34" fmla="*/ 35784 w 155027"/>
                <a:gd name="connsiteY34" fmla="*/ 47954 h 208192"/>
                <a:gd name="connsiteX35" fmla="*/ 37062 w 155027"/>
                <a:gd name="connsiteY35" fmla="*/ 46039 h 208192"/>
                <a:gd name="connsiteX36" fmla="*/ 37701 w 155027"/>
                <a:gd name="connsiteY36" fmla="*/ 44124 h 208192"/>
                <a:gd name="connsiteX37" fmla="*/ 38340 w 155027"/>
                <a:gd name="connsiteY37" fmla="*/ 40293 h 208192"/>
                <a:gd name="connsiteX38" fmla="*/ 58787 w 155027"/>
                <a:gd name="connsiteY38" fmla="*/ 26887 h 208192"/>
                <a:gd name="connsiteX39" fmla="*/ 59426 w 155027"/>
                <a:gd name="connsiteY39" fmla="*/ 26249 h 208192"/>
                <a:gd name="connsiteX40" fmla="*/ 61982 w 155027"/>
                <a:gd name="connsiteY40" fmla="*/ 23695 h 208192"/>
                <a:gd name="connsiteX41" fmla="*/ 73484 w 155027"/>
                <a:gd name="connsiteY41" fmla="*/ 19865 h 208192"/>
                <a:gd name="connsiteX42" fmla="*/ 82430 w 155027"/>
                <a:gd name="connsiteY42" fmla="*/ 22418 h 208192"/>
                <a:gd name="connsiteX43" fmla="*/ 83069 w 155027"/>
                <a:gd name="connsiteY43" fmla="*/ 22418 h 208192"/>
                <a:gd name="connsiteX44" fmla="*/ 109907 w 155027"/>
                <a:gd name="connsiteY44" fmla="*/ 25610 h 208192"/>
                <a:gd name="connsiteX45" fmla="*/ 111185 w 155027"/>
                <a:gd name="connsiteY45" fmla="*/ 25610 h 208192"/>
                <a:gd name="connsiteX46" fmla="*/ 132911 w 155027"/>
                <a:gd name="connsiteY46" fmla="*/ 40932 h 208192"/>
                <a:gd name="connsiteX47" fmla="*/ 132911 w 155027"/>
                <a:gd name="connsiteY47" fmla="*/ 41570 h 208192"/>
                <a:gd name="connsiteX48" fmla="*/ 145052 w 155027"/>
                <a:gd name="connsiteY48" fmla="*/ 65191 h 208192"/>
                <a:gd name="connsiteX49" fmla="*/ 144413 w 155027"/>
                <a:gd name="connsiteY49" fmla="*/ 67106 h 208192"/>
                <a:gd name="connsiteX50" fmla="*/ 143774 w 155027"/>
                <a:gd name="connsiteY50" fmla="*/ 68383 h 208192"/>
                <a:gd name="connsiteX51" fmla="*/ 140579 w 155027"/>
                <a:gd name="connsiteY51" fmla="*/ 88173 h 20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5027" h="208192">
                  <a:moveTo>
                    <a:pt x="120131" y="8374"/>
                  </a:moveTo>
                  <a:cubicBezTo>
                    <a:pt x="104156" y="-564"/>
                    <a:pt x="85625" y="-2479"/>
                    <a:pt x="68372" y="3266"/>
                  </a:cubicBezTo>
                  <a:cubicBezTo>
                    <a:pt x="46647" y="10927"/>
                    <a:pt x="23643" y="30079"/>
                    <a:pt x="20448" y="56892"/>
                  </a:cubicBezTo>
                  <a:cubicBezTo>
                    <a:pt x="20448" y="58807"/>
                    <a:pt x="19809" y="60722"/>
                    <a:pt x="19809" y="61999"/>
                  </a:cubicBezTo>
                  <a:cubicBezTo>
                    <a:pt x="19809" y="67745"/>
                    <a:pt x="18531" y="73490"/>
                    <a:pt x="15336" y="77959"/>
                  </a:cubicBezTo>
                  <a:cubicBezTo>
                    <a:pt x="12780" y="83066"/>
                    <a:pt x="3834" y="102218"/>
                    <a:pt x="0" y="109879"/>
                  </a:cubicBezTo>
                  <a:cubicBezTo>
                    <a:pt x="0" y="110517"/>
                    <a:pt x="0" y="110517"/>
                    <a:pt x="0" y="111156"/>
                  </a:cubicBezTo>
                  <a:lnTo>
                    <a:pt x="639" y="111156"/>
                  </a:lnTo>
                  <a:cubicBezTo>
                    <a:pt x="8946" y="111794"/>
                    <a:pt x="13419" y="111794"/>
                    <a:pt x="13419" y="111794"/>
                  </a:cubicBezTo>
                  <a:cubicBezTo>
                    <a:pt x="17253" y="111794"/>
                    <a:pt x="19809" y="114348"/>
                    <a:pt x="19809" y="118178"/>
                  </a:cubicBezTo>
                  <a:lnTo>
                    <a:pt x="19809" y="144352"/>
                  </a:lnTo>
                  <a:cubicBezTo>
                    <a:pt x="19809" y="144352"/>
                    <a:pt x="19809" y="144991"/>
                    <a:pt x="19809" y="144991"/>
                  </a:cubicBezTo>
                  <a:cubicBezTo>
                    <a:pt x="19809" y="147544"/>
                    <a:pt x="20448" y="149460"/>
                    <a:pt x="21726" y="151375"/>
                  </a:cubicBezTo>
                  <a:cubicBezTo>
                    <a:pt x="24282" y="153928"/>
                    <a:pt x="27477" y="155205"/>
                    <a:pt x="30672" y="155205"/>
                  </a:cubicBezTo>
                  <a:cubicBezTo>
                    <a:pt x="47925" y="156482"/>
                    <a:pt x="52397" y="156482"/>
                    <a:pt x="53036" y="156482"/>
                  </a:cubicBezTo>
                  <a:cubicBezTo>
                    <a:pt x="56870" y="156482"/>
                    <a:pt x="59426" y="159036"/>
                    <a:pt x="60065" y="162228"/>
                  </a:cubicBezTo>
                  <a:cubicBezTo>
                    <a:pt x="60065" y="162228"/>
                    <a:pt x="60065" y="162228"/>
                    <a:pt x="60065" y="162866"/>
                  </a:cubicBezTo>
                  <a:lnTo>
                    <a:pt x="60065" y="208192"/>
                  </a:lnTo>
                  <a:lnTo>
                    <a:pt x="127799" y="208192"/>
                  </a:lnTo>
                  <a:lnTo>
                    <a:pt x="127799" y="139884"/>
                  </a:lnTo>
                  <a:cubicBezTo>
                    <a:pt x="127799" y="139245"/>
                    <a:pt x="127799" y="139245"/>
                    <a:pt x="127799" y="138607"/>
                  </a:cubicBezTo>
                  <a:cubicBezTo>
                    <a:pt x="129716" y="129031"/>
                    <a:pt x="132911" y="119455"/>
                    <a:pt x="138662" y="111794"/>
                  </a:cubicBezTo>
                  <a:cubicBezTo>
                    <a:pt x="153358" y="93919"/>
                    <a:pt x="158470" y="70937"/>
                    <a:pt x="152719" y="48593"/>
                  </a:cubicBezTo>
                  <a:cubicBezTo>
                    <a:pt x="148886" y="31356"/>
                    <a:pt x="136745" y="16673"/>
                    <a:pt x="120131" y="8374"/>
                  </a:cubicBezTo>
                  <a:close/>
                  <a:moveTo>
                    <a:pt x="140579" y="88173"/>
                  </a:moveTo>
                  <a:cubicBezTo>
                    <a:pt x="136745" y="92642"/>
                    <a:pt x="131633" y="95196"/>
                    <a:pt x="125882" y="95196"/>
                  </a:cubicBezTo>
                  <a:cubicBezTo>
                    <a:pt x="124604" y="95196"/>
                    <a:pt x="123326" y="95196"/>
                    <a:pt x="122048" y="94557"/>
                  </a:cubicBezTo>
                  <a:cubicBezTo>
                    <a:pt x="118214" y="93919"/>
                    <a:pt x="114380" y="92004"/>
                    <a:pt x="111824" y="88812"/>
                  </a:cubicBezTo>
                  <a:cubicBezTo>
                    <a:pt x="102878" y="93280"/>
                    <a:pt x="92015" y="89450"/>
                    <a:pt x="86903" y="80512"/>
                  </a:cubicBezTo>
                  <a:cubicBezTo>
                    <a:pt x="86264" y="79874"/>
                    <a:pt x="86264" y="78597"/>
                    <a:pt x="85625" y="77959"/>
                  </a:cubicBezTo>
                  <a:cubicBezTo>
                    <a:pt x="83069" y="77959"/>
                    <a:pt x="80513" y="76682"/>
                    <a:pt x="77957" y="75405"/>
                  </a:cubicBezTo>
                  <a:cubicBezTo>
                    <a:pt x="72206" y="78597"/>
                    <a:pt x="65177" y="78597"/>
                    <a:pt x="59426" y="76044"/>
                  </a:cubicBezTo>
                  <a:cubicBezTo>
                    <a:pt x="49842" y="80512"/>
                    <a:pt x="38340" y="76682"/>
                    <a:pt x="33867" y="67745"/>
                  </a:cubicBezTo>
                  <a:cubicBezTo>
                    <a:pt x="31311" y="61999"/>
                    <a:pt x="31311" y="55615"/>
                    <a:pt x="33867" y="50508"/>
                  </a:cubicBezTo>
                  <a:cubicBezTo>
                    <a:pt x="34506" y="49869"/>
                    <a:pt x="35145" y="48593"/>
                    <a:pt x="35784" y="47954"/>
                  </a:cubicBezTo>
                  <a:cubicBezTo>
                    <a:pt x="36423" y="47316"/>
                    <a:pt x="36423" y="46677"/>
                    <a:pt x="37062" y="46039"/>
                  </a:cubicBezTo>
                  <a:cubicBezTo>
                    <a:pt x="37062" y="45401"/>
                    <a:pt x="37701" y="44762"/>
                    <a:pt x="37701" y="44124"/>
                  </a:cubicBezTo>
                  <a:cubicBezTo>
                    <a:pt x="37701" y="42847"/>
                    <a:pt x="38340" y="41570"/>
                    <a:pt x="38340" y="40293"/>
                  </a:cubicBezTo>
                  <a:cubicBezTo>
                    <a:pt x="40896" y="31356"/>
                    <a:pt x="49842" y="26249"/>
                    <a:pt x="58787" y="26887"/>
                  </a:cubicBezTo>
                  <a:lnTo>
                    <a:pt x="59426" y="26249"/>
                  </a:lnTo>
                  <a:cubicBezTo>
                    <a:pt x="60065" y="24972"/>
                    <a:pt x="61343" y="24334"/>
                    <a:pt x="61982" y="23695"/>
                  </a:cubicBezTo>
                  <a:cubicBezTo>
                    <a:pt x="65177" y="21142"/>
                    <a:pt x="69011" y="19865"/>
                    <a:pt x="73484" y="19865"/>
                  </a:cubicBezTo>
                  <a:cubicBezTo>
                    <a:pt x="76679" y="19865"/>
                    <a:pt x="79874" y="20503"/>
                    <a:pt x="82430" y="22418"/>
                  </a:cubicBezTo>
                  <a:lnTo>
                    <a:pt x="83069" y="22418"/>
                  </a:lnTo>
                  <a:cubicBezTo>
                    <a:pt x="91376" y="16034"/>
                    <a:pt x="103517" y="17950"/>
                    <a:pt x="109907" y="25610"/>
                  </a:cubicBezTo>
                  <a:lnTo>
                    <a:pt x="111185" y="25610"/>
                  </a:lnTo>
                  <a:cubicBezTo>
                    <a:pt x="121409" y="23695"/>
                    <a:pt x="130994" y="30718"/>
                    <a:pt x="132911" y="40932"/>
                  </a:cubicBezTo>
                  <a:cubicBezTo>
                    <a:pt x="132911" y="40932"/>
                    <a:pt x="132911" y="40932"/>
                    <a:pt x="132911" y="41570"/>
                  </a:cubicBezTo>
                  <a:cubicBezTo>
                    <a:pt x="142496" y="44762"/>
                    <a:pt x="148247" y="54977"/>
                    <a:pt x="145052" y="65191"/>
                  </a:cubicBezTo>
                  <a:cubicBezTo>
                    <a:pt x="145052" y="65829"/>
                    <a:pt x="144413" y="66468"/>
                    <a:pt x="144413" y="67106"/>
                  </a:cubicBezTo>
                  <a:lnTo>
                    <a:pt x="143774" y="68383"/>
                  </a:lnTo>
                  <a:cubicBezTo>
                    <a:pt x="145691" y="74129"/>
                    <a:pt x="145052" y="81789"/>
                    <a:pt x="140579" y="88173"/>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 name="Graphic 4">
            <a:extLst>
              <a:ext uri="{FF2B5EF4-FFF2-40B4-BE49-F238E27FC236}">
                <a16:creationId xmlns:a16="http://schemas.microsoft.com/office/drawing/2014/main" id="{A00E7694-9669-EC1D-5345-358B2BEE0E7E}"/>
              </a:ext>
            </a:extLst>
          </p:cNvPr>
          <p:cNvGrpSpPr>
            <a:grpSpLocks noChangeAspect="1"/>
          </p:cNvGrpSpPr>
          <p:nvPr/>
        </p:nvGrpSpPr>
        <p:grpSpPr>
          <a:xfrm>
            <a:off x="7616041" y="4386352"/>
            <a:ext cx="599767" cy="600000"/>
            <a:chOff x="2998797" y="1402244"/>
            <a:chExt cx="362309" cy="362450"/>
          </a:xfrm>
          <a:solidFill>
            <a:schemeClr val="bg1"/>
          </a:solidFill>
        </p:grpSpPr>
        <p:sp>
          <p:nvSpPr>
            <p:cNvPr id="23" name="Graphic 4">
              <a:extLst>
                <a:ext uri="{FF2B5EF4-FFF2-40B4-BE49-F238E27FC236}">
                  <a16:creationId xmlns:a16="http://schemas.microsoft.com/office/drawing/2014/main" id="{AD5AAAFF-439E-5364-89EB-0AA8368B94FB}"/>
                </a:ext>
              </a:extLst>
            </p:cNvPr>
            <p:cNvSpPr/>
            <p:nvPr/>
          </p:nvSpPr>
          <p:spPr>
            <a:xfrm>
              <a:off x="2998797" y="1402244"/>
              <a:ext cx="362309" cy="362450"/>
            </a:xfrm>
            <a:custGeom>
              <a:avLst/>
              <a:gdLst>
                <a:gd name="connsiteX0" fmla="*/ 180835 w 362309"/>
                <a:gd name="connsiteY0" fmla="*/ 479 h 362450"/>
                <a:gd name="connsiteX1" fmla="*/ 0 w 362309"/>
                <a:gd name="connsiteY1" fmla="*/ 181784 h 362450"/>
                <a:gd name="connsiteX2" fmla="*/ 181474 w 362309"/>
                <a:gd name="connsiteY2" fmla="*/ 362451 h 362450"/>
                <a:gd name="connsiteX3" fmla="*/ 362310 w 362309"/>
                <a:gd name="connsiteY3" fmla="*/ 181145 h 362450"/>
                <a:gd name="connsiteX4" fmla="*/ 180835 w 362309"/>
                <a:gd name="connsiteY4" fmla="*/ 479 h 362450"/>
                <a:gd name="connsiteX5" fmla="*/ 180835 w 362309"/>
                <a:gd name="connsiteY5" fmla="*/ 479 h 362450"/>
                <a:gd name="connsiteX6" fmla="*/ 187225 w 362309"/>
                <a:gd name="connsiteY6" fmla="*/ 248816 h 362450"/>
                <a:gd name="connsiteX7" fmla="*/ 182752 w 362309"/>
                <a:gd name="connsiteY7" fmla="*/ 252646 h 362450"/>
                <a:gd name="connsiteX8" fmla="*/ 184030 w 362309"/>
                <a:gd name="connsiteY8" fmla="*/ 258392 h 362450"/>
                <a:gd name="connsiteX9" fmla="*/ 179557 w 362309"/>
                <a:gd name="connsiteY9" fmla="*/ 278821 h 362450"/>
                <a:gd name="connsiteX10" fmla="*/ 167416 w 362309"/>
                <a:gd name="connsiteY10" fmla="*/ 280736 h 362450"/>
                <a:gd name="connsiteX11" fmla="*/ 161027 w 362309"/>
                <a:gd name="connsiteY11" fmla="*/ 281374 h 362450"/>
                <a:gd name="connsiteX12" fmla="*/ 158471 w 362309"/>
                <a:gd name="connsiteY12" fmla="*/ 286481 h 362450"/>
                <a:gd name="connsiteX13" fmla="*/ 148247 w 362309"/>
                <a:gd name="connsiteY13" fmla="*/ 299888 h 362450"/>
                <a:gd name="connsiteX14" fmla="*/ 145052 w 362309"/>
                <a:gd name="connsiteY14" fmla="*/ 300526 h 362450"/>
                <a:gd name="connsiteX15" fmla="*/ 132272 w 362309"/>
                <a:gd name="connsiteY15" fmla="*/ 294780 h 362450"/>
                <a:gd name="connsiteX16" fmla="*/ 127160 w 362309"/>
                <a:gd name="connsiteY16" fmla="*/ 291588 h 362450"/>
                <a:gd name="connsiteX17" fmla="*/ 122048 w 362309"/>
                <a:gd name="connsiteY17" fmla="*/ 294780 h 362450"/>
                <a:gd name="connsiteX18" fmla="*/ 106073 w 362309"/>
                <a:gd name="connsiteY18" fmla="*/ 299249 h 362450"/>
                <a:gd name="connsiteX19" fmla="*/ 95849 w 362309"/>
                <a:gd name="connsiteY19" fmla="*/ 285843 h 362450"/>
                <a:gd name="connsiteX20" fmla="*/ 93293 w 362309"/>
                <a:gd name="connsiteY20" fmla="*/ 280097 h 362450"/>
                <a:gd name="connsiteX21" fmla="*/ 87542 w 362309"/>
                <a:gd name="connsiteY21" fmla="*/ 279459 h 362450"/>
                <a:gd name="connsiteX22" fmla="*/ 69650 w 362309"/>
                <a:gd name="connsiteY22" fmla="*/ 269245 h 362450"/>
                <a:gd name="connsiteX23" fmla="*/ 71567 w 362309"/>
                <a:gd name="connsiteY23" fmla="*/ 257115 h 362450"/>
                <a:gd name="connsiteX24" fmla="*/ 72845 w 362309"/>
                <a:gd name="connsiteY24" fmla="*/ 250731 h 362450"/>
                <a:gd name="connsiteX25" fmla="*/ 68372 w 362309"/>
                <a:gd name="connsiteY25" fmla="*/ 246262 h 362450"/>
                <a:gd name="connsiteX26" fmla="*/ 58788 w 362309"/>
                <a:gd name="connsiteY26" fmla="*/ 232856 h 362450"/>
                <a:gd name="connsiteX27" fmla="*/ 68372 w 362309"/>
                <a:gd name="connsiteY27" fmla="*/ 219449 h 362450"/>
                <a:gd name="connsiteX28" fmla="*/ 72845 w 362309"/>
                <a:gd name="connsiteY28" fmla="*/ 215619 h 362450"/>
                <a:gd name="connsiteX29" fmla="*/ 71567 w 362309"/>
                <a:gd name="connsiteY29" fmla="*/ 209873 h 362450"/>
                <a:gd name="connsiteX30" fmla="*/ 76040 w 362309"/>
                <a:gd name="connsiteY30" fmla="*/ 189445 h 362450"/>
                <a:gd name="connsiteX31" fmla="*/ 88181 w 362309"/>
                <a:gd name="connsiteY31" fmla="*/ 187529 h 362450"/>
                <a:gd name="connsiteX32" fmla="*/ 94571 w 362309"/>
                <a:gd name="connsiteY32" fmla="*/ 186891 h 362450"/>
                <a:gd name="connsiteX33" fmla="*/ 97127 w 362309"/>
                <a:gd name="connsiteY33" fmla="*/ 181145 h 362450"/>
                <a:gd name="connsiteX34" fmla="*/ 107351 w 362309"/>
                <a:gd name="connsiteY34" fmla="*/ 167739 h 362450"/>
                <a:gd name="connsiteX35" fmla="*/ 123326 w 362309"/>
                <a:gd name="connsiteY35" fmla="*/ 172846 h 362450"/>
                <a:gd name="connsiteX36" fmla="*/ 128438 w 362309"/>
                <a:gd name="connsiteY36" fmla="*/ 176038 h 362450"/>
                <a:gd name="connsiteX37" fmla="*/ 133550 w 362309"/>
                <a:gd name="connsiteY37" fmla="*/ 172846 h 362450"/>
                <a:gd name="connsiteX38" fmla="*/ 149525 w 362309"/>
                <a:gd name="connsiteY38" fmla="*/ 168377 h 362450"/>
                <a:gd name="connsiteX39" fmla="*/ 159110 w 362309"/>
                <a:gd name="connsiteY39" fmla="*/ 181784 h 362450"/>
                <a:gd name="connsiteX40" fmla="*/ 161666 w 362309"/>
                <a:gd name="connsiteY40" fmla="*/ 187529 h 362450"/>
                <a:gd name="connsiteX41" fmla="*/ 167416 w 362309"/>
                <a:gd name="connsiteY41" fmla="*/ 188168 h 362450"/>
                <a:gd name="connsiteX42" fmla="*/ 183391 w 362309"/>
                <a:gd name="connsiteY42" fmla="*/ 193913 h 362450"/>
                <a:gd name="connsiteX43" fmla="*/ 183391 w 362309"/>
                <a:gd name="connsiteY43" fmla="*/ 210512 h 362450"/>
                <a:gd name="connsiteX44" fmla="*/ 182113 w 362309"/>
                <a:gd name="connsiteY44" fmla="*/ 216896 h 362450"/>
                <a:gd name="connsiteX45" fmla="*/ 187225 w 362309"/>
                <a:gd name="connsiteY45" fmla="*/ 221365 h 362450"/>
                <a:gd name="connsiteX46" fmla="*/ 196810 w 362309"/>
                <a:gd name="connsiteY46" fmla="*/ 234771 h 362450"/>
                <a:gd name="connsiteX47" fmla="*/ 187225 w 362309"/>
                <a:gd name="connsiteY47" fmla="*/ 248816 h 362450"/>
                <a:gd name="connsiteX48" fmla="*/ 187225 w 362309"/>
                <a:gd name="connsiteY48" fmla="*/ 248816 h 362450"/>
                <a:gd name="connsiteX49" fmla="*/ 293298 w 362309"/>
                <a:gd name="connsiteY49" fmla="*/ 142842 h 362450"/>
                <a:gd name="connsiteX50" fmla="*/ 288825 w 362309"/>
                <a:gd name="connsiteY50" fmla="*/ 146672 h 362450"/>
                <a:gd name="connsiteX51" fmla="*/ 290103 w 362309"/>
                <a:gd name="connsiteY51" fmla="*/ 152418 h 362450"/>
                <a:gd name="connsiteX52" fmla="*/ 286269 w 362309"/>
                <a:gd name="connsiteY52" fmla="*/ 172846 h 362450"/>
                <a:gd name="connsiteX53" fmla="*/ 274128 w 362309"/>
                <a:gd name="connsiteY53" fmla="*/ 174761 h 362450"/>
                <a:gd name="connsiteX54" fmla="*/ 267739 w 362309"/>
                <a:gd name="connsiteY54" fmla="*/ 175400 h 362450"/>
                <a:gd name="connsiteX55" fmla="*/ 265182 w 362309"/>
                <a:gd name="connsiteY55" fmla="*/ 180507 h 362450"/>
                <a:gd name="connsiteX56" fmla="*/ 254959 w 362309"/>
                <a:gd name="connsiteY56" fmla="*/ 193913 h 362450"/>
                <a:gd name="connsiteX57" fmla="*/ 251764 w 362309"/>
                <a:gd name="connsiteY57" fmla="*/ 194552 h 362450"/>
                <a:gd name="connsiteX58" fmla="*/ 238984 w 362309"/>
                <a:gd name="connsiteY58" fmla="*/ 188806 h 362450"/>
                <a:gd name="connsiteX59" fmla="*/ 233872 w 362309"/>
                <a:gd name="connsiteY59" fmla="*/ 185614 h 362450"/>
                <a:gd name="connsiteX60" fmla="*/ 228760 w 362309"/>
                <a:gd name="connsiteY60" fmla="*/ 188806 h 362450"/>
                <a:gd name="connsiteX61" fmla="*/ 212785 w 362309"/>
                <a:gd name="connsiteY61" fmla="*/ 193275 h 362450"/>
                <a:gd name="connsiteX62" fmla="*/ 203200 w 362309"/>
                <a:gd name="connsiteY62" fmla="*/ 179869 h 362450"/>
                <a:gd name="connsiteX63" fmla="*/ 200644 w 362309"/>
                <a:gd name="connsiteY63" fmla="*/ 174123 h 362450"/>
                <a:gd name="connsiteX64" fmla="*/ 194893 w 362309"/>
                <a:gd name="connsiteY64" fmla="*/ 173485 h 362450"/>
                <a:gd name="connsiteX65" fmla="*/ 178918 w 362309"/>
                <a:gd name="connsiteY65" fmla="*/ 167739 h 362450"/>
                <a:gd name="connsiteX66" fmla="*/ 178918 w 362309"/>
                <a:gd name="connsiteY66" fmla="*/ 151141 h 362450"/>
                <a:gd name="connsiteX67" fmla="*/ 180196 w 362309"/>
                <a:gd name="connsiteY67" fmla="*/ 144757 h 362450"/>
                <a:gd name="connsiteX68" fmla="*/ 175723 w 362309"/>
                <a:gd name="connsiteY68" fmla="*/ 140288 h 362450"/>
                <a:gd name="connsiteX69" fmla="*/ 166138 w 362309"/>
                <a:gd name="connsiteY69" fmla="*/ 126882 h 362450"/>
                <a:gd name="connsiteX70" fmla="*/ 175723 w 362309"/>
                <a:gd name="connsiteY70" fmla="*/ 113475 h 362450"/>
                <a:gd name="connsiteX71" fmla="*/ 180196 w 362309"/>
                <a:gd name="connsiteY71" fmla="*/ 109645 h 362450"/>
                <a:gd name="connsiteX72" fmla="*/ 178918 w 362309"/>
                <a:gd name="connsiteY72" fmla="*/ 103899 h 362450"/>
                <a:gd name="connsiteX73" fmla="*/ 179557 w 362309"/>
                <a:gd name="connsiteY73" fmla="*/ 87301 h 362450"/>
                <a:gd name="connsiteX74" fmla="*/ 195532 w 362309"/>
                <a:gd name="connsiteY74" fmla="*/ 82194 h 362450"/>
                <a:gd name="connsiteX75" fmla="*/ 201922 w 362309"/>
                <a:gd name="connsiteY75" fmla="*/ 81555 h 362450"/>
                <a:gd name="connsiteX76" fmla="*/ 204478 w 362309"/>
                <a:gd name="connsiteY76" fmla="*/ 75810 h 362450"/>
                <a:gd name="connsiteX77" fmla="*/ 214702 w 362309"/>
                <a:gd name="connsiteY77" fmla="*/ 62403 h 362450"/>
                <a:gd name="connsiteX78" fmla="*/ 230677 w 362309"/>
                <a:gd name="connsiteY78" fmla="*/ 67511 h 362450"/>
                <a:gd name="connsiteX79" fmla="*/ 235789 w 362309"/>
                <a:gd name="connsiteY79" fmla="*/ 70703 h 362450"/>
                <a:gd name="connsiteX80" fmla="*/ 240901 w 362309"/>
                <a:gd name="connsiteY80" fmla="*/ 67511 h 362450"/>
                <a:gd name="connsiteX81" fmla="*/ 256876 w 362309"/>
                <a:gd name="connsiteY81" fmla="*/ 63042 h 362450"/>
                <a:gd name="connsiteX82" fmla="*/ 267100 w 362309"/>
                <a:gd name="connsiteY82" fmla="*/ 76448 h 362450"/>
                <a:gd name="connsiteX83" fmla="*/ 269655 w 362309"/>
                <a:gd name="connsiteY83" fmla="*/ 82194 h 362450"/>
                <a:gd name="connsiteX84" fmla="*/ 275407 w 362309"/>
                <a:gd name="connsiteY84" fmla="*/ 82832 h 362450"/>
                <a:gd name="connsiteX85" fmla="*/ 293298 w 362309"/>
                <a:gd name="connsiteY85" fmla="*/ 93047 h 362450"/>
                <a:gd name="connsiteX86" fmla="*/ 291381 w 362309"/>
                <a:gd name="connsiteY86" fmla="*/ 105176 h 362450"/>
                <a:gd name="connsiteX87" fmla="*/ 290103 w 362309"/>
                <a:gd name="connsiteY87" fmla="*/ 111560 h 362450"/>
                <a:gd name="connsiteX88" fmla="*/ 294576 w 362309"/>
                <a:gd name="connsiteY88" fmla="*/ 116029 h 362450"/>
                <a:gd name="connsiteX89" fmla="*/ 304161 w 362309"/>
                <a:gd name="connsiteY89" fmla="*/ 129435 h 362450"/>
                <a:gd name="connsiteX90" fmla="*/ 293298 w 362309"/>
                <a:gd name="connsiteY90" fmla="*/ 142842 h 362450"/>
                <a:gd name="connsiteX91" fmla="*/ 293298 w 362309"/>
                <a:gd name="connsiteY91" fmla="*/ 142842 h 36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362309" h="362450">
                  <a:moveTo>
                    <a:pt x="180835" y="479"/>
                  </a:moveTo>
                  <a:cubicBezTo>
                    <a:pt x="80513" y="479"/>
                    <a:pt x="0" y="81555"/>
                    <a:pt x="0" y="181784"/>
                  </a:cubicBezTo>
                  <a:cubicBezTo>
                    <a:pt x="0" y="282013"/>
                    <a:pt x="81152" y="362451"/>
                    <a:pt x="181474" y="362451"/>
                  </a:cubicBezTo>
                  <a:cubicBezTo>
                    <a:pt x="281157" y="362451"/>
                    <a:pt x="362310" y="281374"/>
                    <a:pt x="362310" y="181145"/>
                  </a:cubicBezTo>
                  <a:cubicBezTo>
                    <a:pt x="362310" y="80917"/>
                    <a:pt x="281157" y="-160"/>
                    <a:pt x="180835" y="479"/>
                  </a:cubicBezTo>
                  <a:cubicBezTo>
                    <a:pt x="180835" y="-160"/>
                    <a:pt x="180835" y="-160"/>
                    <a:pt x="180835" y="479"/>
                  </a:cubicBezTo>
                  <a:close/>
                  <a:moveTo>
                    <a:pt x="187225" y="248816"/>
                  </a:moveTo>
                  <a:cubicBezTo>
                    <a:pt x="185308" y="250093"/>
                    <a:pt x="184030" y="251369"/>
                    <a:pt x="182752" y="252646"/>
                  </a:cubicBezTo>
                  <a:cubicBezTo>
                    <a:pt x="182752" y="254561"/>
                    <a:pt x="183391" y="256477"/>
                    <a:pt x="184030" y="258392"/>
                  </a:cubicBezTo>
                  <a:cubicBezTo>
                    <a:pt x="188503" y="265414"/>
                    <a:pt x="186586" y="274352"/>
                    <a:pt x="179557" y="278821"/>
                  </a:cubicBezTo>
                  <a:cubicBezTo>
                    <a:pt x="175723" y="281374"/>
                    <a:pt x="171250" y="282013"/>
                    <a:pt x="167416" y="280736"/>
                  </a:cubicBezTo>
                  <a:cubicBezTo>
                    <a:pt x="165500" y="280736"/>
                    <a:pt x="162943" y="280736"/>
                    <a:pt x="161027" y="281374"/>
                  </a:cubicBezTo>
                  <a:cubicBezTo>
                    <a:pt x="159748" y="283289"/>
                    <a:pt x="159110" y="284566"/>
                    <a:pt x="158471" y="286481"/>
                  </a:cubicBezTo>
                  <a:cubicBezTo>
                    <a:pt x="156553" y="291588"/>
                    <a:pt x="153998" y="297972"/>
                    <a:pt x="148247" y="299888"/>
                  </a:cubicBezTo>
                  <a:cubicBezTo>
                    <a:pt x="146969" y="300526"/>
                    <a:pt x="145691" y="300526"/>
                    <a:pt x="145052" y="300526"/>
                  </a:cubicBezTo>
                  <a:cubicBezTo>
                    <a:pt x="140579" y="299888"/>
                    <a:pt x="136106" y="297972"/>
                    <a:pt x="132272" y="294780"/>
                  </a:cubicBezTo>
                  <a:cubicBezTo>
                    <a:pt x="130994" y="293504"/>
                    <a:pt x="129077" y="292227"/>
                    <a:pt x="127160" y="291588"/>
                  </a:cubicBezTo>
                  <a:cubicBezTo>
                    <a:pt x="125243" y="292227"/>
                    <a:pt x="123326" y="293504"/>
                    <a:pt x="122048" y="294780"/>
                  </a:cubicBezTo>
                  <a:cubicBezTo>
                    <a:pt x="117575" y="298611"/>
                    <a:pt x="111824" y="300526"/>
                    <a:pt x="106073" y="299249"/>
                  </a:cubicBezTo>
                  <a:cubicBezTo>
                    <a:pt x="99683" y="297334"/>
                    <a:pt x="97766" y="290950"/>
                    <a:pt x="95849" y="285843"/>
                  </a:cubicBezTo>
                  <a:cubicBezTo>
                    <a:pt x="95210" y="283928"/>
                    <a:pt x="94571" y="282013"/>
                    <a:pt x="93293" y="280097"/>
                  </a:cubicBezTo>
                  <a:cubicBezTo>
                    <a:pt x="91376" y="279459"/>
                    <a:pt x="89459" y="279459"/>
                    <a:pt x="87542" y="279459"/>
                  </a:cubicBezTo>
                  <a:cubicBezTo>
                    <a:pt x="79874" y="281374"/>
                    <a:pt x="71567" y="276905"/>
                    <a:pt x="69650" y="269245"/>
                  </a:cubicBezTo>
                  <a:cubicBezTo>
                    <a:pt x="68372" y="265414"/>
                    <a:pt x="69011" y="260945"/>
                    <a:pt x="71567" y="257115"/>
                  </a:cubicBezTo>
                  <a:cubicBezTo>
                    <a:pt x="72206" y="255200"/>
                    <a:pt x="72845" y="252646"/>
                    <a:pt x="72845" y="250731"/>
                  </a:cubicBezTo>
                  <a:cubicBezTo>
                    <a:pt x="71567" y="248816"/>
                    <a:pt x="69650" y="247539"/>
                    <a:pt x="68372" y="246262"/>
                  </a:cubicBezTo>
                  <a:cubicBezTo>
                    <a:pt x="63899" y="243070"/>
                    <a:pt x="58788" y="238601"/>
                    <a:pt x="58788" y="232856"/>
                  </a:cubicBezTo>
                  <a:cubicBezTo>
                    <a:pt x="58788" y="227110"/>
                    <a:pt x="64538" y="222641"/>
                    <a:pt x="68372" y="219449"/>
                  </a:cubicBezTo>
                  <a:cubicBezTo>
                    <a:pt x="70289" y="218173"/>
                    <a:pt x="71567" y="216896"/>
                    <a:pt x="72845" y="215619"/>
                  </a:cubicBezTo>
                  <a:cubicBezTo>
                    <a:pt x="72845" y="213704"/>
                    <a:pt x="72206" y="211789"/>
                    <a:pt x="71567" y="209873"/>
                  </a:cubicBezTo>
                  <a:cubicBezTo>
                    <a:pt x="67094" y="202851"/>
                    <a:pt x="69011" y="193913"/>
                    <a:pt x="76040" y="189445"/>
                  </a:cubicBezTo>
                  <a:cubicBezTo>
                    <a:pt x="79874" y="186891"/>
                    <a:pt x="84347" y="186253"/>
                    <a:pt x="88181" y="187529"/>
                  </a:cubicBezTo>
                  <a:cubicBezTo>
                    <a:pt x="90098" y="187529"/>
                    <a:pt x="92654" y="187529"/>
                    <a:pt x="94571" y="186891"/>
                  </a:cubicBezTo>
                  <a:cubicBezTo>
                    <a:pt x="95210" y="184976"/>
                    <a:pt x="96488" y="183061"/>
                    <a:pt x="97127" y="181145"/>
                  </a:cubicBezTo>
                  <a:cubicBezTo>
                    <a:pt x="99044" y="176038"/>
                    <a:pt x="101600" y="169654"/>
                    <a:pt x="107351" y="167739"/>
                  </a:cubicBezTo>
                  <a:cubicBezTo>
                    <a:pt x="113102" y="167101"/>
                    <a:pt x="119492" y="169016"/>
                    <a:pt x="123326" y="172846"/>
                  </a:cubicBezTo>
                  <a:cubicBezTo>
                    <a:pt x="124604" y="174123"/>
                    <a:pt x="126521" y="175400"/>
                    <a:pt x="128438" y="176038"/>
                  </a:cubicBezTo>
                  <a:cubicBezTo>
                    <a:pt x="130355" y="175400"/>
                    <a:pt x="132272" y="174123"/>
                    <a:pt x="133550" y="172846"/>
                  </a:cubicBezTo>
                  <a:cubicBezTo>
                    <a:pt x="138023" y="169016"/>
                    <a:pt x="143774" y="167101"/>
                    <a:pt x="149525" y="168377"/>
                  </a:cubicBezTo>
                  <a:cubicBezTo>
                    <a:pt x="155915" y="170293"/>
                    <a:pt x="157832" y="176677"/>
                    <a:pt x="159110" y="181784"/>
                  </a:cubicBezTo>
                  <a:cubicBezTo>
                    <a:pt x="159748" y="183699"/>
                    <a:pt x="160387" y="185614"/>
                    <a:pt x="161666" y="187529"/>
                  </a:cubicBezTo>
                  <a:cubicBezTo>
                    <a:pt x="163582" y="188168"/>
                    <a:pt x="165500" y="188168"/>
                    <a:pt x="167416" y="188168"/>
                  </a:cubicBezTo>
                  <a:cubicBezTo>
                    <a:pt x="173167" y="187529"/>
                    <a:pt x="178918" y="189445"/>
                    <a:pt x="183391" y="193913"/>
                  </a:cubicBezTo>
                  <a:cubicBezTo>
                    <a:pt x="185947" y="199021"/>
                    <a:pt x="185947" y="205405"/>
                    <a:pt x="183391" y="210512"/>
                  </a:cubicBezTo>
                  <a:cubicBezTo>
                    <a:pt x="182752" y="212427"/>
                    <a:pt x="182113" y="214981"/>
                    <a:pt x="182113" y="216896"/>
                  </a:cubicBezTo>
                  <a:cubicBezTo>
                    <a:pt x="183391" y="218811"/>
                    <a:pt x="185308" y="220088"/>
                    <a:pt x="187225" y="221365"/>
                  </a:cubicBezTo>
                  <a:cubicBezTo>
                    <a:pt x="191059" y="224557"/>
                    <a:pt x="196810" y="229025"/>
                    <a:pt x="196810" y="234771"/>
                  </a:cubicBezTo>
                  <a:cubicBezTo>
                    <a:pt x="196810" y="241155"/>
                    <a:pt x="191698" y="245624"/>
                    <a:pt x="187225" y="248816"/>
                  </a:cubicBezTo>
                  <a:lnTo>
                    <a:pt x="187225" y="248816"/>
                  </a:lnTo>
                  <a:close/>
                  <a:moveTo>
                    <a:pt x="293298" y="142842"/>
                  </a:moveTo>
                  <a:cubicBezTo>
                    <a:pt x="291381" y="144118"/>
                    <a:pt x="290103" y="145395"/>
                    <a:pt x="288825" y="146672"/>
                  </a:cubicBezTo>
                  <a:cubicBezTo>
                    <a:pt x="288825" y="148587"/>
                    <a:pt x="289464" y="150502"/>
                    <a:pt x="290103" y="152418"/>
                  </a:cubicBezTo>
                  <a:cubicBezTo>
                    <a:pt x="294576" y="159440"/>
                    <a:pt x="292659" y="168377"/>
                    <a:pt x="286269" y="172846"/>
                  </a:cubicBezTo>
                  <a:cubicBezTo>
                    <a:pt x="282435" y="175400"/>
                    <a:pt x="277962" y="176038"/>
                    <a:pt x="274128" y="174761"/>
                  </a:cubicBezTo>
                  <a:cubicBezTo>
                    <a:pt x="272211" y="174761"/>
                    <a:pt x="269655" y="174761"/>
                    <a:pt x="267739" y="175400"/>
                  </a:cubicBezTo>
                  <a:cubicBezTo>
                    <a:pt x="267100" y="177315"/>
                    <a:pt x="265821" y="178592"/>
                    <a:pt x="265182" y="180507"/>
                  </a:cubicBezTo>
                  <a:cubicBezTo>
                    <a:pt x="263266" y="185614"/>
                    <a:pt x="260710" y="191998"/>
                    <a:pt x="254959" y="193913"/>
                  </a:cubicBezTo>
                  <a:cubicBezTo>
                    <a:pt x="253681" y="194552"/>
                    <a:pt x="253042" y="194552"/>
                    <a:pt x="251764" y="194552"/>
                  </a:cubicBezTo>
                  <a:cubicBezTo>
                    <a:pt x="247291" y="193913"/>
                    <a:pt x="242818" y="191998"/>
                    <a:pt x="238984" y="188806"/>
                  </a:cubicBezTo>
                  <a:cubicBezTo>
                    <a:pt x="237706" y="187529"/>
                    <a:pt x="235789" y="186253"/>
                    <a:pt x="233872" y="185614"/>
                  </a:cubicBezTo>
                  <a:cubicBezTo>
                    <a:pt x="231955" y="186253"/>
                    <a:pt x="230038" y="187529"/>
                    <a:pt x="228760" y="188806"/>
                  </a:cubicBezTo>
                  <a:cubicBezTo>
                    <a:pt x="224287" y="192637"/>
                    <a:pt x="218536" y="194552"/>
                    <a:pt x="212785" y="193275"/>
                  </a:cubicBezTo>
                  <a:cubicBezTo>
                    <a:pt x="207034" y="191360"/>
                    <a:pt x="204478" y="184976"/>
                    <a:pt x="203200" y="179869"/>
                  </a:cubicBezTo>
                  <a:cubicBezTo>
                    <a:pt x="202561" y="177953"/>
                    <a:pt x="201922" y="176038"/>
                    <a:pt x="200644" y="174123"/>
                  </a:cubicBezTo>
                  <a:cubicBezTo>
                    <a:pt x="198727" y="173485"/>
                    <a:pt x="196810" y="173485"/>
                    <a:pt x="194893" y="173485"/>
                  </a:cubicBezTo>
                  <a:cubicBezTo>
                    <a:pt x="189142" y="174123"/>
                    <a:pt x="183391" y="172208"/>
                    <a:pt x="178918" y="167739"/>
                  </a:cubicBezTo>
                  <a:cubicBezTo>
                    <a:pt x="176362" y="162632"/>
                    <a:pt x="176362" y="156248"/>
                    <a:pt x="178918" y="151141"/>
                  </a:cubicBezTo>
                  <a:cubicBezTo>
                    <a:pt x="179557" y="149226"/>
                    <a:pt x="180196" y="146672"/>
                    <a:pt x="180196" y="144757"/>
                  </a:cubicBezTo>
                  <a:cubicBezTo>
                    <a:pt x="178918" y="142842"/>
                    <a:pt x="177001" y="141565"/>
                    <a:pt x="175723" y="140288"/>
                  </a:cubicBezTo>
                  <a:cubicBezTo>
                    <a:pt x="171889" y="137096"/>
                    <a:pt x="166138" y="132627"/>
                    <a:pt x="166138" y="126882"/>
                  </a:cubicBezTo>
                  <a:cubicBezTo>
                    <a:pt x="166777" y="121136"/>
                    <a:pt x="170611" y="116029"/>
                    <a:pt x="175723" y="113475"/>
                  </a:cubicBezTo>
                  <a:cubicBezTo>
                    <a:pt x="177640" y="112199"/>
                    <a:pt x="178918" y="110922"/>
                    <a:pt x="180196" y="109645"/>
                  </a:cubicBezTo>
                  <a:cubicBezTo>
                    <a:pt x="180196" y="107730"/>
                    <a:pt x="179557" y="105815"/>
                    <a:pt x="178918" y="103899"/>
                  </a:cubicBezTo>
                  <a:cubicBezTo>
                    <a:pt x="176362" y="98792"/>
                    <a:pt x="176362" y="92408"/>
                    <a:pt x="179557" y="87301"/>
                  </a:cubicBezTo>
                  <a:cubicBezTo>
                    <a:pt x="183391" y="82832"/>
                    <a:pt x="189781" y="80917"/>
                    <a:pt x="195532" y="82194"/>
                  </a:cubicBezTo>
                  <a:cubicBezTo>
                    <a:pt x="197449" y="82194"/>
                    <a:pt x="200005" y="82194"/>
                    <a:pt x="201922" y="81555"/>
                  </a:cubicBezTo>
                  <a:cubicBezTo>
                    <a:pt x="202561" y="79640"/>
                    <a:pt x="203839" y="77725"/>
                    <a:pt x="204478" y="75810"/>
                  </a:cubicBezTo>
                  <a:cubicBezTo>
                    <a:pt x="206395" y="70703"/>
                    <a:pt x="208951" y="64319"/>
                    <a:pt x="214702" y="62403"/>
                  </a:cubicBezTo>
                  <a:cubicBezTo>
                    <a:pt x="220453" y="61765"/>
                    <a:pt x="226843" y="63680"/>
                    <a:pt x="230677" y="67511"/>
                  </a:cubicBezTo>
                  <a:cubicBezTo>
                    <a:pt x="232594" y="68787"/>
                    <a:pt x="233872" y="70064"/>
                    <a:pt x="235789" y="70703"/>
                  </a:cubicBezTo>
                  <a:cubicBezTo>
                    <a:pt x="237706" y="70064"/>
                    <a:pt x="239623" y="68787"/>
                    <a:pt x="240901" y="67511"/>
                  </a:cubicBezTo>
                  <a:cubicBezTo>
                    <a:pt x="245374" y="63680"/>
                    <a:pt x="251125" y="61765"/>
                    <a:pt x="256876" y="63042"/>
                  </a:cubicBezTo>
                  <a:cubicBezTo>
                    <a:pt x="263266" y="64957"/>
                    <a:pt x="265182" y="71341"/>
                    <a:pt x="267100" y="76448"/>
                  </a:cubicBezTo>
                  <a:cubicBezTo>
                    <a:pt x="267739" y="78363"/>
                    <a:pt x="268377" y="80279"/>
                    <a:pt x="269655" y="82194"/>
                  </a:cubicBezTo>
                  <a:cubicBezTo>
                    <a:pt x="271572" y="82832"/>
                    <a:pt x="273489" y="82832"/>
                    <a:pt x="275407" y="82832"/>
                  </a:cubicBezTo>
                  <a:cubicBezTo>
                    <a:pt x="283074" y="80917"/>
                    <a:pt x="291381" y="85386"/>
                    <a:pt x="293298" y="93047"/>
                  </a:cubicBezTo>
                  <a:cubicBezTo>
                    <a:pt x="294576" y="96877"/>
                    <a:pt x="293937" y="101346"/>
                    <a:pt x="291381" y="105176"/>
                  </a:cubicBezTo>
                  <a:cubicBezTo>
                    <a:pt x="290742" y="107091"/>
                    <a:pt x="290103" y="109645"/>
                    <a:pt x="290103" y="111560"/>
                  </a:cubicBezTo>
                  <a:cubicBezTo>
                    <a:pt x="291381" y="113475"/>
                    <a:pt x="293298" y="114752"/>
                    <a:pt x="294576" y="116029"/>
                  </a:cubicBezTo>
                  <a:cubicBezTo>
                    <a:pt x="299049" y="119221"/>
                    <a:pt x="304161" y="123051"/>
                    <a:pt x="304161" y="129435"/>
                  </a:cubicBezTo>
                  <a:cubicBezTo>
                    <a:pt x="304161" y="135819"/>
                    <a:pt x="297771" y="139650"/>
                    <a:pt x="293298" y="142842"/>
                  </a:cubicBezTo>
                  <a:lnTo>
                    <a:pt x="293298" y="142842"/>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4" name="Graphic 4">
              <a:extLst>
                <a:ext uri="{FF2B5EF4-FFF2-40B4-BE49-F238E27FC236}">
                  <a16:creationId xmlns:a16="http://schemas.microsoft.com/office/drawing/2014/main" id="{F4D281B7-D32B-F583-5969-CBDC3302AC0C}"/>
                </a:ext>
              </a:extLst>
            </p:cNvPr>
            <p:cNvSpPr/>
            <p:nvPr/>
          </p:nvSpPr>
          <p:spPr>
            <a:xfrm>
              <a:off x="3070364" y="1581475"/>
              <a:ext cx="113101" cy="109166"/>
            </a:xfrm>
            <a:custGeom>
              <a:avLst/>
              <a:gdLst>
                <a:gd name="connsiteX0" fmla="*/ 99044 w 113101"/>
                <a:gd name="connsiteY0" fmla="*/ 41496 h 109166"/>
                <a:gd name="connsiteX1" fmla="*/ 99044 w 113101"/>
                <a:gd name="connsiteY1" fmla="*/ 41496 h 109166"/>
                <a:gd name="connsiteX2" fmla="*/ 100322 w 113101"/>
                <a:gd name="connsiteY2" fmla="*/ 27451 h 109166"/>
                <a:gd name="connsiteX3" fmla="*/ 101600 w 113101"/>
                <a:gd name="connsiteY3" fmla="*/ 22344 h 109166"/>
                <a:gd name="connsiteX4" fmla="*/ 95849 w 113101"/>
                <a:gd name="connsiteY4" fmla="*/ 21706 h 109166"/>
                <a:gd name="connsiteX5" fmla="*/ 76040 w 113101"/>
                <a:gd name="connsiteY5" fmla="*/ 7661 h 109166"/>
                <a:gd name="connsiteX6" fmla="*/ 76040 w 113101"/>
                <a:gd name="connsiteY6" fmla="*/ 6384 h 109166"/>
                <a:gd name="connsiteX7" fmla="*/ 74123 w 113101"/>
                <a:gd name="connsiteY7" fmla="*/ 1277 h 109166"/>
                <a:gd name="connsiteX8" fmla="*/ 69650 w 113101"/>
                <a:gd name="connsiteY8" fmla="*/ 3830 h 109166"/>
                <a:gd name="connsiteX9" fmla="*/ 56870 w 113101"/>
                <a:gd name="connsiteY9" fmla="*/ 8938 h 109166"/>
                <a:gd name="connsiteX10" fmla="*/ 44730 w 113101"/>
                <a:gd name="connsiteY10" fmla="*/ 3192 h 109166"/>
                <a:gd name="connsiteX11" fmla="*/ 39618 w 113101"/>
                <a:gd name="connsiteY11" fmla="*/ 0 h 109166"/>
                <a:gd name="connsiteX12" fmla="*/ 37062 w 113101"/>
                <a:gd name="connsiteY12" fmla="*/ 5746 h 109166"/>
                <a:gd name="connsiteX13" fmla="*/ 30033 w 113101"/>
                <a:gd name="connsiteY13" fmla="*/ 17237 h 109166"/>
                <a:gd name="connsiteX14" fmla="*/ 16614 w 113101"/>
                <a:gd name="connsiteY14" fmla="*/ 19790 h 109166"/>
                <a:gd name="connsiteX15" fmla="*/ 10863 w 113101"/>
                <a:gd name="connsiteY15" fmla="*/ 20429 h 109166"/>
                <a:gd name="connsiteX16" fmla="*/ 12141 w 113101"/>
                <a:gd name="connsiteY16" fmla="*/ 26174 h 109166"/>
                <a:gd name="connsiteX17" fmla="*/ 13419 w 113101"/>
                <a:gd name="connsiteY17" fmla="*/ 39581 h 109166"/>
                <a:gd name="connsiteX18" fmla="*/ 4473 w 113101"/>
                <a:gd name="connsiteY18" fmla="*/ 49795 h 109166"/>
                <a:gd name="connsiteX19" fmla="*/ 0 w 113101"/>
                <a:gd name="connsiteY19" fmla="*/ 53625 h 109166"/>
                <a:gd name="connsiteX20" fmla="*/ 3834 w 113101"/>
                <a:gd name="connsiteY20" fmla="*/ 57456 h 109166"/>
                <a:gd name="connsiteX21" fmla="*/ 12780 w 113101"/>
                <a:gd name="connsiteY21" fmla="*/ 68308 h 109166"/>
                <a:gd name="connsiteX22" fmla="*/ 11502 w 113101"/>
                <a:gd name="connsiteY22" fmla="*/ 82353 h 109166"/>
                <a:gd name="connsiteX23" fmla="*/ 10224 w 113101"/>
                <a:gd name="connsiteY23" fmla="*/ 87460 h 109166"/>
                <a:gd name="connsiteX24" fmla="*/ 15975 w 113101"/>
                <a:gd name="connsiteY24" fmla="*/ 87460 h 109166"/>
                <a:gd name="connsiteX25" fmla="*/ 29394 w 113101"/>
                <a:gd name="connsiteY25" fmla="*/ 90652 h 109166"/>
                <a:gd name="connsiteX26" fmla="*/ 36423 w 113101"/>
                <a:gd name="connsiteY26" fmla="*/ 102782 h 109166"/>
                <a:gd name="connsiteX27" fmla="*/ 38340 w 113101"/>
                <a:gd name="connsiteY27" fmla="*/ 107889 h 109166"/>
                <a:gd name="connsiteX28" fmla="*/ 42813 w 113101"/>
                <a:gd name="connsiteY28" fmla="*/ 105336 h 109166"/>
                <a:gd name="connsiteX29" fmla="*/ 55593 w 113101"/>
                <a:gd name="connsiteY29" fmla="*/ 100228 h 109166"/>
                <a:gd name="connsiteX30" fmla="*/ 55593 w 113101"/>
                <a:gd name="connsiteY30" fmla="*/ 100228 h 109166"/>
                <a:gd name="connsiteX31" fmla="*/ 67733 w 113101"/>
                <a:gd name="connsiteY31" fmla="*/ 105974 h 109166"/>
                <a:gd name="connsiteX32" fmla="*/ 72845 w 113101"/>
                <a:gd name="connsiteY32" fmla="*/ 109166 h 109166"/>
                <a:gd name="connsiteX33" fmla="*/ 75401 w 113101"/>
                <a:gd name="connsiteY33" fmla="*/ 103420 h 109166"/>
                <a:gd name="connsiteX34" fmla="*/ 82430 w 113101"/>
                <a:gd name="connsiteY34" fmla="*/ 91929 h 109166"/>
                <a:gd name="connsiteX35" fmla="*/ 95849 w 113101"/>
                <a:gd name="connsiteY35" fmla="*/ 88737 h 109166"/>
                <a:gd name="connsiteX36" fmla="*/ 101600 w 113101"/>
                <a:gd name="connsiteY36" fmla="*/ 88099 h 109166"/>
                <a:gd name="connsiteX37" fmla="*/ 100322 w 113101"/>
                <a:gd name="connsiteY37" fmla="*/ 82992 h 109166"/>
                <a:gd name="connsiteX38" fmla="*/ 107990 w 113101"/>
                <a:gd name="connsiteY38" fmla="*/ 59371 h 109166"/>
                <a:gd name="connsiteX39" fmla="*/ 108629 w 113101"/>
                <a:gd name="connsiteY39" fmla="*/ 58733 h 109166"/>
                <a:gd name="connsiteX40" fmla="*/ 113102 w 113101"/>
                <a:gd name="connsiteY40" fmla="*/ 54902 h 109166"/>
                <a:gd name="connsiteX41" fmla="*/ 109268 w 113101"/>
                <a:gd name="connsiteY41" fmla="*/ 51072 h 109166"/>
                <a:gd name="connsiteX42" fmla="*/ 99044 w 113101"/>
                <a:gd name="connsiteY42" fmla="*/ 41496 h 109166"/>
                <a:gd name="connsiteX43" fmla="*/ 63899 w 113101"/>
                <a:gd name="connsiteY43" fmla="*/ 79161 h 109166"/>
                <a:gd name="connsiteX44" fmla="*/ 56231 w 113101"/>
                <a:gd name="connsiteY44" fmla="*/ 80438 h 109166"/>
                <a:gd name="connsiteX45" fmla="*/ 30672 w 113101"/>
                <a:gd name="connsiteY45" fmla="*/ 54902 h 109166"/>
                <a:gd name="connsiteX46" fmla="*/ 56231 w 113101"/>
                <a:gd name="connsiteY46" fmla="*/ 29366 h 109166"/>
                <a:gd name="connsiteX47" fmla="*/ 81791 w 113101"/>
                <a:gd name="connsiteY47" fmla="*/ 54902 h 109166"/>
                <a:gd name="connsiteX48" fmla="*/ 63899 w 113101"/>
                <a:gd name="connsiteY48" fmla="*/ 79161 h 10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3101" h="109166">
                  <a:moveTo>
                    <a:pt x="99044" y="41496"/>
                  </a:moveTo>
                  <a:lnTo>
                    <a:pt x="99044" y="41496"/>
                  </a:lnTo>
                  <a:cubicBezTo>
                    <a:pt x="98405" y="37027"/>
                    <a:pt x="98405" y="31920"/>
                    <a:pt x="100322" y="27451"/>
                  </a:cubicBezTo>
                  <a:cubicBezTo>
                    <a:pt x="100961" y="25536"/>
                    <a:pt x="101600" y="23621"/>
                    <a:pt x="101600" y="22344"/>
                  </a:cubicBezTo>
                  <a:cubicBezTo>
                    <a:pt x="100322" y="22344"/>
                    <a:pt x="97766" y="22344"/>
                    <a:pt x="95849" y="21706"/>
                  </a:cubicBezTo>
                  <a:cubicBezTo>
                    <a:pt x="86264" y="23621"/>
                    <a:pt x="77318" y="17237"/>
                    <a:pt x="76040" y="7661"/>
                  </a:cubicBezTo>
                  <a:cubicBezTo>
                    <a:pt x="76040" y="7022"/>
                    <a:pt x="76040" y="7022"/>
                    <a:pt x="76040" y="6384"/>
                  </a:cubicBezTo>
                  <a:cubicBezTo>
                    <a:pt x="75401" y="4469"/>
                    <a:pt x="74762" y="3192"/>
                    <a:pt x="74123" y="1277"/>
                  </a:cubicBezTo>
                  <a:cubicBezTo>
                    <a:pt x="72206" y="1915"/>
                    <a:pt x="70928" y="3192"/>
                    <a:pt x="69650" y="3830"/>
                  </a:cubicBezTo>
                  <a:cubicBezTo>
                    <a:pt x="65816" y="7022"/>
                    <a:pt x="61343" y="8938"/>
                    <a:pt x="56870" y="8938"/>
                  </a:cubicBezTo>
                  <a:cubicBezTo>
                    <a:pt x="52398" y="8299"/>
                    <a:pt x="47925" y="6384"/>
                    <a:pt x="44730" y="3192"/>
                  </a:cubicBezTo>
                  <a:cubicBezTo>
                    <a:pt x="42813" y="1915"/>
                    <a:pt x="41535" y="1277"/>
                    <a:pt x="39618" y="0"/>
                  </a:cubicBezTo>
                  <a:cubicBezTo>
                    <a:pt x="38979" y="1915"/>
                    <a:pt x="37701" y="3830"/>
                    <a:pt x="37062" y="5746"/>
                  </a:cubicBezTo>
                  <a:cubicBezTo>
                    <a:pt x="35784" y="10214"/>
                    <a:pt x="33228" y="14045"/>
                    <a:pt x="30033" y="17237"/>
                  </a:cubicBezTo>
                  <a:cubicBezTo>
                    <a:pt x="26199" y="19790"/>
                    <a:pt x="21087" y="20429"/>
                    <a:pt x="16614" y="19790"/>
                  </a:cubicBezTo>
                  <a:cubicBezTo>
                    <a:pt x="14697" y="19790"/>
                    <a:pt x="12780" y="19790"/>
                    <a:pt x="10863" y="20429"/>
                  </a:cubicBezTo>
                  <a:cubicBezTo>
                    <a:pt x="10863" y="22344"/>
                    <a:pt x="11502" y="24259"/>
                    <a:pt x="12141" y="26174"/>
                  </a:cubicBezTo>
                  <a:cubicBezTo>
                    <a:pt x="14058" y="30643"/>
                    <a:pt x="14058" y="35112"/>
                    <a:pt x="13419" y="39581"/>
                  </a:cubicBezTo>
                  <a:cubicBezTo>
                    <a:pt x="11502" y="44049"/>
                    <a:pt x="8307" y="47241"/>
                    <a:pt x="4473" y="49795"/>
                  </a:cubicBezTo>
                  <a:cubicBezTo>
                    <a:pt x="3195" y="51072"/>
                    <a:pt x="1278" y="52349"/>
                    <a:pt x="0" y="53625"/>
                  </a:cubicBezTo>
                  <a:cubicBezTo>
                    <a:pt x="1278" y="54902"/>
                    <a:pt x="2556" y="56179"/>
                    <a:pt x="3834" y="57456"/>
                  </a:cubicBezTo>
                  <a:cubicBezTo>
                    <a:pt x="7668" y="60009"/>
                    <a:pt x="10863" y="63840"/>
                    <a:pt x="12780" y="68308"/>
                  </a:cubicBezTo>
                  <a:cubicBezTo>
                    <a:pt x="13419" y="72777"/>
                    <a:pt x="13419" y="77884"/>
                    <a:pt x="11502" y="82353"/>
                  </a:cubicBezTo>
                  <a:cubicBezTo>
                    <a:pt x="10863" y="84268"/>
                    <a:pt x="10224" y="86184"/>
                    <a:pt x="10224" y="87460"/>
                  </a:cubicBezTo>
                  <a:cubicBezTo>
                    <a:pt x="10863" y="87460"/>
                    <a:pt x="14058" y="87460"/>
                    <a:pt x="15975" y="87460"/>
                  </a:cubicBezTo>
                  <a:cubicBezTo>
                    <a:pt x="20448" y="86822"/>
                    <a:pt x="24921" y="88099"/>
                    <a:pt x="29394" y="90652"/>
                  </a:cubicBezTo>
                  <a:cubicBezTo>
                    <a:pt x="32589" y="93844"/>
                    <a:pt x="35145" y="97675"/>
                    <a:pt x="36423" y="102782"/>
                  </a:cubicBezTo>
                  <a:cubicBezTo>
                    <a:pt x="37062" y="104697"/>
                    <a:pt x="37701" y="105974"/>
                    <a:pt x="38340" y="107889"/>
                  </a:cubicBezTo>
                  <a:cubicBezTo>
                    <a:pt x="40257" y="107251"/>
                    <a:pt x="41535" y="105974"/>
                    <a:pt x="42813" y="105336"/>
                  </a:cubicBezTo>
                  <a:cubicBezTo>
                    <a:pt x="46646" y="102144"/>
                    <a:pt x="51119" y="100228"/>
                    <a:pt x="55593" y="100228"/>
                  </a:cubicBezTo>
                  <a:lnTo>
                    <a:pt x="55593" y="100228"/>
                  </a:lnTo>
                  <a:cubicBezTo>
                    <a:pt x="60065" y="100867"/>
                    <a:pt x="64538" y="102782"/>
                    <a:pt x="67733" y="105974"/>
                  </a:cubicBezTo>
                  <a:cubicBezTo>
                    <a:pt x="69011" y="107251"/>
                    <a:pt x="70928" y="107889"/>
                    <a:pt x="72845" y="109166"/>
                  </a:cubicBezTo>
                  <a:cubicBezTo>
                    <a:pt x="73484" y="107251"/>
                    <a:pt x="74762" y="105336"/>
                    <a:pt x="75401" y="103420"/>
                  </a:cubicBezTo>
                  <a:cubicBezTo>
                    <a:pt x="76679" y="98952"/>
                    <a:pt x="78596" y="95121"/>
                    <a:pt x="82430" y="91929"/>
                  </a:cubicBezTo>
                  <a:cubicBezTo>
                    <a:pt x="86264" y="89376"/>
                    <a:pt x="91376" y="88737"/>
                    <a:pt x="95849" y="88737"/>
                  </a:cubicBezTo>
                  <a:cubicBezTo>
                    <a:pt x="97766" y="88737"/>
                    <a:pt x="99683" y="88737"/>
                    <a:pt x="101600" y="88099"/>
                  </a:cubicBezTo>
                  <a:cubicBezTo>
                    <a:pt x="101600" y="86184"/>
                    <a:pt x="100961" y="84268"/>
                    <a:pt x="100322" y="82992"/>
                  </a:cubicBezTo>
                  <a:cubicBezTo>
                    <a:pt x="95849" y="74692"/>
                    <a:pt x="99044" y="63840"/>
                    <a:pt x="107990" y="59371"/>
                  </a:cubicBezTo>
                  <a:cubicBezTo>
                    <a:pt x="107990" y="59371"/>
                    <a:pt x="108629" y="59371"/>
                    <a:pt x="108629" y="58733"/>
                  </a:cubicBezTo>
                  <a:cubicBezTo>
                    <a:pt x="109907" y="57456"/>
                    <a:pt x="111824" y="56179"/>
                    <a:pt x="113102" y="54902"/>
                  </a:cubicBezTo>
                  <a:cubicBezTo>
                    <a:pt x="111824" y="53625"/>
                    <a:pt x="110546" y="52349"/>
                    <a:pt x="109268" y="51072"/>
                  </a:cubicBezTo>
                  <a:cubicBezTo>
                    <a:pt x="104156" y="49795"/>
                    <a:pt x="100961" y="45965"/>
                    <a:pt x="99044" y="41496"/>
                  </a:cubicBezTo>
                  <a:close/>
                  <a:moveTo>
                    <a:pt x="63899" y="79161"/>
                  </a:moveTo>
                  <a:cubicBezTo>
                    <a:pt x="61343" y="79800"/>
                    <a:pt x="58788" y="80438"/>
                    <a:pt x="56231" y="80438"/>
                  </a:cubicBezTo>
                  <a:cubicBezTo>
                    <a:pt x="42174" y="80438"/>
                    <a:pt x="30672" y="68947"/>
                    <a:pt x="30672" y="54902"/>
                  </a:cubicBezTo>
                  <a:cubicBezTo>
                    <a:pt x="30672" y="40857"/>
                    <a:pt x="42174" y="29366"/>
                    <a:pt x="56231" y="29366"/>
                  </a:cubicBezTo>
                  <a:cubicBezTo>
                    <a:pt x="70289" y="29366"/>
                    <a:pt x="81791" y="40857"/>
                    <a:pt x="81791" y="54902"/>
                  </a:cubicBezTo>
                  <a:cubicBezTo>
                    <a:pt x="81791" y="65755"/>
                    <a:pt x="74123" y="75969"/>
                    <a:pt x="63899" y="79161"/>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5" name="Graphic 4">
              <a:extLst>
                <a:ext uri="{FF2B5EF4-FFF2-40B4-BE49-F238E27FC236}">
                  <a16:creationId xmlns:a16="http://schemas.microsoft.com/office/drawing/2014/main" id="{F1B0940B-CD3A-D798-8521-9467FD5462FF}"/>
                </a:ext>
              </a:extLst>
            </p:cNvPr>
            <p:cNvSpPr/>
            <p:nvPr/>
          </p:nvSpPr>
          <p:spPr>
            <a:xfrm>
              <a:off x="3219637" y="1518273"/>
              <a:ext cx="25869" cy="25633"/>
            </a:xfrm>
            <a:custGeom>
              <a:avLst/>
              <a:gdLst>
                <a:gd name="connsiteX0" fmla="*/ 18782 w 25869"/>
                <a:gd name="connsiteY0" fmla="*/ 1277 h 25633"/>
                <a:gd name="connsiteX1" fmla="*/ 13032 w 25869"/>
                <a:gd name="connsiteY1" fmla="*/ 0 h 25633"/>
                <a:gd name="connsiteX2" fmla="*/ 9198 w 25869"/>
                <a:gd name="connsiteY2" fmla="*/ 638 h 25633"/>
                <a:gd name="connsiteX3" fmla="*/ 1530 w 25869"/>
                <a:gd name="connsiteY3" fmla="*/ 7022 h 25633"/>
                <a:gd name="connsiteX4" fmla="*/ 891 w 25869"/>
                <a:gd name="connsiteY4" fmla="*/ 16598 h 25633"/>
                <a:gd name="connsiteX5" fmla="*/ 7281 w 25869"/>
                <a:gd name="connsiteY5" fmla="*/ 24259 h 25633"/>
                <a:gd name="connsiteX6" fmla="*/ 24534 w 25869"/>
                <a:gd name="connsiteY6" fmla="*/ 18514 h 25633"/>
                <a:gd name="connsiteX7" fmla="*/ 25172 w 25869"/>
                <a:gd name="connsiteY7" fmla="*/ 9576 h 25633"/>
                <a:gd name="connsiteX8" fmla="*/ 18782 w 25869"/>
                <a:gd name="connsiteY8" fmla="*/ 1277 h 25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69" h="25633">
                  <a:moveTo>
                    <a:pt x="18782" y="1277"/>
                  </a:moveTo>
                  <a:cubicBezTo>
                    <a:pt x="16866" y="638"/>
                    <a:pt x="14949" y="0"/>
                    <a:pt x="13032" y="0"/>
                  </a:cubicBezTo>
                  <a:cubicBezTo>
                    <a:pt x="11754" y="0"/>
                    <a:pt x="10476" y="0"/>
                    <a:pt x="9198" y="638"/>
                  </a:cubicBezTo>
                  <a:cubicBezTo>
                    <a:pt x="6003" y="1915"/>
                    <a:pt x="3447" y="3830"/>
                    <a:pt x="1530" y="7022"/>
                  </a:cubicBezTo>
                  <a:cubicBezTo>
                    <a:pt x="-387" y="10214"/>
                    <a:pt x="-387" y="13406"/>
                    <a:pt x="891" y="16598"/>
                  </a:cubicBezTo>
                  <a:cubicBezTo>
                    <a:pt x="2169" y="19790"/>
                    <a:pt x="4086" y="22344"/>
                    <a:pt x="7281" y="24259"/>
                  </a:cubicBezTo>
                  <a:cubicBezTo>
                    <a:pt x="13671" y="27451"/>
                    <a:pt x="21339" y="24898"/>
                    <a:pt x="24534" y="18514"/>
                  </a:cubicBezTo>
                  <a:cubicBezTo>
                    <a:pt x="25811" y="15960"/>
                    <a:pt x="26450" y="12130"/>
                    <a:pt x="25172" y="9576"/>
                  </a:cubicBezTo>
                  <a:cubicBezTo>
                    <a:pt x="24534" y="5107"/>
                    <a:pt x="21977" y="2554"/>
                    <a:pt x="18782" y="1277"/>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6" name="Graphic 4">
              <a:extLst>
                <a:ext uri="{FF2B5EF4-FFF2-40B4-BE49-F238E27FC236}">
                  <a16:creationId xmlns:a16="http://schemas.microsoft.com/office/drawing/2014/main" id="{D48D178D-D933-8AE8-BC24-04B89FCCD7EF}"/>
                </a:ext>
              </a:extLst>
            </p:cNvPr>
            <p:cNvSpPr/>
            <p:nvPr/>
          </p:nvSpPr>
          <p:spPr>
            <a:xfrm>
              <a:off x="3113907" y="1623609"/>
              <a:ext cx="25377" cy="25444"/>
            </a:xfrm>
            <a:custGeom>
              <a:avLst/>
              <a:gdLst>
                <a:gd name="connsiteX0" fmla="*/ 12689 w 25377"/>
                <a:gd name="connsiteY0" fmla="*/ 0 h 25444"/>
                <a:gd name="connsiteX1" fmla="*/ 8855 w 25377"/>
                <a:gd name="connsiteY1" fmla="*/ 638 h 25444"/>
                <a:gd name="connsiteX2" fmla="*/ 548 w 25377"/>
                <a:gd name="connsiteY2" fmla="*/ 16598 h 25444"/>
                <a:gd name="connsiteX3" fmla="*/ 16523 w 25377"/>
                <a:gd name="connsiteY3" fmla="*/ 24898 h 25444"/>
                <a:gd name="connsiteX4" fmla="*/ 24830 w 25377"/>
                <a:gd name="connsiteY4" fmla="*/ 8938 h 25444"/>
                <a:gd name="connsiteX5" fmla="*/ 12689 w 25377"/>
                <a:gd name="connsiteY5" fmla="*/ 0 h 2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 h="25444">
                  <a:moveTo>
                    <a:pt x="12689" y="0"/>
                  </a:moveTo>
                  <a:cubicBezTo>
                    <a:pt x="11411" y="0"/>
                    <a:pt x="10133" y="0"/>
                    <a:pt x="8855" y="638"/>
                  </a:cubicBezTo>
                  <a:cubicBezTo>
                    <a:pt x="1826" y="2554"/>
                    <a:pt x="-1369" y="9576"/>
                    <a:pt x="548" y="16598"/>
                  </a:cubicBezTo>
                  <a:cubicBezTo>
                    <a:pt x="2465" y="23621"/>
                    <a:pt x="9494" y="26813"/>
                    <a:pt x="16523" y="24898"/>
                  </a:cubicBezTo>
                  <a:cubicBezTo>
                    <a:pt x="23552" y="22982"/>
                    <a:pt x="26747" y="15960"/>
                    <a:pt x="24830" y="8938"/>
                  </a:cubicBezTo>
                  <a:cubicBezTo>
                    <a:pt x="23552" y="3830"/>
                    <a:pt x="18440" y="0"/>
                    <a:pt x="12689" y="0"/>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7" name="Graphic 4">
              <a:extLst>
                <a:ext uri="{FF2B5EF4-FFF2-40B4-BE49-F238E27FC236}">
                  <a16:creationId xmlns:a16="http://schemas.microsoft.com/office/drawing/2014/main" id="{731366FA-75A9-3521-F5B1-E1DE4B8C9BC4}"/>
                </a:ext>
              </a:extLst>
            </p:cNvPr>
            <p:cNvSpPr/>
            <p:nvPr/>
          </p:nvSpPr>
          <p:spPr>
            <a:xfrm>
              <a:off x="3175798" y="1476139"/>
              <a:ext cx="111823" cy="107250"/>
            </a:xfrm>
            <a:custGeom>
              <a:avLst/>
              <a:gdLst>
                <a:gd name="connsiteX0" fmla="*/ 99683 w 111823"/>
                <a:gd name="connsiteY0" fmla="*/ 40857 h 107250"/>
                <a:gd name="connsiteX1" fmla="*/ 100961 w 111823"/>
                <a:gd name="connsiteY1" fmla="*/ 26813 h 107250"/>
                <a:gd name="connsiteX2" fmla="*/ 102239 w 111823"/>
                <a:gd name="connsiteY2" fmla="*/ 21706 h 107250"/>
                <a:gd name="connsiteX3" fmla="*/ 96488 w 111823"/>
                <a:gd name="connsiteY3" fmla="*/ 21706 h 107250"/>
                <a:gd name="connsiteX4" fmla="*/ 76040 w 111823"/>
                <a:gd name="connsiteY4" fmla="*/ 7661 h 107250"/>
                <a:gd name="connsiteX5" fmla="*/ 76040 w 111823"/>
                <a:gd name="connsiteY5" fmla="*/ 6384 h 107250"/>
                <a:gd name="connsiteX6" fmla="*/ 74123 w 111823"/>
                <a:gd name="connsiteY6" fmla="*/ 1277 h 107250"/>
                <a:gd name="connsiteX7" fmla="*/ 69650 w 111823"/>
                <a:gd name="connsiteY7" fmla="*/ 3830 h 107250"/>
                <a:gd name="connsiteX8" fmla="*/ 56870 w 111823"/>
                <a:gd name="connsiteY8" fmla="*/ 8938 h 107250"/>
                <a:gd name="connsiteX9" fmla="*/ 44730 w 111823"/>
                <a:gd name="connsiteY9" fmla="*/ 3192 h 107250"/>
                <a:gd name="connsiteX10" fmla="*/ 39618 w 111823"/>
                <a:gd name="connsiteY10" fmla="*/ 0 h 107250"/>
                <a:gd name="connsiteX11" fmla="*/ 37062 w 111823"/>
                <a:gd name="connsiteY11" fmla="*/ 5107 h 107250"/>
                <a:gd name="connsiteX12" fmla="*/ 30033 w 111823"/>
                <a:gd name="connsiteY12" fmla="*/ 16598 h 107250"/>
                <a:gd name="connsiteX13" fmla="*/ 16614 w 111823"/>
                <a:gd name="connsiteY13" fmla="*/ 19152 h 107250"/>
                <a:gd name="connsiteX14" fmla="*/ 10863 w 111823"/>
                <a:gd name="connsiteY14" fmla="*/ 19152 h 107250"/>
                <a:gd name="connsiteX15" fmla="*/ 12141 w 111823"/>
                <a:gd name="connsiteY15" fmla="*/ 24897 h 107250"/>
                <a:gd name="connsiteX16" fmla="*/ 13419 w 111823"/>
                <a:gd name="connsiteY16" fmla="*/ 38304 h 107250"/>
                <a:gd name="connsiteX17" fmla="*/ 4473 w 111823"/>
                <a:gd name="connsiteY17" fmla="*/ 48518 h 107250"/>
                <a:gd name="connsiteX18" fmla="*/ 0 w 111823"/>
                <a:gd name="connsiteY18" fmla="*/ 52349 h 107250"/>
                <a:gd name="connsiteX19" fmla="*/ 3834 w 111823"/>
                <a:gd name="connsiteY19" fmla="*/ 56179 h 107250"/>
                <a:gd name="connsiteX20" fmla="*/ 12141 w 111823"/>
                <a:gd name="connsiteY20" fmla="*/ 79800 h 107250"/>
                <a:gd name="connsiteX21" fmla="*/ 11502 w 111823"/>
                <a:gd name="connsiteY21" fmla="*/ 80438 h 107250"/>
                <a:gd name="connsiteX22" fmla="*/ 10224 w 111823"/>
                <a:gd name="connsiteY22" fmla="*/ 86184 h 107250"/>
                <a:gd name="connsiteX23" fmla="*/ 15975 w 111823"/>
                <a:gd name="connsiteY23" fmla="*/ 86184 h 107250"/>
                <a:gd name="connsiteX24" fmla="*/ 35784 w 111823"/>
                <a:gd name="connsiteY24" fmla="*/ 100229 h 107250"/>
                <a:gd name="connsiteX25" fmla="*/ 35784 w 111823"/>
                <a:gd name="connsiteY25" fmla="*/ 100867 h 107250"/>
                <a:gd name="connsiteX26" fmla="*/ 37701 w 111823"/>
                <a:gd name="connsiteY26" fmla="*/ 105974 h 107250"/>
                <a:gd name="connsiteX27" fmla="*/ 42174 w 111823"/>
                <a:gd name="connsiteY27" fmla="*/ 103420 h 107250"/>
                <a:gd name="connsiteX28" fmla="*/ 54954 w 111823"/>
                <a:gd name="connsiteY28" fmla="*/ 98313 h 107250"/>
                <a:gd name="connsiteX29" fmla="*/ 54954 w 111823"/>
                <a:gd name="connsiteY29" fmla="*/ 98313 h 107250"/>
                <a:gd name="connsiteX30" fmla="*/ 67094 w 111823"/>
                <a:gd name="connsiteY30" fmla="*/ 104059 h 107250"/>
                <a:gd name="connsiteX31" fmla="*/ 72206 w 111823"/>
                <a:gd name="connsiteY31" fmla="*/ 107251 h 107250"/>
                <a:gd name="connsiteX32" fmla="*/ 74762 w 111823"/>
                <a:gd name="connsiteY32" fmla="*/ 102144 h 107250"/>
                <a:gd name="connsiteX33" fmla="*/ 81791 w 111823"/>
                <a:gd name="connsiteY33" fmla="*/ 90653 h 107250"/>
                <a:gd name="connsiteX34" fmla="*/ 95210 w 111823"/>
                <a:gd name="connsiteY34" fmla="*/ 88099 h 107250"/>
                <a:gd name="connsiteX35" fmla="*/ 100961 w 111823"/>
                <a:gd name="connsiteY35" fmla="*/ 87461 h 107250"/>
                <a:gd name="connsiteX36" fmla="*/ 99683 w 111823"/>
                <a:gd name="connsiteY36" fmla="*/ 81715 h 107250"/>
                <a:gd name="connsiteX37" fmla="*/ 98405 w 111823"/>
                <a:gd name="connsiteY37" fmla="*/ 68309 h 107250"/>
                <a:gd name="connsiteX38" fmla="*/ 107351 w 111823"/>
                <a:gd name="connsiteY38" fmla="*/ 58094 h 107250"/>
                <a:gd name="connsiteX39" fmla="*/ 111824 w 111823"/>
                <a:gd name="connsiteY39" fmla="*/ 54264 h 107250"/>
                <a:gd name="connsiteX40" fmla="*/ 107990 w 111823"/>
                <a:gd name="connsiteY40" fmla="*/ 50433 h 107250"/>
                <a:gd name="connsiteX41" fmla="*/ 99683 w 111823"/>
                <a:gd name="connsiteY41" fmla="*/ 40857 h 107250"/>
                <a:gd name="connsiteX42" fmla="*/ 79235 w 111823"/>
                <a:gd name="connsiteY42" fmla="*/ 65755 h 107250"/>
                <a:gd name="connsiteX43" fmla="*/ 56870 w 111823"/>
                <a:gd name="connsiteY43" fmla="*/ 79161 h 107250"/>
                <a:gd name="connsiteX44" fmla="*/ 44730 w 111823"/>
                <a:gd name="connsiteY44" fmla="*/ 75969 h 107250"/>
                <a:gd name="connsiteX45" fmla="*/ 34506 w 111823"/>
                <a:gd name="connsiteY45" fmla="*/ 41496 h 107250"/>
                <a:gd name="connsiteX46" fmla="*/ 49203 w 111823"/>
                <a:gd name="connsiteY46" fmla="*/ 29366 h 107250"/>
                <a:gd name="connsiteX47" fmla="*/ 68372 w 111823"/>
                <a:gd name="connsiteY47" fmla="*/ 31281 h 107250"/>
                <a:gd name="connsiteX48" fmla="*/ 79235 w 111823"/>
                <a:gd name="connsiteY48" fmla="*/ 65755 h 107250"/>
                <a:gd name="connsiteX49" fmla="*/ 79235 w 111823"/>
                <a:gd name="connsiteY49" fmla="*/ 65755 h 10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1823" h="107250">
                  <a:moveTo>
                    <a:pt x="99683" y="40857"/>
                  </a:moveTo>
                  <a:cubicBezTo>
                    <a:pt x="99044" y="36389"/>
                    <a:pt x="99044" y="31281"/>
                    <a:pt x="100961" y="26813"/>
                  </a:cubicBezTo>
                  <a:cubicBezTo>
                    <a:pt x="101600" y="24897"/>
                    <a:pt x="102239" y="22982"/>
                    <a:pt x="102239" y="21706"/>
                  </a:cubicBezTo>
                  <a:cubicBezTo>
                    <a:pt x="100961" y="21706"/>
                    <a:pt x="98405" y="21706"/>
                    <a:pt x="96488" y="21706"/>
                  </a:cubicBezTo>
                  <a:cubicBezTo>
                    <a:pt x="86903" y="23621"/>
                    <a:pt x="77957" y="17237"/>
                    <a:pt x="76040" y="7661"/>
                  </a:cubicBezTo>
                  <a:cubicBezTo>
                    <a:pt x="76040" y="7022"/>
                    <a:pt x="76040" y="7022"/>
                    <a:pt x="76040" y="6384"/>
                  </a:cubicBezTo>
                  <a:cubicBezTo>
                    <a:pt x="75401" y="4469"/>
                    <a:pt x="74762" y="3192"/>
                    <a:pt x="74123" y="1277"/>
                  </a:cubicBezTo>
                  <a:cubicBezTo>
                    <a:pt x="72206" y="1915"/>
                    <a:pt x="70928" y="3192"/>
                    <a:pt x="69650" y="3830"/>
                  </a:cubicBezTo>
                  <a:cubicBezTo>
                    <a:pt x="65816" y="6384"/>
                    <a:pt x="61343" y="8299"/>
                    <a:pt x="56870" y="8938"/>
                  </a:cubicBezTo>
                  <a:cubicBezTo>
                    <a:pt x="52398" y="8299"/>
                    <a:pt x="47925" y="6384"/>
                    <a:pt x="44730" y="3192"/>
                  </a:cubicBezTo>
                  <a:cubicBezTo>
                    <a:pt x="43451" y="1915"/>
                    <a:pt x="41535" y="638"/>
                    <a:pt x="39618" y="0"/>
                  </a:cubicBezTo>
                  <a:cubicBezTo>
                    <a:pt x="38979" y="1915"/>
                    <a:pt x="37701" y="3830"/>
                    <a:pt x="37062" y="5107"/>
                  </a:cubicBezTo>
                  <a:cubicBezTo>
                    <a:pt x="35784" y="9576"/>
                    <a:pt x="33867" y="13406"/>
                    <a:pt x="30033" y="16598"/>
                  </a:cubicBezTo>
                  <a:cubicBezTo>
                    <a:pt x="26199" y="19152"/>
                    <a:pt x="21087" y="19790"/>
                    <a:pt x="16614" y="19152"/>
                  </a:cubicBezTo>
                  <a:cubicBezTo>
                    <a:pt x="14697" y="19152"/>
                    <a:pt x="12780" y="19152"/>
                    <a:pt x="10863" y="19152"/>
                  </a:cubicBezTo>
                  <a:cubicBezTo>
                    <a:pt x="10863" y="21067"/>
                    <a:pt x="11502" y="22982"/>
                    <a:pt x="12141" y="24897"/>
                  </a:cubicBezTo>
                  <a:cubicBezTo>
                    <a:pt x="14058" y="29366"/>
                    <a:pt x="14058" y="33835"/>
                    <a:pt x="13419" y="38304"/>
                  </a:cubicBezTo>
                  <a:cubicBezTo>
                    <a:pt x="11502" y="42773"/>
                    <a:pt x="8307" y="45965"/>
                    <a:pt x="4473" y="48518"/>
                  </a:cubicBezTo>
                  <a:cubicBezTo>
                    <a:pt x="3195" y="49795"/>
                    <a:pt x="1278" y="51072"/>
                    <a:pt x="0" y="52349"/>
                  </a:cubicBezTo>
                  <a:cubicBezTo>
                    <a:pt x="1278" y="53625"/>
                    <a:pt x="2556" y="54902"/>
                    <a:pt x="3834" y="56179"/>
                  </a:cubicBezTo>
                  <a:cubicBezTo>
                    <a:pt x="12780" y="60648"/>
                    <a:pt x="15975" y="70862"/>
                    <a:pt x="12141" y="79800"/>
                  </a:cubicBezTo>
                  <a:cubicBezTo>
                    <a:pt x="12141" y="79800"/>
                    <a:pt x="12141" y="80438"/>
                    <a:pt x="11502" y="80438"/>
                  </a:cubicBezTo>
                  <a:cubicBezTo>
                    <a:pt x="10863" y="82353"/>
                    <a:pt x="10224" y="84269"/>
                    <a:pt x="10224" y="86184"/>
                  </a:cubicBezTo>
                  <a:lnTo>
                    <a:pt x="15975" y="86184"/>
                  </a:lnTo>
                  <a:cubicBezTo>
                    <a:pt x="25560" y="84269"/>
                    <a:pt x="34506" y="90653"/>
                    <a:pt x="35784" y="100229"/>
                  </a:cubicBezTo>
                  <a:cubicBezTo>
                    <a:pt x="35784" y="100229"/>
                    <a:pt x="35784" y="100867"/>
                    <a:pt x="35784" y="100867"/>
                  </a:cubicBezTo>
                  <a:cubicBezTo>
                    <a:pt x="36423" y="102782"/>
                    <a:pt x="37062" y="104059"/>
                    <a:pt x="37701" y="105974"/>
                  </a:cubicBezTo>
                  <a:cubicBezTo>
                    <a:pt x="39618" y="105336"/>
                    <a:pt x="40896" y="104059"/>
                    <a:pt x="42174" y="103420"/>
                  </a:cubicBezTo>
                  <a:cubicBezTo>
                    <a:pt x="46008" y="100229"/>
                    <a:pt x="50480" y="98313"/>
                    <a:pt x="54954" y="98313"/>
                  </a:cubicBezTo>
                  <a:lnTo>
                    <a:pt x="54954" y="98313"/>
                  </a:lnTo>
                  <a:cubicBezTo>
                    <a:pt x="59426" y="98952"/>
                    <a:pt x="63899" y="100867"/>
                    <a:pt x="67094" y="104059"/>
                  </a:cubicBezTo>
                  <a:cubicBezTo>
                    <a:pt x="68372" y="105336"/>
                    <a:pt x="70289" y="105974"/>
                    <a:pt x="72206" y="107251"/>
                  </a:cubicBezTo>
                  <a:cubicBezTo>
                    <a:pt x="72845" y="105336"/>
                    <a:pt x="74123" y="104059"/>
                    <a:pt x="74762" y="102144"/>
                  </a:cubicBezTo>
                  <a:cubicBezTo>
                    <a:pt x="76040" y="97675"/>
                    <a:pt x="78596" y="93845"/>
                    <a:pt x="81791" y="90653"/>
                  </a:cubicBezTo>
                  <a:cubicBezTo>
                    <a:pt x="85625" y="88099"/>
                    <a:pt x="90737" y="87461"/>
                    <a:pt x="95210" y="88099"/>
                  </a:cubicBezTo>
                  <a:cubicBezTo>
                    <a:pt x="97127" y="88099"/>
                    <a:pt x="99044" y="88099"/>
                    <a:pt x="100961" y="87461"/>
                  </a:cubicBezTo>
                  <a:cubicBezTo>
                    <a:pt x="100961" y="85545"/>
                    <a:pt x="100322" y="83630"/>
                    <a:pt x="99683" y="81715"/>
                  </a:cubicBezTo>
                  <a:cubicBezTo>
                    <a:pt x="97766" y="77246"/>
                    <a:pt x="97766" y="72777"/>
                    <a:pt x="98405" y="68309"/>
                  </a:cubicBezTo>
                  <a:cubicBezTo>
                    <a:pt x="100322" y="63840"/>
                    <a:pt x="103517" y="60648"/>
                    <a:pt x="107351" y="58094"/>
                  </a:cubicBezTo>
                  <a:cubicBezTo>
                    <a:pt x="108629" y="56817"/>
                    <a:pt x="110546" y="56179"/>
                    <a:pt x="111824" y="54264"/>
                  </a:cubicBezTo>
                  <a:cubicBezTo>
                    <a:pt x="110546" y="52987"/>
                    <a:pt x="109268" y="51710"/>
                    <a:pt x="107990" y="50433"/>
                  </a:cubicBezTo>
                  <a:cubicBezTo>
                    <a:pt x="104795" y="48518"/>
                    <a:pt x="101600" y="45326"/>
                    <a:pt x="99683" y="40857"/>
                  </a:cubicBezTo>
                  <a:close/>
                  <a:moveTo>
                    <a:pt x="79235" y="65755"/>
                  </a:moveTo>
                  <a:cubicBezTo>
                    <a:pt x="74762" y="74054"/>
                    <a:pt x="66455" y="79161"/>
                    <a:pt x="56870" y="79161"/>
                  </a:cubicBezTo>
                  <a:cubicBezTo>
                    <a:pt x="53036" y="79161"/>
                    <a:pt x="48564" y="77885"/>
                    <a:pt x="44730" y="75969"/>
                  </a:cubicBezTo>
                  <a:cubicBezTo>
                    <a:pt x="32589" y="68947"/>
                    <a:pt x="27477" y="53625"/>
                    <a:pt x="34506" y="41496"/>
                  </a:cubicBezTo>
                  <a:cubicBezTo>
                    <a:pt x="37701" y="35750"/>
                    <a:pt x="42813" y="31281"/>
                    <a:pt x="49203" y="29366"/>
                  </a:cubicBezTo>
                  <a:cubicBezTo>
                    <a:pt x="55593" y="27451"/>
                    <a:pt x="62621" y="28089"/>
                    <a:pt x="68372" y="31281"/>
                  </a:cubicBezTo>
                  <a:cubicBezTo>
                    <a:pt x="81152" y="38304"/>
                    <a:pt x="85625" y="53625"/>
                    <a:pt x="79235" y="65755"/>
                  </a:cubicBezTo>
                  <a:lnTo>
                    <a:pt x="79235" y="65755"/>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8" name="Graphic 4">
            <a:extLst>
              <a:ext uri="{FF2B5EF4-FFF2-40B4-BE49-F238E27FC236}">
                <a16:creationId xmlns:a16="http://schemas.microsoft.com/office/drawing/2014/main" id="{76FDEDA1-F5D6-178D-16CF-2A54748FFB35}"/>
              </a:ext>
            </a:extLst>
          </p:cNvPr>
          <p:cNvGrpSpPr>
            <a:grpSpLocks noChangeAspect="1"/>
          </p:cNvGrpSpPr>
          <p:nvPr/>
        </p:nvGrpSpPr>
        <p:grpSpPr>
          <a:xfrm>
            <a:off x="3200399" y="5471348"/>
            <a:ext cx="600560" cy="600000"/>
            <a:chOff x="6146480" y="2855717"/>
            <a:chExt cx="362309" cy="361971"/>
          </a:xfrm>
          <a:solidFill>
            <a:schemeClr val="bg1"/>
          </a:solidFill>
        </p:grpSpPr>
        <p:sp>
          <p:nvSpPr>
            <p:cNvPr id="29" name="Graphic 4">
              <a:extLst>
                <a:ext uri="{FF2B5EF4-FFF2-40B4-BE49-F238E27FC236}">
                  <a16:creationId xmlns:a16="http://schemas.microsoft.com/office/drawing/2014/main" id="{91D29207-0E17-73E9-5811-427EB6663D04}"/>
                </a:ext>
              </a:extLst>
            </p:cNvPr>
            <p:cNvSpPr/>
            <p:nvPr/>
          </p:nvSpPr>
          <p:spPr>
            <a:xfrm>
              <a:off x="6290893" y="2966160"/>
              <a:ext cx="73484" cy="17236"/>
            </a:xfrm>
            <a:custGeom>
              <a:avLst/>
              <a:gdLst>
                <a:gd name="connsiteX0" fmla="*/ 0 w 73484"/>
                <a:gd name="connsiteY0" fmla="*/ 0 h 17236"/>
                <a:gd name="connsiteX1" fmla="*/ 73484 w 73484"/>
                <a:gd name="connsiteY1" fmla="*/ 0 h 17236"/>
                <a:gd name="connsiteX2" fmla="*/ 73484 w 73484"/>
                <a:gd name="connsiteY2" fmla="*/ 17237 h 17236"/>
                <a:gd name="connsiteX3" fmla="*/ 0 w 73484"/>
                <a:gd name="connsiteY3" fmla="*/ 17237 h 17236"/>
              </a:gdLst>
              <a:ahLst/>
              <a:cxnLst>
                <a:cxn ang="0">
                  <a:pos x="connsiteX0" y="connsiteY0"/>
                </a:cxn>
                <a:cxn ang="0">
                  <a:pos x="connsiteX1" y="connsiteY1"/>
                </a:cxn>
                <a:cxn ang="0">
                  <a:pos x="connsiteX2" y="connsiteY2"/>
                </a:cxn>
                <a:cxn ang="0">
                  <a:pos x="connsiteX3" y="connsiteY3"/>
                </a:cxn>
              </a:cxnLst>
              <a:rect l="l" t="t" r="r" b="b"/>
              <a:pathLst>
                <a:path w="73484" h="17236">
                  <a:moveTo>
                    <a:pt x="0" y="0"/>
                  </a:moveTo>
                  <a:lnTo>
                    <a:pt x="73484" y="0"/>
                  </a:lnTo>
                  <a:lnTo>
                    <a:pt x="73484" y="17237"/>
                  </a:lnTo>
                  <a:lnTo>
                    <a:pt x="0" y="17237"/>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0" name="Graphic 4">
              <a:extLst>
                <a:ext uri="{FF2B5EF4-FFF2-40B4-BE49-F238E27FC236}">
                  <a16:creationId xmlns:a16="http://schemas.microsoft.com/office/drawing/2014/main" id="{A986F671-C4C0-C860-45A8-87614D1DE100}"/>
                </a:ext>
              </a:extLst>
            </p:cNvPr>
            <p:cNvSpPr/>
            <p:nvPr/>
          </p:nvSpPr>
          <p:spPr>
            <a:xfrm>
              <a:off x="6261499" y="3024893"/>
              <a:ext cx="37700" cy="37665"/>
            </a:xfrm>
            <a:custGeom>
              <a:avLst/>
              <a:gdLst>
                <a:gd name="connsiteX0" fmla="*/ 0 w 37700"/>
                <a:gd name="connsiteY0" fmla="*/ 0 h 37665"/>
                <a:gd name="connsiteX1" fmla="*/ 37701 w 37700"/>
                <a:gd name="connsiteY1" fmla="*/ 0 h 37665"/>
                <a:gd name="connsiteX2" fmla="*/ 37701 w 37700"/>
                <a:gd name="connsiteY2" fmla="*/ 37666 h 37665"/>
                <a:gd name="connsiteX3" fmla="*/ 0 w 37700"/>
                <a:gd name="connsiteY3" fmla="*/ 37666 h 37665"/>
              </a:gdLst>
              <a:ahLst/>
              <a:cxnLst>
                <a:cxn ang="0">
                  <a:pos x="connsiteX0" y="connsiteY0"/>
                </a:cxn>
                <a:cxn ang="0">
                  <a:pos x="connsiteX1" y="connsiteY1"/>
                </a:cxn>
                <a:cxn ang="0">
                  <a:pos x="connsiteX2" y="connsiteY2"/>
                </a:cxn>
                <a:cxn ang="0">
                  <a:pos x="connsiteX3" y="connsiteY3"/>
                </a:cxn>
              </a:cxnLst>
              <a:rect l="l" t="t" r="r" b="b"/>
              <a:pathLst>
                <a:path w="37700" h="37665">
                  <a:moveTo>
                    <a:pt x="0" y="0"/>
                  </a:moveTo>
                  <a:lnTo>
                    <a:pt x="37701" y="0"/>
                  </a:lnTo>
                  <a:lnTo>
                    <a:pt x="37701" y="37666"/>
                  </a:lnTo>
                  <a:lnTo>
                    <a:pt x="0" y="37666"/>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1" name="Graphic 4">
              <a:extLst>
                <a:ext uri="{FF2B5EF4-FFF2-40B4-BE49-F238E27FC236}">
                  <a16:creationId xmlns:a16="http://schemas.microsoft.com/office/drawing/2014/main" id="{5A173580-B60E-913B-86CD-5A0050693277}"/>
                </a:ext>
              </a:extLst>
            </p:cNvPr>
            <p:cNvSpPr/>
            <p:nvPr/>
          </p:nvSpPr>
          <p:spPr>
            <a:xfrm>
              <a:off x="6232744" y="2981482"/>
              <a:ext cx="189141" cy="125126"/>
            </a:xfrm>
            <a:custGeom>
              <a:avLst/>
              <a:gdLst>
                <a:gd name="connsiteX0" fmla="*/ 144412 w 189141"/>
                <a:gd name="connsiteY0" fmla="*/ 8299 h 125126"/>
                <a:gd name="connsiteX1" fmla="*/ 138022 w 189141"/>
                <a:gd name="connsiteY1" fmla="*/ 14683 h 125126"/>
                <a:gd name="connsiteX2" fmla="*/ 51758 w 189141"/>
                <a:gd name="connsiteY2" fmla="*/ 14683 h 125126"/>
                <a:gd name="connsiteX3" fmla="*/ 45368 w 189141"/>
                <a:gd name="connsiteY3" fmla="*/ 8299 h 125126"/>
                <a:gd name="connsiteX4" fmla="*/ 45368 w 189141"/>
                <a:gd name="connsiteY4" fmla="*/ 0 h 125126"/>
                <a:gd name="connsiteX5" fmla="*/ 0 w 189141"/>
                <a:gd name="connsiteY5" fmla="*/ 0 h 125126"/>
                <a:gd name="connsiteX6" fmla="*/ 0 w 189141"/>
                <a:gd name="connsiteY6" fmla="*/ 125126 h 125126"/>
                <a:gd name="connsiteX7" fmla="*/ 189142 w 189141"/>
                <a:gd name="connsiteY7" fmla="*/ 125126 h 125126"/>
                <a:gd name="connsiteX8" fmla="*/ 189142 w 189141"/>
                <a:gd name="connsiteY8" fmla="*/ 0 h 125126"/>
                <a:gd name="connsiteX9" fmla="*/ 144412 w 189141"/>
                <a:gd name="connsiteY9" fmla="*/ 0 h 125126"/>
                <a:gd name="connsiteX10" fmla="*/ 144412 w 189141"/>
                <a:gd name="connsiteY10" fmla="*/ 8299 h 125126"/>
                <a:gd name="connsiteX11" fmla="*/ 79235 w 189141"/>
                <a:gd name="connsiteY11" fmla="*/ 87461 h 125126"/>
                <a:gd name="connsiteX12" fmla="*/ 72845 w 189141"/>
                <a:gd name="connsiteY12" fmla="*/ 93845 h 125126"/>
                <a:gd name="connsiteX13" fmla="*/ 22365 w 189141"/>
                <a:gd name="connsiteY13" fmla="*/ 93845 h 125126"/>
                <a:gd name="connsiteX14" fmla="*/ 15975 w 189141"/>
                <a:gd name="connsiteY14" fmla="*/ 87461 h 125126"/>
                <a:gd name="connsiteX15" fmla="*/ 15975 w 189141"/>
                <a:gd name="connsiteY15" fmla="*/ 37027 h 125126"/>
                <a:gd name="connsiteX16" fmla="*/ 22365 w 189141"/>
                <a:gd name="connsiteY16" fmla="*/ 30643 h 125126"/>
                <a:gd name="connsiteX17" fmla="*/ 72845 w 189141"/>
                <a:gd name="connsiteY17" fmla="*/ 30643 h 125126"/>
                <a:gd name="connsiteX18" fmla="*/ 79235 w 189141"/>
                <a:gd name="connsiteY18" fmla="*/ 37027 h 125126"/>
                <a:gd name="connsiteX19" fmla="*/ 79235 w 189141"/>
                <a:gd name="connsiteY19" fmla="*/ 87461 h 125126"/>
                <a:gd name="connsiteX20" fmla="*/ 168055 w 189141"/>
                <a:gd name="connsiteY20" fmla="*/ 98313 h 125126"/>
                <a:gd name="connsiteX21" fmla="*/ 107351 w 189141"/>
                <a:gd name="connsiteY21" fmla="*/ 98313 h 125126"/>
                <a:gd name="connsiteX22" fmla="*/ 100961 w 189141"/>
                <a:gd name="connsiteY22" fmla="*/ 91929 h 125126"/>
                <a:gd name="connsiteX23" fmla="*/ 107351 w 189141"/>
                <a:gd name="connsiteY23" fmla="*/ 85545 h 125126"/>
                <a:gd name="connsiteX24" fmla="*/ 168055 w 189141"/>
                <a:gd name="connsiteY24" fmla="*/ 85545 h 125126"/>
                <a:gd name="connsiteX25" fmla="*/ 174445 w 189141"/>
                <a:gd name="connsiteY25" fmla="*/ 91929 h 125126"/>
                <a:gd name="connsiteX26" fmla="*/ 168055 w 189141"/>
                <a:gd name="connsiteY26" fmla="*/ 98313 h 125126"/>
                <a:gd name="connsiteX27" fmla="*/ 168055 w 189141"/>
                <a:gd name="connsiteY27" fmla="*/ 68947 h 125126"/>
                <a:gd name="connsiteX28" fmla="*/ 107351 w 189141"/>
                <a:gd name="connsiteY28" fmla="*/ 68947 h 125126"/>
                <a:gd name="connsiteX29" fmla="*/ 100961 w 189141"/>
                <a:gd name="connsiteY29" fmla="*/ 62563 h 125126"/>
                <a:gd name="connsiteX30" fmla="*/ 107351 w 189141"/>
                <a:gd name="connsiteY30" fmla="*/ 56179 h 125126"/>
                <a:gd name="connsiteX31" fmla="*/ 168055 w 189141"/>
                <a:gd name="connsiteY31" fmla="*/ 56179 h 125126"/>
                <a:gd name="connsiteX32" fmla="*/ 174445 w 189141"/>
                <a:gd name="connsiteY32" fmla="*/ 62563 h 125126"/>
                <a:gd name="connsiteX33" fmla="*/ 168055 w 189141"/>
                <a:gd name="connsiteY33" fmla="*/ 68947 h 125126"/>
                <a:gd name="connsiteX34" fmla="*/ 174445 w 189141"/>
                <a:gd name="connsiteY34" fmla="*/ 33197 h 125126"/>
                <a:gd name="connsiteX35" fmla="*/ 168055 w 189141"/>
                <a:gd name="connsiteY35" fmla="*/ 39581 h 125126"/>
                <a:gd name="connsiteX36" fmla="*/ 107351 w 189141"/>
                <a:gd name="connsiteY36" fmla="*/ 39581 h 125126"/>
                <a:gd name="connsiteX37" fmla="*/ 100961 w 189141"/>
                <a:gd name="connsiteY37" fmla="*/ 33197 h 125126"/>
                <a:gd name="connsiteX38" fmla="*/ 107351 w 189141"/>
                <a:gd name="connsiteY38" fmla="*/ 26813 h 125126"/>
                <a:gd name="connsiteX39" fmla="*/ 168055 w 189141"/>
                <a:gd name="connsiteY39" fmla="*/ 26813 h 125126"/>
                <a:gd name="connsiteX40" fmla="*/ 174445 w 189141"/>
                <a:gd name="connsiteY40" fmla="*/ 33197 h 125126"/>
                <a:gd name="connsiteX41" fmla="*/ 174445 w 189141"/>
                <a:gd name="connsiteY41" fmla="*/ 33197 h 125126"/>
                <a:gd name="connsiteX42" fmla="*/ 174445 w 189141"/>
                <a:gd name="connsiteY42" fmla="*/ 33197 h 12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9141" h="125126">
                  <a:moveTo>
                    <a:pt x="144412" y="8299"/>
                  </a:moveTo>
                  <a:cubicBezTo>
                    <a:pt x="144412" y="12130"/>
                    <a:pt x="141856" y="14683"/>
                    <a:pt x="138022" y="14683"/>
                  </a:cubicBezTo>
                  <a:lnTo>
                    <a:pt x="51758" y="14683"/>
                  </a:lnTo>
                  <a:cubicBezTo>
                    <a:pt x="47925" y="14683"/>
                    <a:pt x="45368" y="12130"/>
                    <a:pt x="45368" y="8299"/>
                  </a:cubicBezTo>
                  <a:lnTo>
                    <a:pt x="45368" y="0"/>
                  </a:lnTo>
                  <a:lnTo>
                    <a:pt x="0" y="0"/>
                  </a:lnTo>
                  <a:lnTo>
                    <a:pt x="0" y="125126"/>
                  </a:lnTo>
                  <a:lnTo>
                    <a:pt x="189142" y="125126"/>
                  </a:lnTo>
                  <a:lnTo>
                    <a:pt x="189142" y="0"/>
                  </a:lnTo>
                  <a:lnTo>
                    <a:pt x="144412" y="0"/>
                  </a:lnTo>
                  <a:lnTo>
                    <a:pt x="144412" y="8299"/>
                  </a:lnTo>
                  <a:close/>
                  <a:moveTo>
                    <a:pt x="79235" y="87461"/>
                  </a:moveTo>
                  <a:cubicBezTo>
                    <a:pt x="79235" y="91291"/>
                    <a:pt x="76679" y="93845"/>
                    <a:pt x="72845" y="93845"/>
                  </a:cubicBezTo>
                  <a:lnTo>
                    <a:pt x="22365" y="93845"/>
                  </a:lnTo>
                  <a:cubicBezTo>
                    <a:pt x="18531" y="93845"/>
                    <a:pt x="15975" y="91291"/>
                    <a:pt x="15975" y="87461"/>
                  </a:cubicBezTo>
                  <a:lnTo>
                    <a:pt x="15975" y="37027"/>
                  </a:lnTo>
                  <a:cubicBezTo>
                    <a:pt x="15975" y="33197"/>
                    <a:pt x="18531" y="30643"/>
                    <a:pt x="22365" y="30643"/>
                  </a:cubicBezTo>
                  <a:lnTo>
                    <a:pt x="72845" y="30643"/>
                  </a:lnTo>
                  <a:cubicBezTo>
                    <a:pt x="76679" y="30643"/>
                    <a:pt x="79235" y="33197"/>
                    <a:pt x="79235" y="37027"/>
                  </a:cubicBezTo>
                  <a:lnTo>
                    <a:pt x="79235" y="87461"/>
                  </a:lnTo>
                  <a:close/>
                  <a:moveTo>
                    <a:pt x="168055" y="98313"/>
                  </a:moveTo>
                  <a:lnTo>
                    <a:pt x="107351" y="98313"/>
                  </a:lnTo>
                  <a:cubicBezTo>
                    <a:pt x="103517" y="98313"/>
                    <a:pt x="100961" y="95760"/>
                    <a:pt x="100961" y="91929"/>
                  </a:cubicBezTo>
                  <a:cubicBezTo>
                    <a:pt x="100961" y="88099"/>
                    <a:pt x="103517" y="85545"/>
                    <a:pt x="107351" y="85545"/>
                  </a:cubicBezTo>
                  <a:lnTo>
                    <a:pt x="168055" y="85545"/>
                  </a:lnTo>
                  <a:cubicBezTo>
                    <a:pt x="171889" y="85545"/>
                    <a:pt x="174445" y="88099"/>
                    <a:pt x="174445" y="91929"/>
                  </a:cubicBezTo>
                  <a:cubicBezTo>
                    <a:pt x="174445" y="95760"/>
                    <a:pt x="171889" y="98313"/>
                    <a:pt x="168055" y="98313"/>
                  </a:cubicBezTo>
                  <a:close/>
                  <a:moveTo>
                    <a:pt x="168055" y="68947"/>
                  </a:moveTo>
                  <a:lnTo>
                    <a:pt x="107351" y="68947"/>
                  </a:lnTo>
                  <a:cubicBezTo>
                    <a:pt x="103517" y="68947"/>
                    <a:pt x="100961" y="66393"/>
                    <a:pt x="100961" y="62563"/>
                  </a:cubicBezTo>
                  <a:cubicBezTo>
                    <a:pt x="100961" y="58733"/>
                    <a:pt x="103517" y="56179"/>
                    <a:pt x="107351" y="56179"/>
                  </a:cubicBezTo>
                  <a:lnTo>
                    <a:pt x="168055" y="56179"/>
                  </a:lnTo>
                  <a:cubicBezTo>
                    <a:pt x="171889" y="56179"/>
                    <a:pt x="174445" y="58733"/>
                    <a:pt x="174445" y="62563"/>
                  </a:cubicBezTo>
                  <a:cubicBezTo>
                    <a:pt x="174445" y="66393"/>
                    <a:pt x="171889" y="68947"/>
                    <a:pt x="168055" y="68947"/>
                  </a:cubicBezTo>
                  <a:close/>
                  <a:moveTo>
                    <a:pt x="174445" y="33197"/>
                  </a:moveTo>
                  <a:cubicBezTo>
                    <a:pt x="174445" y="37027"/>
                    <a:pt x="171889" y="39581"/>
                    <a:pt x="168055" y="39581"/>
                  </a:cubicBezTo>
                  <a:lnTo>
                    <a:pt x="107351" y="39581"/>
                  </a:lnTo>
                  <a:cubicBezTo>
                    <a:pt x="103517" y="39581"/>
                    <a:pt x="100961" y="37027"/>
                    <a:pt x="100961" y="33197"/>
                  </a:cubicBezTo>
                  <a:cubicBezTo>
                    <a:pt x="100961" y="29366"/>
                    <a:pt x="103517" y="26813"/>
                    <a:pt x="107351" y="26813"/>
                  </a:cubicBezTo>
                  <a:lnTo>
                    <a:pt x="168055" y="26813"/>
                  </a:lnTo>
                  <a:cubicBezTo>
                    <a:pt x="171889" y="26813"/>
                    <a:pt x="174445" y="29366"/>
                    <a:pt x="174445" y="33197"/>
                  </a:cubicBezTo>
                  <a:cubicBezTo>
                    <a:pt x="174445" y="33197"/>
                    <a:pt x="174445" y="33197"/>
                    <a:pt x="174445" y="33197"/>
                  </a:cubicBezTo>
                  <a:lnTo>
                    <a:pt x="174445" y="33197"/>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2" name="Graphic 4">
              <a:extLst>
                <a:ext uri="{FF2B5EF4-FFF2-40B4-BE49-F238E27FC236}">
                  <a16:creationId xmlns:a16="http://schemas.microsoft.com/office/drawing/2014/main" id="{16D852D0-3B21-9322-F6CF-2E963B46F48E}"/>
                </a:ext>
              </a:extLst>
            </p:cNvPr>
            <p:cNvSpPr/>
            <p:nvPr/>
          </p:nvSpPr>
          <p:spPr>
            <a:xfrm>
              <a:off x="6146480"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8825 w 362309"/>
                <a:gd name="connsiteY6" fmla="*/ 257274 h 361971"/>
                <a:gd name="connsiteX7" fmla="*/ 282435 w 362309"/>
                <a:gd name="connsiteY7" fmla="*/ 263658 h 361971"/>
                <a:gd name="connsiteX8" fmla="*/ 80513 w 362309"/>
                <a:gd name="connsiteY8" fmla="*/ 263658 h 361971"/>
                <a:gd name="connsiteX9" fmla="*/ 74123 w 362309"/>
                <a:gd name="connsiteY9" fmla="*/ 257274 h 361971"/>
                <a:gd name="connsiteX10" fmla="*/ 74123 w 362309"/>
                <a:gd name="connsiteY10" fmla="*/ 119380 h 361971"/>
                <a:gd name="connsiteX11" fmla="*/ 80513 w 362309"/>
                <a:gd name="connsiteY11" fmla="*/ 112996 h 361971"/>
                <a:gd name="connsiteX12" fmla="*/ 132271 w 362309"/>
                <a:gd name="connsiteY12" fmla="*/ 112996 h 361971"/>
                <a:gd name="connsiteX13" fmla="*/ 132271 w 362309"/>
                <a:gd name="connsiteY13" fmla="*/ 104059 h 361971"/>
                <a:gd name="connsiteX14" fmla="*/ 138661 w 362309"/>
                <a:gd name="connsiteY14" fmla="*/ 97675 h 361971"/>
                <a:gd name="connsiteX15" fmla="*/ 224287 w 362309"/>
                <a:gd name="connsiteY15" fmla="*/ 97675 h 361971"/>
                <a:gd name="connsiteX16" fmla="*/ 230677 w 362309"/>
                <a:gd name="connsiteY16" fmla="*/ 104059 h 361971"/>
                <a:gd name="connsiteX17" fmla="*/ 230677 w 362309"/>
                <a:gd name="connsiteY17" fmla="*/ 112358 h 361971"/>
                <a:gd name="connsiteX18" fmla="*/ 282435 w 362309"/>
                <a:gd name="connsiteY18" fmla="*/ 112358 h 361971"/>
                <a:gd name="connsiteX19" fmla="*/ 288825 w 362309"/>
                <a:gd name="connsiteY19" fmla="*/ 118742 h 361971"/>
                <a:gd name="connsiteX20" fmla="*/ 288825 w 362309"/>
                <a:gd name="connsiteY20" fmla="*/ 2572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6"/>
                    <a:pt x="281157" y="0"/>
                    <a:pt x="181474" y="0"/>
                  </a:cubicBezTo>
                  <a:close/>
                  <a:moveTo>
                    <a:pt x="288825" y="257274"/>
                  </a:moveTo>
                  <a:cubicBezTo>
                    <a:pt x="288825" y="261105"/>
                    <a:pt x="286269" y="263658"/>
                    <a:pt x="282435" y="263658"/>
                  </a:cubicBezTo>
                  <a:lnTo>
                    <a:pt x="80513" y="263658"/>
                  </a:lnTo>
                  <a:cubicBezTo>
                    <a:pt x="76679" y="263658"/>
                    <a:pt x="74123" y="261105"/>
                    <a:pt x="74123" y="257274"/>
                  </a:cubicBezTo>
                  <a:lnTo>
                    <a:pt x="74123" y="119380"/>
                  </a:lnTo>
                  <a:cubicBezTo>
                    <a:pt x="74123" y="115550"/>
                    <a:pt x="76679" y="112996"/>
                    <a:pt x="80513" y="112996"/>
                  </a:cubicBezTo>
                  <a:lnTo>
                    <a:pt x="132271" y="112996"/>
                  </a:lnTo>
                  <a:lnTo>
                    <a:pt x="132271" y="104059"/>
                  </a:lnTo>
                  <a:cubicBezTo>
                    <a:pt x="132271" y="100228"/>
                    <a:pt x="134828" y="97675"/>
                    <a:pt x="138661" y="97675"/>
                  </a:cubicBezTo>
                  <a:lnTo>
                    <a:pt x="224287" y="97675"/>
                  </a:lnTo>
                  <a:cubicBezTo>
                    <a:pt x="228120" y="97675"/>
                    <a:pt x="230677" y="100228"/>
                    <a:pt x="230677" y="104059"/>
                  </a:cubicBezTo>
                  <a:lnTo>
                    <a:pt x="230677" y="112358"/>
                  </a:lnTo>
                  <a:lnTo>
                    <a:pt x="282435" y="112358"/>
                  </a:lnTo>
                  <a:cubicBezTo>
                    <a:pt x="286269" y="112358"/>
                    <a:pt x="288825" y="114912"/>
                    <a:pt x="288825" y="118742"/>
                  </a:cubicBezTo>
                  <a:lnTo>
                    <a:pt x="288825" y="257274"/>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sp>
        <p:nvSpPr>
          <p:cNvPr id="2" name="Freeform 2"/>
          <p:cNvSpPr/>
          <p:nvPr/>
        </p:nvSpPr>
        <p:spPr>
          <a:xfrm>
            <a:off x="685800" y="1450096"/>
            <a:ext cx="5825640" cy="4722105"/>
          </a:xfrm>
          <a:custGeom>
            <a:avLst/>
            <a:gdLst/>
            <a:ahLst/>
            <a:cxnLst/>
            <a:rect l="l" t="t" r="r" b="b"/>
            <a:pathLst>
              <a:path w="8738460" h="7083157">
                <a:moveTo>
                  <a:pt x="0" y="0"/>
                </a:moveTo>
                <a:lnTo>
                  <a:pt x="8738460" y="0"/>
                </a:lnTo>
                <a:lnTo>
                  <a:pt x="8738460" y="7083157"/>
                </a:lnTo>
                <a:lnTo>
                  <a:pt x="0" y="7083157"/>
                </a:lnTo>
                <a:lnTo>
                  <a:pt x="0" y="0"/>
                </a:lnTo>
                <a:close/>
              </a:path>
            </a:pathLst>
          </a:custGeom>
          <a:blipFill>
            <a:blip r:embed="rId2"/>
            <a:stretch>
              <a:fillRect/>
            </a:stretch>
          </a:blipFill>
        </p:spPr>
      </p:sp>
      <p:sp>
        <p:nvSpPr>
          <p:cNvPr id="4" name="TextBox 4"/>
          <p:cNvSpPr txBox="1"/>
          <p:nvPr/>
        </p:nvSpPr>
        <p:spPr>
          <a:xfrm>
            <a:off x="6899664" y="1841501"/>
            <a:ext cx="5241536" cy="4115870"/>
          </a:xfrm>
          <a:prstGeom prst="rect">
            <a:avLst/>
          </a:prstGeom>
        </p:spPr>
        <p:txBody>
          <a:bodyPr lIns="0" tIns="0" rIns="0" bIns="0" rtlCol="0" anchor="t">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2004" b="0" i="0" u="none" strike="noStrike" kern="1200" cap="none" spc="0" normalizeH="0" baseline="0" noProof="0" err="1">
                <a:ln>
                  <a:noFill/>
                </a:ln>
                <a:solidFill>
                  <a:srgbClr val="FFFFFF"/>
                </a:solidFill>
                <a:effectLst/>
                <a:uLnTx/>
                <a:uFillTx/>
                <a:latin typeface="Calibri"/>
                <a:ea typeface="+mn-ea"/>
                <a:cs typeface="+mn-cs"/>
              </a:rPr>
              <a:t>Cada</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1" u="none" strike="noStrike" kern="1200" cap="none" spc="0" normalizeH="0" baseline="0" noProof="0">
                <a:ln>
                  <a:noFill/>
                </a:ln>
                <a:solidFill>
                  <a:srgbClr val="FFFFFF"/>
                </a:solidFill>
                <a:effectLst/>
                <a:uLnTx/>
                <a:uFillTx/>
                <a:latin typeface="Calibri"/>
                <a:ea typeface="+mn-ea"/>
                <a:cs typeface="+mn-cs"/>
              </a:rPr>
              <a:t>token</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0" u="none" strike="noStrike" kern="1200" cap="none" spc="0" normalizeH="0" baseline="0" noProof="0" err="1">
                <a:ln>
                  <a:noFill/>
                </a:ln>
                <a:solidFill>
                  <a:srgbClr val="FFFFFF"/>
                </a:solidFill>
                <a:effectLst/>
                <a:uLnTx/>
                <a:uFillTx/>
                <a:latin typeface="Calibri"/>
                <a:ea typeface="+mn-ea"/>
                <a:cs typeface="+mn-cs"/>
              </a:rPr>
              <a:t>está</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0" u="none" strike="noStrike" kern="1200" cap="none" spc="0" normalizeH="0" baseline="0" noProof="0" err="1">
                <a:ln>
                  <a:noFill/>
                </a:ln>
                <a:solidFill>
                  <a:srgbClr val="FFFFFF"/>
                </a:solidFill>
                <a:effectLst/>
                <a:uLnTx/>
                <a:uFillTx/>
                <a:latin typeface="Calibri"/>
                <a:ea typeface="+mn-ea"/>
                <a:cs typeface="+mn-cs"/>
              </a:rPr>
              <a:t>compuesto</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0" u="none" strike="noStrike" kern="1200" cap="none" spc="0" normalizeH="0" baseline="0" noProof="0" err="1">
                <a:ln>
                  <a:noFill/>
                </a:ln>
                <a:solidFill>
                  <a:srgbClr val="FFFFFF"/>
                </a:solidFill>
                <a:effectLst/>
                <a:uLnTx/>
                <a:uFillTx/>
                <a:latin typeface="Calibri"/>
                <a:ea typeface="+mn-ea"/>
                <a:cs typeface="+mn-cs"/>
              </a:rPr>
              <a:t>por</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0" u="none" strike="noStrike" kern="1200" cap="none" spc="0" normalizeH="0" baseline="0" noProof="0" err="1">
                <a:ln>
                  <a:noFill/>
                </a:ln>
                <a:solidFill>
                  <a:srgbClr val="FFFFFF"/>
                </a:solidFill>
                <a:effectLst/>
                <a:uLnTx/>
                <a:uFillTx/>
                <a:latin typeface="Calibri"/>
                <a:ea typeface="+mn-ea"/>
                <a:cs typeface="+mn-cs"/>
              </a:rPr>
              <a:t>una</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0" u="none" strike="noStrike" kern="1200" cap="none" spc="0" normalizeH="0" baseline="0" noProof="0" err="1">
                <a:ln>
                  <a:noFill/>
                </a:ln>
                <a:solidFill>
                  <a:srgbClr val="FFFFFF"/>
                </a:solidFill>
                <a:effectLst/>
                <a:uLnTx/>
                <a:uFillTx/>
                <a:latin typeface="Calibri"/>
                <a:ea typeface="+mn-ea"/>
                <a:cs typeface="+mn-cs"/>
              </a:rPr>
              <a:t>lista</a:t>
            </a:r>
            <a:r>
              <a:rPr kumimoji="0" lang="en-US" sz="2004" b="0" i="0" u="none" strike="noStrike" kern="1200" cap="none" spc="0" normalizeH="0" baseline="0" noProof="0">
                <a:ln>
                  <a:noFill/>
                </a:ln>
                <a:solidFill>
                  <a:srgbClr val="FFFFFF"/>
                </a:solidFill>
                <a:effectLst/>
                <a:uLnTx/>
                <a:uFillTx/>
                <a:latin typeface="Calibri"/>
                <a:ea typeface="+mn-ea"/>
                <a:cs typeface="+mn-cs"/>
              </a:rPr>
              <a:t> de </a:t>
            </a:r>
            <a:r>
              <a:rPr kumimoji="0" lang="en-US" sz="2004" b="0" i="0" u="none" strike="noStrike" kern="1200" cap="none" spc="0" normalizeH="0" baseline="0" noProof="0" err="1">
                <a:ln>
                  <a:noFill/>
                </a:ln>
                <a:solidFill>
                  <a:srgbClr val="FFFFFF"/>
                </a:solidFill>
                <a:effectLst/>
                <a:uLnTx/>
                <a:uFillTx/>
                <a:latin typeface="Calibri"/>
                <a:ea typeface="+mn-ea"/>
                <a:cs typeface="+mn-cs"/>
              </a:rPr>
              <a:t>marcadores</a:t>
            </a:r>
            <a:r>
              <a:rPr kumimoji="0" lang="en-US" sz="2004" b="0" i="0" u="none" strike="noStrike" kern="1200" cap="none" spc="0" normalizeH="0" baseline="0" noProof="0">
                <a:ln>
                  <a:noFill/>
                </a:ln>
                <a:solidFill>
                  <a:srgbClr val="FFFFFF"/>
                </a:solidFill>
                <a:effectLst/>
                <a:uLnTx/>
                <a:uFillTx/>
                <a:latin typeface="Calibri"/>
                <a:ea typeface="+mn-ea"/>
                <a:cs typeface="+mn-cs"/>
              </a:rPr>
              <a:t>. </a:t>
            </a:r>
          </a:p>
          <a:p>
            <a:pPr marL="0" marR="0" lvl="0" indent="0" algn="l" defTabSz="609630" rtl="0" eaLnBrk="1" fontAlgn="auto" latinLnBrk="0" hangingPunct="1">
              <a:lnSpc>
                <a:spcPct val="150000"/>
              </a:lnSpc>
              <a:spcBef>
                <a:spcPts val="0"/>
              </a:spcBef>
              <a:spcAft>
                <a:spcPts val="0"/>
              </a:spcAft>
              <a:buClrTx/>
              <a:buSzTx/>
              <a:buFontTx/>
              <a:buNone/>
              <a:tabLst/>
              <a:defRPr/>
            </a:pPr>
            <a:endParaRPr kumimoji="0" lang="en-US" sz="2004" b="0" i="0" u="none" strike="noStrike" kern="1200" cap="none" spc="0" normalizeH="0" baseline="0" noProof="0">
              <a:ln>
                <a:noFill/>
              </a:ln>
              <a:solidFill>
                <a:srgbClr val="FFFFFF"/>
              </a:solidFill>
              <a:effectLst/>
              <a:uLnTx/>
              <a:uFillTx/>
              <a:latin typeface="Calibri"/>
              <a:ea typeface="+mn-ea"/>
              <a:cs typeface="+mn-cs"/>
            </a:endParaRPr>
          </a:p>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2004" b="0" i="0" u="none" strike="noStrike" kern="1200" cap="none" spc="0" normalizeH="0" baseline="0" noProof="0">
                <a:ln>
                  <a:noFill/>
                </a:ln>
                <a:solidFill>
                  <a:srgbClr val="FFFFFF"/>
                </a:solidFill>
                <a:effectLst/>
                <a:uLnTx/>
                <a:uFillTx/>
                <a:latin typeface="Calibri"/>
                <a:ea typeface="+mn-ea"/>
                <a:cs typeface="+mn-cs"/>
              </a:rPr>
              <a:t>Los </a:t>
            </a:r>
            <a:r>
              <a:rPr kumimoji="0" lang="en-US" sz="2004" b="0" i="0" u="none" strike="noStrike" kern="1200" cap="none" spc="0" normalizeH="0" baseline="0" noProof="0" err="1">
                <a:ln>
                  <a:noFill/>
                </a:ln>
                <a:solidFill>
                  <a:srgbClr val="FFFFFF"/>
                </a:solidFill>
                <a:effectLst/>
                <a:uLnTx/>
                <a:uFillTx/>
                <a:latin typeface="Calibri"/>
                <a:ea typeface="+mn-ea"/>
                <a:cs typeface="+mn-cs"/>
              </a:rPr>
              <a:t>marcadores</a:t>
            </a:r>
            <a:r>
              <a:rPr kumimoji="0" lang="en-US" sz="2004" b="0" i="0" u="none" strike="noStrike" kern="1200" cap="none" spc="0" normalizeH="0" baseline="0" noProof="0">
                <a:ln>
                  <a:noFill/>
                </a:ln>
                <a:solidFill>
                  <a:srgbClr val="FFFFFF"/>
                </a:solidFill>
                <a:effectLst/>
                <a:uLnTx/>
                <a:uFillTx/>
                <a:latin typeface="Calibri"/>
                <a:ea typeface="+mn-ea"/>
                <a:cs typeface="+mn-cs"/>
              </a:rPr>
              <a:t> son </a:t>
            </a:r>
            <a:r>
              <a:rPr kumimoji="0" lang="en-US" sz="2004" b="0" i="0" u="none" strike="noStrike" kern="1200" cap="none" spc="0" normalizeH="0" baseline="0" noProof="0" err="1">
                <a:ln>
                  <a:noFill/>
                </a:ln>
                <a:solidFill>
                  <a:srgbClr val="FFFFFF"/>
                </a:solidFill>
                <a:effectLst/>
                <a:uLnTx/>
                <a:uFillTx/>
                <a:latin typeface="Calibri"/>
                <a:ea typeface="+mn-ea"/>
                <a:cs typeface="+mn-cs"/>
              </a:rPr>
              <a:t>rasgos</a:t>
            </a:r>
            <a:r>
              <a:rPr kumimoji="0" lang="en-US" sz="2004" b="0" i="0" u="none" strike="noStrike" kern="1200" cap="none" spc="0" normalizeH="0" baseline="0" noProof="0">
                <a:ln>
                  <a:noFill/>
                </a:ln>
                <a:solidFill>
                  <a:srgbClr val="FFFFFF"/>
                </a:solidFill>
                <a:effectLst/>
                <a:uLnTx/>
                <a:uFillTx/>
                <a:latin typeface="Calibri"/>
                <a:ea typeface="+mn-ea"/>
                <a:cs typeface="+mn-cs"/>
              </a:rPr>
              <a:t> que </a:t>
            </a:r>
            <a:r>
              <a:rPr kumimoji="0" lang="en-US" sz="2004" b="0" i="0" u="none" strike="noStrike" kern="1200" cap="none" spc="0" normalizeH="0" baseline="0" noProof="0" err="1">
                <a:ln>
                  <a:noFill/>
                </a:ln>
                <a:solidFill>
                  <a:srgbClr val="FFFFFF"/>
                </a:solidFill>
                <a:effectLst/>
                <a:uLnTx/>
                <a:uFillTx/>
                <a:latin typeface="Calibri"/>
                <a:ea typeface="+mn-ea"/>
                <a:cs typeface="+mn-cs"/>
              </a:rPr>
              <a:t>relacionan</a:t>
            </a:r>
            <a:r>
              <a:rPr kumimoji="0" lang="en-US" sz="2004" b="0" i="0" u="none" strike="noStrike" kern="1200" cap="none" spc="0" normalizeH="0" baseline="0" noProof="0">
                <a:ln>
                  <a:noFill/>
                </a:ln>
                <a:solidFill>
                  <a:srgbClr val="FFFFFF"/>
                </a:solidFill>
                <a:effectLst/>
                <a:uLnTx/>
                <a:uFillTx/>
                <a:latin typeface="Calibri"/>
                <a:ea typeface="+mn-ea"/>
                <a:cs typeface="+mn-cs"/>
              </a:rPr>
              <a:t> las palabras.</a:t>
            </a:r>
          </a:p>
          <a:p>
            <a:pPr marL="0" marR="0" lvl="0" indent="0" algn="l" defTabSz="609630" rtl="0" eaLnBrk="1" fontAlgn="auto" latinLnBrk="0" hangingPunct="1">
              <a:lnSpc>
                <a:spcPct val="150000"/>
              </a:lnSpc>
              <a:spcBef>
                <a:spcPts val="0"/>
              </a:spcBef>
              <a:spcAft>
                <a:spcPts val="0"/>
              </a:spcAft>
              <a:buClrTx/>
              <a:buSzTx/>
              <a:buFontTx/>
              <a:buNone/>
              <a:tabLst/>
              <a:defRPr/>
            </a:pPr>
            <a:endParaRPr kumimoji="0" lang="en-US" sz="2004" b="0" i="0" u="none" strike="noStrike" kern="1200" cap="none" spc="0" normalizeH="0" baseline="0" noProof="0">
              <a:ln>
                <a:noFill/>
              </a:ln>
              <a:solidFill>
                <a:srgbClr val="FFFFFF"/>
              </a:solidFill>
              <a:effectLst/>
              <a:uLnTx/>
              <a:uFillTx/>
              <a:latin typeface="Calibri"/>
              <a:ea typeface="+mn-ea"/>
              <a:cs typeface="+mn-cs"/>
            </a:endParaRPr>
          </a:p>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2004" b="0" i="0" u="none" strike="noStrike" kern="1200" cap="none" spc="0" normalizeH="0" baseline="0" noProof="0">
                <a:ln>
                  <a:noFill/>
                </a:ln>
                <a:solidFill>
                  <a:srgbClr val="FFFFFF"/>
                </a:solidFill>
                <a:effectLst/>
                <a:uLnTx/>
                <a:uFillTx/>
                <a:latin typeface="Calibri"/>
                <a:ea typeface="+mn-ea"/>
                <a:cs typeface="+mn-cs"/>
              </a:rPr>
              <a:t>Por </a:t>
            </a:r>
            <a:r>
              <a:rPr kumimoji="0" lang="en-US" sz="2004" b="0" i="0" u="none" strike="noStrike" kern="1200" cap="none" spc="0" normalizeH="0" baseline="0" noProof="0" err="1">
                <a:ln>
                  <a:noFill/>
                </a:ln>
                <a:solidFill>
                  <a:srgbClr val="FFFFFF"/>
                </a:solidFill>
                <a:effectLst/>
                <a:uLnTx/>
                <a:uFillTx/>
                <a:latin typeface="Calibri"/>
                <a:ea typeface="+mn-ea"/>
                <a:cs typeface="+mn-cs"/>
              </a:rPr>
              <a:t>cada</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1" u="none" strike="noStrike" kern="1200" cap="none" spc="0" normalizeH="0" baseline="0" noProof="0">
                <a:ln>
                  <a:noFill/>
                </a:ln>
                <a:solidFill>
                  <a:srgbClr val="FFFFFF"/>
                </a:solidFill>
                <a:effectLst/>
                <a:uLnTx/>
                <a:uFillTx/>
                <a:latin typeface="Calibri"/>
                <a:ea typeface="+mn-ea"/>
                <a:cs typeface="+mn-cs"/>
              </a:rPr>
              <a:t>token</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0" u="none" strike="noStrike" kern="1200" cap="none" spc="0" normalizeH="0" baseline="0" noProof="0" err="1">
                <a:ln>
                  <a:noFill/>
                </a:ln>
                <a:solidFill>
                  <a:srgbClr val="FFFFFF"/>
                </a:solidFill>
                <a:effectLst/>
                <a:uLnTx/>
                <a:uFillTx/>
                <a:latin typeface="Calibri"/>
                <a:ea typeface="+mn-ea"/>
                <a:cs typeface="+mn-cs"/>
              </a:rPr>
              <a:t>tenemos</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0" u="none" strike="noStrike" kern="1200" cap="none" spc="0" normalizeH="0" baseline="0" noProof="0" err="1">
                <a:ln>
                  <a:noFill/>
                </a:ln>
                <a:solidFill>
                  <a:srgbClr val="FFFFFF"/>
                </a:solidFill>
                <a:effectLst/>
                <a:uLnTx/>
                <a:uFillTx/>
                <a:latin typeface="Calibri"/>
                <a:ea typeface="+mn-ea"/>
                <a:cs typeface="+mn-cs"/>
              </a:rPr>
              <a:t>más</a:t>
            </a:r>
            <a:r>
              <a:rPr kumimoji="0" lang="en-US" sz="2004" b="0" i="0" u="none" strike="noStrike" kern="1200" cap="none" spc="0" normalizeH="0" baseline="0" noProof="0">
                <a:ln>
                  <a:noFill/>
                </a:ln>
                <a:solidFill>
                  <a:srgbClr val="FFFFFF"/>
                </a:solidFill>
                <a:effectLst/>
                <a:uLnTx/>
                <a:uFillTx/>
                <a:latin typeface="Calibri"/>
                <a:ea typeface="+mn-ea"/>
                <a:cs typeface="+mn-cs"/>
              </a:rPr>
              <a:t> de 1000 </a:t>
            </a:r>
            <a:r>
              <a:rPr kumimoji="0" lang="en-US" sz="2004" b="0" i="0" u="none" strike="noStrike" kern="1200" cap="none" spc="0" normalizeH="0" baseline="0" noProof="0" err="1">
                <a:ln>
                  <a:noFill/>
                </a:ln>
                <a:solidFill>
                  <a:srgbClr val="FFFFFF"/>
                </a:solidFill>
                <a:effectLst/>
                <a:uLnTx/>
                <a:uFillTx/>
                <a:latin typeface="Calibri"/>
                <a:ea typeface="+mn-ea"/>
                <a:cs typeface="+mn-cs"/>
              </a:rPr>
              <a:t>marcadores</a:t>
            </a:r>
            <a:r>
              <a:rPr kumimoji="0" lang="en-US" sz="2004" b="0" i="0" u="none" strike="noStrike" kern="1200" cap="none" spc="0" normalizeH="0" baseline="0" noProof="0">
                <a:ln>
                  <a:noFill/>
                </a:ln>
                <a:solidFill>
                  <a:srgbClr val="FFFFFF"/>
                </a:solidFill>
                <a:effectLst/>
                <a:uLnTx/>
                <a:uFillTx/>
                <a:latin typeface="Calibri"/>
                <a:ea typeface="+mn-ea"/>
                <a:cs typeface="+mn-cs"/>
              </a:rPr>
              <a:t> lo que </a:t>
            </a:r>
            <a:r>
              <a:rPr kumimoji="0" lang="en-US" sz="2004" b="0" i="0" u="none" strike="noStrike" kern="1200" cap="none" spc="0" normalizeH="0" baseline="0" noProof="0" err="1">
                <a:ln>
                  <a:noFill/>
                </a:ln>
                <a:solidFill>
                  <a:srgbClr val="FFFFFF"/>
                </a:solidFill>
                <a:effectLst/>
                <a:uLnTx/>
                <a:uFillTx/>
                <a:latin typeface="Calibri"/>
                <a:ea typeface="+mn-ea"/>
                <a:cs typeface="+mn-cs"/>
              </a:rPr>
              <a:t>hace</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0" u="none" strike="noStrike" kern="1200" cap="none" spc="0" normalizeH="0" baseline="0" noProof="0" err="1">
                <a:ln>
                  <a:noFill/>
                </a:ln>
                <a:solidFill>
                  <a:srgbClr val="FFFFFF"/>
                </a:solidFill>
                <a:effectLst/>
                <a:uLnTx/>
                <a:uFillTx/>
                <a:latin typeface="Calibri"/>
                <a:ea typeface="+mn-ea"/>
                <a:cs typeface="+mn-cs"/>
              </a:rPr>
              <a:t>posible</a:t>
            </a:r>
            <a:r>
              <a:rPr kumimoji="0" lang="en-US" sz="2004" b="0" i="0" u="none" strike="noStrike" kern="1200" cap="none" spc="0" normalizeH="0" baseline="0" noProof="0">
                <a:ln>
                  <a:noFill/>
                </a:ln>
                <a:solidFill>
                  <a:srgbClr val="FFFFFF"/>
                </a:solidFill>
                <a:effectLst/>
                <a:uLnTx/>
                <a:uFillTx/>
                <a:latin typeface="Calibri"/>
                <a:ea typeface="+mn-ea"/>
                <a:cs typeface="+mn-cs"/>
              </a:rPr>
              <a:t> que GPT </a:t>
            </a:r>
            <a:r>
              <a:rPr kumimoji="0" lang="en-US" sz="2004" b="0" i="0" u="none" strike="noStrike" kern="1200" cap="none" spc="0" normalizeH="0" baseline="0" noProof="0" err="1">
                <a:ln>
                  <a:noFill/>
                </a:ln>
                <a:solidFill>
                  <a:srgbClr val="FFFFFF"/>
                </a:solidFill>
                <a:effectLst/>
                <a:uLnTx/>
                <a:uFillTx/>
                <a:latin typeface="Calibri"/>
                <a:ea typeface="+mn-ea"/>
                <a:cs typeface="+mn-cs"/>
              </a:rPr>
              <a:t>pueda</a:t>
            </a:r>
            <a:r>
              <a:rPr kumimoji="0" lang="en-US" sz="2004" b="0" i="0" u="none" strike="noStrike" kern="1200" cap="none" spc="0" normalizeH="0" baseline="0" noProof="0">
                <a:ln>
                  <a:noFill/>
                </a:ln>
                <a:solidFill>
                  <a:srgbClr val="FFFFFF"/>
                </a:solidFill>
                <a:effectLst/>
                <a:uLnTx/>
                <a:uFillTx/>
                <a:latin typeface="Calibri"/>
                <a:ea typeface="+mn-ea"/>
                <a:cs typeface="+mn-cs"/>
              </a:rPr>
              <a:t> </a:t>
            </a:r>
            <a:r>
              <a:rPr kumimoji="0" lang="en-US" sz="2004" b="0" i="0" u="none" strike="noStrike" kern="1200" cap="none" spc="0" normalizeH="0" baseline="0" noProof="0" err="1">
                <a:ln>
                  <a:noFill/>
                </a:ln>
                <a:solidFill>
                  <a:srgbClr val="FFFFFF"/>
                </a:solidFill>
                <a:effectLst/>
                <a:uLnTx/>
                <a:uFillTx/>
                <a:latin typeface="Calibri"/>
                <a:ea typeface="+mn-ea"/>
                <a:cs typeface="+mn-cs"/>
              </a:rPr>
              <a:t>predecir</a:t>
            </a:r>
            <a:r>
              <a:rPr kumimoji="0" lang="en-US" sz="2004" b="0" i="0" u="none" strike="noStrike" kern="1200" cap="none" spc="0" normalizeH="0" baseline="0" noProof="0">
                <a:ln>
                  <a:noFill/>
                </a:ln>
                <a:solidFill>
                  <a:srgbClr val="FFFFFF"/>
                </a:solidFill>
                <a:effectLst/>
                <a:uLnTx/>
                <a:uFillTx/>
                <a:latin typeface="Calibri"/>
                <a:ea typeface="+mn-ea"/>
                <a:cs typeface="+mn-cs"/>
              </a:rPr>
              <a:t> las palabras. </a:t>
            </a:r>
          </a:p>
        </p:txBody>
      </p:sp>
      <p:sp>
        <p:nvSpPr>
          <p:cNvPr id="5" name="Oval 4">
            <a:extLst>
              <a:ext uri="{FF2B5EF4-FFF2-40B4-BE49-F238E27FC236}">
                <a16:creationId xmlns:a16="http://schemas.microsoft.com/office/drawing/2014/main" id="{1D4B870E-1CFD-9113-B789-A36080348D47}"/>
              </a:ext>
            </a:extLst>
          </p:cNvPr>
          <p:cNvSpPr/>
          <p:nvPr/>
        </p:nvSpPr>
        <p:spPr>
          <a:xfrm>
            <a:off x="6617348" y="2022642"/>
            <a:ext cx="176409" cy="1764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Oval 5">
            <a:extLst>
              <a:ext uri="{FF2B5EF4-FFF2-40B4-BE49-F238E27FC236}">
                <a16:creationId xmlns:a16="http://schemas.microsoft.com/office/drawing/2014/main" id="{52C7B6C7-5233-9A04-2FB6-AFD6D6C151E2}"/>
              </a:ext>
            </a:extLst>
          </p:cNvPr>
          <p:cNvSpPr/>
          <p:nvPr/>
        </p:nvSpPr>
        <p:spPr>
          <a:xfrm>
            <a:off x="6617348" y="3390497"/>
            <a:ext cx="176409" cy="1764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7" name="Oval 6">
            <a:extLst>
              <a:ext uri="{FF2B5EF4-FFF2-40B4-BE49-F238E27FC236}">
                <a16:creationId xmlns:a16="http://schemas.microsoft.com/office/drawing/2014/main" id="{CCBE7FD2-FE09-EBE5-C8CC-E8D2A63D2463}"/>
              </a:ext>
            </a:extLst>
          </p:cNvPr>
          <p:cNvSpPr/>
          <p:nvPr/>
        </p:nvSpPr>
        <p:spPr>
          <a:xfrm>
            <a:off x="6617348" y="4804309"/>
            <a:ext cx="176409" cy="1764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4">
            <a:extLst>
              <a:ext uri="{FF2B5EF4-FFF2-40B4-BE49-F238E27FC236}">
                <a16:creationId xmlns:a16="http://schemas.microsoft.com/office/drawing/2014/main" id="{79A049FF-047A-03E2-2072-FB01D6F31344}"/>
              </a:ext>
            </a:extLst>
          </p:cNvPr>
          <p:cNvSpPr txBox="1"/>
          <p:nvPr/>
        </p:nvSpPr>
        <p:spPr>
          <a:xfrm>
            <a:off x="492125" y="400528"/>
            <a:ext cx="6281457" cy="570541"/>
          </a:xfrm>
          <a:prstGeom prst="rect">
            <a:avLst/>
          </a:prstGeom>
        </p:spPr>
        <p:txBody>
          <a:bodyPr wrap="square" lIns="0" tIns="0" rIns="0" bIns="0" rtlCol="0" anchor="t">
            <a:spAutoFit/>
          </a:bodyPr>
          <a:lstStyle/>
          <a:p>
            <a:pPr marL="0" marR="0" lvl="0" indent="0" algn="l" defTabSz="609630" rtl="0" eaLnBrk="1" fontAlgn="auto" latinLnBrk="0" hangingPunct="1">
              <a:lnSpc>
                <a:spcPts val="4853"/>
              </a:lnSpc>
              <a:spcBef>
                <a:spcPts val="0"/>
              </a:spcBef>
              <a:spcAft>
                <a:spcPts val="0"/>
              </a:spcAft>
              <a:buClrTx/>
              <a:buSzTx/>
              <a:buFontTx/>
              <a:buNone/>
              <a:tabLst/>
              <a:defRPr/>
            </a:pP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Marcadores</a:t>
            </a:r>
            <a:endPar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pic>
        <p:nvPicPr>
          <p:cNvPr id="3078" name="Picture 6" descr="a tablet ipad in a hand on the png backgrounds foto de Stock | Adobe Stock">
            <a:extLst>
              <a:ext uri="{FF2B5EF4-FFF2-40B4-BE49-F238E27FC236}">
                <a16:creationId xmlns:a16="http://schemas.microsoft.com/office/drawing/2014/main" id="{9A775337-A88D-B21E-2319-09E2EF35888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9745" b="99700" l="5900" r="90000">
                        <a14:foregroundMark x1="19300" y1="29085" x2="19300" y2="29085"/>
                        <a14:foregroundMark x1="5900" y1="98651" x2="5900" y2="98651"/>
                        <a14:foregroundMark x1="83600" y1="99700" x2="83600" y2="99700"/>
                        <a14:foregroundMark x1="37100" y1="47826" x2="73000" y2="31784"/>
                        <a14:foregroundMark x1="72200" y1="42879" x2="47900" y2="28486"/>
                        <a14:foregroundMark x1="47900" y1="28486" x2="26500" y2="28786"/>
                        <a14:foregroundMark x1="26500" y1="28786" x2="36200" y2="46927"/>
                        <a14:foregroundMark x1="36200" y1="46927" x2="44000" y2="49625"/>
                        <a14:foregroundMark x1="36700" y1="57271" x2="53100" y2="61919"/>
                        <a14:foregroundMark x1="53100" y1="61919" x2="64500" y2="47526"/>
                        <a14:foregroundMark x1="64500" y1="47526" x2="57200" y2="39430"/>
                        <a14:foregroundMark x1="57200" y1="39430" x2="57200" y2="39430"/>
                        <a14:foregroundMark x1="34000" y1="55172" x2="37400" y2="61019"/>
                        <a14:foregroundMark x1="37400" y1="61019" x2="52100" y2="71214"/>
                        <a14:foregroundMark x1="52100" y1="71214" x2="71400" y2="68516"/>
                        <a14:foregroundMark x1="71400" y1="68516" x2="76900" y2="42579"/>
                        <a14:foregroundMark x1="76900" y1="42579" x2="75400" y2="27136"/>
                        <a14:foregroundMark x1="75400" y1="27136" x2="54600" y2="24888"/>
                        <a14:foregroundMark x1="54600" y1="24888" x2="40000" y2="30585"/>
                        <a14:foregroundMark x1="40000" y1="30585" x2="29800" y2="53823"/>
                        <a14:foregroundMark x1="26900" y1="46477" x2="26800" y2="60870"/>
                        <a14:foregroundMark x1="26800" y1="60870" x2="28500" y2="70465"/>
                        <a14:foregroundMark x1="28500" y1="70465" x2="42200" y2="71364"/>
                        <a14:foregroundMark x1="79800" y1="62969" x2="78400" y2="19940"/>
                        <a14:foregroundMark x1="78400" y1="19940" x2="38700" y2="20090"/>
                      </a14:backgroundRemoval>
                    </a14:imgEffect>
                  </a14:imgLayer>
                </a14:imgProps>
              </a:ext>
              <a:ext uri="{28A0092B-C50C-407E-A947-70E740481C1C}">
                <a14:useLocalDpi xmlns:a14="http://schemas.microsoft.com/office/drawing/2010/main" val="0"/>
              </a:ext>
            </a:extLst>
          </a:blip>
          <a:srcRect/>
          <a:stretch>
            <a:fillRect/>
          </a:stretch>
        </p:blipFill>
        <p:spPr bwMode="auto">
          <a:xfrm>
            <a:off x="4876800" y="1394965"/>
            <a:ext cx="8026400" cy="5488435"/>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640586AE-2441-8173-6CF2-DB926096742C}"/>
              </a:ext>
            </a:extLst>
          </p:cNvPr>
          <p:cNvGrpSpPr/>
          <p:nvPr/>
        </p:nvGrpSpPr>
        <p:grpSpPr>
          <a:xfrm>
            <a:off x="7061200" y="2585185"/>
            <a:ext cx="4137644" cy="2723415"/>
            <a:chOff x="651887" y="3543300"/>
            <a:chExt cx="7840226" cy="5160471"/>
          </a:xfrm>
        </p:grpSpPr>
        <p:sp>
          <p:nvSpPr>
            <p:cNvPr id="2" name="Freeform 2"/>
            <p:cNvSpPr/>
            <p:nvPr/>
          </p:nvSpPr>
          <p:spPr>
            <a:xfrm>
              <a:off x="651887" y="3543300"/>
              <a:ext cx="7840226" cy="426762"/>
            </a:xfrm>
            <a:custGeom>
              <a:avLst/>
              <a:gdLst/>
              <a:ahLst/>
              <a:cxnLst/>
              <a:rect l="l" t="t" r="r" b="b"/>
              <a:pathLst>
                <a:path w="7840226" h="426762">
                  <a:moveTo>
                    <a:pt x="0" y="0"/>
                  </a:moveTo>
                  <a:lnTo>
                    <a:pt x="7840226" y="0"/>
                  </a:lnTo>
                  <a:lnTo>
                    <a:pt x="7840226" y="426762"/>
                  </a:lnTo>
                  <a:lnTo>
                    <a:pt x="0" y="426762"/>
                  </a:lnTo>
                  <a:lnTo>
                    <a:pt x="0" y="0"/>
                  </a:lnTo>
                  <a:close/>
                </a:path>
              </a:pathLst>
            </a:custGeom>
            <a:blipFill>
              <a:blip r:embed="rId5"/>
              <a:stretch>
                <a:fillRect/>
              </a:stretch>
            </a:blipFill>
          </p:spPr>
        </p:sp>
        <p:sp>
          <p:nvSpPr>
            <p:cNvPr id="4" name="Freeform 4"/>
            <p:cNvSpPr/>
            <p:nvPr/>
          </p:nvSpPr>
          <p:spPr>
            <a:xfrm>
              <a:off x="1837369" y="5613618"/>
              <a:ext cx="5393061" cy="659030"/>
            </a:xfrm>
            <a:custGeom>
              <a:avLst/>
              <a:gdLst/>
              <a:ahLst/>
              <a:cxnLst/>
              <a:rect l="l" t="t" r="r" b="b"/>
              <a:pathLst>
                <a:path w="5393061" h="659030">
                  <a:moveTo>
                    <a:pt x="0" y="0"/>
                  </a:moveTo>
                  <a:lnTo>
                    <a:pt x="5393061" y="0"/>
                  </a:lnTo>
                  <a:lnTo>
                    <a:pt x="5393061" y="659030"/>
                  </a:lnTo>
                  <a:lnTo>
                    <a:pt x="0" y="659030"/>
                  </a:lnTo>
                  <a:lnTo>
                    <a:pt x="0" y="0"/>
                  </a:lnTo>
                  <a:close/>
                </a:path>
              </a:pathLst>
            </a:custGeom>
            <a:blipFill>
              <a:blip r:embed="rId6"/>
              <a:stretch>
                <a:fillRect/>
              </a:stretch>
            </a:blipFill>
          </p:spPr>
        </p:sp>
        <p:sp>
          <p:nvSpPr>
            <p:cNvPr id="5" name="AutoShape 5"/>
            <p:cNvSpPr/>
            <p:nvPr/>
          </p:nvSpPr>
          <p:spPr>
            <a:xfrm flipH="1">
              <a:off x="4572000" y="4407111"/>
              <a:ext cx="0" cy="768357"/>
            </a:xfrm>
            <a:prstGeom prst="line">
              <a:avLst/>
            </a:prstGeom>
            <a:ln w="76200" cap="flat">
              <a:solidFill>
                <a:srgbClr val="16A180"/>
              </a:solidFill>
              <a:prstDash val="solid"/>
              <a:headEnd type="none" w="sm" len="sm"/>
              <a:tailEnd type="arrow" w="med" len="sm"/>
            </a:ln>
          </p:spPr>
        </p:sp>
        <p:sp>
          <p:nvSpPr>
            <p:cNvPr id="6" name="AutoShape 6"/>
            <p:cNvSpPr/>
            <p:nvPr/>
          </p:nvSpPr>
          <p:spPr>
            <a:xfrm flipH="1">
              <a:off x="4533900" y="6728560"/>
              <a:ext cx="0" cy="768357"/>
            </a:xfrm>
            <a:prstGeom prst="line">
              <a:avLst/>
            </a:prstGeom>
            <a:ln w="76200" cap="flat">
              <a:solidFill>
                <a:srgbClr val="16A180"/>
              </a:solidFill>
              <a:prstDash val="solid"/>
              <a:headEnd type="none" w="sm" len="sm"/>
              <a:tailEnd type="arrow" w="med" len="sm"/>
            </a:ln>
          </p:spPr>
        </p:sp>
        <p:sp>
          <p:nvSpPr>
            <p:cNvPr id="7" name="Freeform 7"/>
            <p:cNvSpPr/>
            <p:nvPr/>
          </p:nvSpPr>
          <p:spPr>
            <a:xfrm>
              <a:off x="2559837" y="8023620"/>
              <a:ext cx="3193752" cy="680151"/>
            </a:xfrm>
            <a:custGeom>
              <a:avLst/>
              <a:gdLst/>
              <a:ahLst/>
              <a:cxnLst/>
              <a:rect l="l" t="t" r="r" b="b"/>
              <a:pathLst>
                <a:path w="3193752" h="680151">
                  <a:moveTo>
                    <a:pt x="0" y="0"/>
                  </a:moveTo>
                  <a:lnTo>
                    <a:pt x="3193752" y="0"/>
                  </a:lnTo>
                  <a:lnTo>
                    <a:pt x="3193752" y="680151"/>
                  </a:lnTo>
                  <a:lnTo>
                    <a:pt x="0" y="680151"/>
                  </a:lnTo>
                  <a:lnTo>
                    <a:pt x="0" y="0"/>
                  </a:lnTo>
                  <a:close/>
                </a:path>
              </a:pathLst>
            </a:custGeom>
            <a:blipFill>
              <a:blip r:embed="rId7"/>
              <a:stretch>
                <a:fillRect/>
              </a:stretch>
            </a:blipFill>
          </p:spPr>
          <p:txBody>
            <a:bodyP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TextBox 8"/>
          <p:cNvSpPr txBox="1"/>
          <p:nvPr/>
        </p:nvSpPr>
        <p:spPr>
          <a:xfrm>
            <a:off x="768792" y="1854900"/>
            <a:ext cx="5041699" cy="3737946"/>
          </a:xfrm>
          <a:prstGeom prst="rect">
            <a:avLst/>
          </a:prstGeom>
        </p:spPr>
        <p:txBody>
          <a:bodyPr wrap="square" lIns="0" tIns="0" rIns="0" bIns="0" rtlCol="0" anchor="t">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mn-cs"/>
              </a:rPr>
              <a:t>GPT </a:t>
            </a:r>
            <a:r>
              <a:rPr kumimoji="0" lang="en-US" sz="2200" b="1" i="0" u="none" strike="noStrike" kern="1200" cap="none" spc="0" normalizeH="0" baseline="0" noProof="0">
                <a:ln>
                  <a:noFill/>
                </a:ln>
                <a:solidFill>
                  <a:srgbClr val="0097A9"/>
                </a:solidFill>
                <a:effectLst/>
                <a:uLnTx/>
                <a:uFillTx/>
                <a:latin typeface="Calibri"/>
                <a:ea typeface="+mn-ea"/>
                <a:cs typeface="+mn-cs"/>
              </a:rPr>
              <a:t>no </a:t>
            </a:r>
            <a:r>
              <a:rPr kumimoji="0" lang="en-US" sz="2200" b="1" i="0" u="none" strike="noStrike" kern="1200" cap="none" spc="0" normalizeH="0" baseline="0" noProof="0" err="1">
                <a:ln>
                  <a:noFill/>
                </a:ln>
                <a:solidFill>
                  <a:srgbClr val="0097A9"/>
                </a:solidFill>
                <a:effectLst/>
                <a:uLnTx/>
                <a:uFillTx/>
                <a:latin typeface="Calibri"/>
                <a:ea typeface="+mn-ea"/>
                <a:cs typeface="+mn-cs"/>
              </a:rPr>
              <a:t>guarda</a:t>
            </a:r>
            <a:r>
              <a:rPr kumimoji="0" lang="en-US" sz="2200" b="1" i="0" u="none" strike="noStrike" kern="1200" cap="none" spc="0" normalizeH="0" baseline="0" noProof="0">
                <a:ln>
                  <a:noFill/>
                </a:ln>
                <a:solidFill>
                  <a:srgbClr val="0097A9"/>
                </a:solidFill>
                <a:effectLst/>
                <a:uLnTx/>
                <a:uFillTx/>
                <a:latin typeface="Calibri"/>
                <a:ea typeface="+mn-ea"/>
                <a:cs typeface="+mn-cs"/>
              </a:rPr>
              <a:t> las </a:t>
            </a:r>
            <a:r>
              <a:rPr kumimoji="0" lang="en-US" sz="2200" b="1" i="0" u="none" strike="noStrike" kern="1200" cap="none" spc="0" normalizeH="0" baseline="0" noProof="0" err="1">
                <a:ln>
                  <a:noFill/>
                </a:ln>
                <a:solidFill>
                  <a:srgbClr val="0097A9"/>
                </a:solidFill>
                <a:effectLst/>
                <a:uLnTx/>
                <a:uFillTx/>
                <a:latin typeface="Calibri"/>
                <a:ea typeface="+mn-ea"/>
                <a:cs typeface="+mn-cs"/>
              </a:rPr>
              <a:t>frases</a:t>
            </a:r>
            <a:r>
              <a:rPr kumimoji="0" lang="en-US" sz="2200" b="1" i="0" u="none" strike="noStrike" kern="1200" cap="none" spc="0" normalizeH="0" baseline="0" noProof="0">
                <a:ln>
                  <a:noFill/>
                </a:ln>
                <a:solidFill>
                  <a:srgbClr val="0097A9"/>
                </a:solidFill>
                <a:effectLst/>
                <a:uLnTx/>
                <a:uFillTx/>
                <a:latin typeface="Calibri"/>
                <a:ea typeface="+mn-ea"/>
                <a:cs typeface="+mn-cs"/>
              </a:rPr>
              <a:t> </a:t>
            </a:r>
            <a:r>
              <a:rPr kumimoji="0" lang="en-US" sz="2200" b="1" i="0" u="none" strike="noStrike" kern="1200" cap="none" spc="0" normalizeH="0" baseline="0" noProof="0" err="1">
                <a:ln>
                  <a:noFill/>
                </a:ln>
                <a:solidFill>
                  <a:srgbClr val="0097A9"/>
                </a:solidFill>
                <a:effectLst/>
                <a:uLnTx/>
                <a:uFillTx/>
                <a:latin typeface="Calibri"/>
                <a:ea typeface="+mn-ea"/>
                <a:cs typeface="+mn-cs"/>
              </a:rPr>
              <a:t>enteras</a:t>
            </a:r>
            <a:r>
              <a:rPr kumimoji="0" lang="en-US" sz="2000" b="0" i="0" u="none" strike="noStrike" kern="1200" cap="none" spc="0" normalizeH="0" baseline="0" noProof="0">
                <a:ln>
                  <a:noFill/>
                </a:ln>
                <a:solidFill>
                  <a:prstClr val="white"/>
                </a:solidFill>
                <a:effectLst/>
                <a:uLnTx/>
                <a:uFillTx/>
                <a:latin typeface="Calibri"/>
                <a:ea typeface="+mn-ea"/>
                <a:cs typeface="+mn-cs"/>
              </a:rPr>
              <a:t>, </a:t>
            </a:r>
            <a:r>
              <a:rPr kumimoji="0" lang="en-US" sz="2000" b="0" i="0" u="none" strike="noStrike" kern="1200" cap="none" spc="0" normalizeH="0" baseline="0" noProof="0" err="1">
                <a:ln>
                  <a:noFill/>
                </a:ln>
                <a:solidFill>
                  <a:prstClr val="white"/>
                </a:solidFill>
                <a:effectLst/>
                <a:uLnTx/>
                <a:uFillTx/>
                <a:latin typeface="Calibri"/>
                <a:ea typeface="+mn-ea"/>
                <a:cs typeface="+mn-cs"/>
              </a:rPr>
              <a:t>guarda</a:t>
            </a:r>
            <a:r>
              <a:rPr kumimoji="0" lang="en-US" sz="2000" b="0" i="0" u="none" strike="noStrike" kern="1200" cap="none" spc="0" normalizeH="0" baseline="0" noProof="0">
                <a:ln>
                  <a:noFill/>
                </a:ln>
                <a:solidFill>
                  <a:prstClr val="white"/>
                </a:solidFill>
                <a:effectLst/>
                <a:uLnTx/>
                <a:uFillTx/>
                <a:latin typeface="Calibri"/>
                <a:ea typeface="+mn-ea"/>
                <a:cs typeface="+mn-cs"/>
              </a:rPr>
              <a:t> </a:t>
            </a:r>
            <a:r>
              <a:rPr kumimoji="0" lang="en-US" sz="2000" b="0" i="0" u="none" strike="noStrike" kern="1200" cap="none" spc="0" normalizeH="0" baseline="0" noProof="0" err="1">
                <a:ln>
                  <a:noFill/>
                </a:ln>
                <a:solidFill>
                  <a:prstClr val="white"/>
                </a:solidFill>
                <a:effectLst/>
                <a:uLnTx/>
                <a:uFillTx/>
                <a:latin typeface="Calibri"/>
                <a:ea typeface="+mn-ea"/>
                <a:cs typeface="+mn-cs"/>
              </a:rPr>
              <a:t>solamente</a:t>
            </a:r>
            <a:r>
              <a:rPr kumimoji="0" lang="en-US" sz="2000" b="0" i="0" u="none" strike="noStrike" kern="1200" cap="none" spc="0" normalizeH="0" baseline="0" noProof="0">
                <a:ln>
                  <a:noFill/>
                </a:ln>
                <a:solidFill>
                  <a:prstClr val="white"/>
                </a:solidFill>
                <a:effectLst/>
                <a:uLnTx/>
                <a:uFillTx/>
                <a:latin typeface="Calibri"/>
                <a:ea typeface="+mn-ea"/>
                <a:cs typeface="+mn-cs"/>
              </a:rPr>
              <a:t> lo </a:t>
            </a:r>
            <a:r>
              <a:rPr kumimoji="0" lang="en-US" sz="2000" b="0" i="0" u="none" strike="noStrike" kern="1200" cap="none" spc="0" normalizeH="0" baseline="0" noProof="0" err="1">
                <a:ln>
                  <a:noFill/>
                </a:ln>
                <a:solidFill>
                  <a:prstClr val="white"/>
                </a:solidFill>
                <a:effectLst/>
                <a:uLnTx/>
                <a:uFillTx/>
                <a:latin typeface="Calibri"/>
                <a:ea typeface="+mn-ea"/>
                <a:cs typeface="+mn-cs"/>
              </a:rPr>
              <a:t>importante</a:t>
            </a:r>
            <a:r>
              <a:rPr kumimoji="0" lang="en-US" sz="2000" b="0" i="0" u="none" strike="noStrike" kern="1200" cap="none" spc="0" normalizeH="0" baseline="0" noProof="0">
                <a:ln>
                  <a:noFill/>
                </a:ln>
                <a:solidFill>
                  <a:prstClr val="white"/>
                </a:solidFill>
                <a:effectLst/>
                <a:uLnTx/>
                <a:uFillTx/>
                <a:latin typeface="Calibri"/>
                <a:ea typeface="+mn-ea"/>
                <a:cs typeface="+mn-cs"/>
              </a:rPr>
              <a:t>. </a:t>
            </a:r>
          </a:p>
          <a:p>
            <a:pPr marL="0" marR="0" lvl="0" indent="0" algn="l" defTabSz="60963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Calibri"/>
                <a:ea typeface="+mn-ea"/>
                <a:cs typeface="+mn-cs"/>
              </a:rPr>
              <a:t>Para </a:t>
            </a:r>
            <a:r>
              <a:rPr kumimoji="0" lang="en-US" sz="2000" b="0" i="0" u="none" strike="noStrike" kern="1200" cap="none" spc="0" normalizeH="0" baseline="0" noProof="0" err="1">
                <a:ln>
                  <a:noFill/>
                </a:ln>
                <a:solidFill>
                  <a:prstClr val="white"/>
                </a:solidFill>
                <a:effectLst/>
                <a:uLnTx/>
                <a:uFillTx/>
                <a:latin typeface="Calibri"/>
                <a:ea typeface="+mn-ea"/>
                <a:cs typeface="+mn-cs"/>
              </a:rPr>
              <a:t>quedarse</a:t>
            </a:r>
            <a:r>
              <a:rPr kumimoji="0" lang="en-US" sz="2000" b="0" i="0" u="none" strike="noStrike" kern="1200" cap="none" spc="0" normalizeH="0" baseline="0" noProof="0">
                <a:ln>
                  <a:noFill/>
                </a:ln>
                <a:solidFill>
                  <a:prstClr val="white"/>
                </a:solidFill>
                <a:effectLst/>
                <a:uLnTx/>
                <a:uFillTx/>
                <a:latin typeface="Calibri"/>
                <a:ea typeface="+mn-ea"/>
                <a:cs typeface="+mn-cs"/>
              </a:rPr>
              <a:t> con lo “</a:t>
            </a:r>
            <a:r>
              <a:rPr kumimoji="0" lang="en-US" sz="2000" b="0" i="0" u="none" strike="noStrike" kern="1200" cap="none" spc="0" normalizeH="0" baseline="0" noProof="0" err="1">
                <a:ln>
                  <a:noFill/>
                </a:ln>
                <a:solidFill>
                  <a:prstClr val="white"/>
                </a:solidFill>
                <a:effectLst/>
                <a:uLnTx/>
                <a:uFillTx/>
                <a:latin typeface="Calibri"/>
                <a:ea typeface="+mn-ea"/>
                <a:cs typeface="+mn-cs"/>
              </a:rPr>
              <a:t>importante</a:t>
            </a:r>
            <a:r>
              <a:rPr kumimoji="0" lang="en-US" sz="2000" b="0" i="0" u="none" strike="noStrike" kern="1200" cap="none" spc="0" normalizeH="0" baseline="0" noProof="0">
                <a:ln>
                  <a:noFill/>
                </a:ln>
                <a:solidFill>
                  <a:prstClr val="white"/>
                </a:solidFill>
                <a:effectLst/>
                <a:uLnTx/>
                <a:uFillTx/>
                <a:latin typeface="Calibri"/>
                <a:ea typeface="+mn-ea"/>
                <a:cs typeface="+mn-cs"/>
              </a:rPr>
              <a:t>” </a:t>
            </a:r>
            <a:r>
              <a:rPr kumimoji="0" lang="en-US" sz="2000" b="0" i="0" u="none" strike="noStrike" kern="1200" cap="none" spc="0" normalizeH="0" baseline="0" noProof="0" err="1">
                <a:ln>
                  <a:noFill/>
                </a:ln>
                <a:solidFill>
                  <a:prstClr val="white"/>
                </a:solidFill>
                <a:effectLst/>
                <a:uLnTx/>
                <a:uFillTx/>
                <a:latin typeface="Calibri"/>
                <a:ea typeface="+mn-ea"/>
                <a:cs typeface="+mn-cs"/>
              </a:rPr>
              <a:t>utiliza</a:t>
            </a:r>
            <a:r>
              <a:rPr kumimoji="0" lang="en-US" sz="2000" b="0" i="0" u="none" strike="noStrike" kern="1200" cap="none" spc="0" normalizeH="0" baseline="0" noProof="0">
                <a:ln>
                  <a:noFill/>
                </a:ln>
                <a:solidFill>
                  <a:prstClr val="white"/>
                </a:solidFill>
                <a:effectLst/>
                <a:uLnTx/>
                <a:uFillTx/>
                <a:latin typeface="Calibri"/>
                <a:ea typeface="+mn-ea"/>
                <a:cs typeface="+mn-cs"/>
              </a:rPr>
              <a:t> </a:t>
            </a:r>
            <a:r>
              <a:rPr kumimoji="0" lang="en-US" sz="2000" b="0" i="0" u="none" strike="noStrike" kern="1200" cap="none" spc="0" normalizeH="0" baseline="0" noProof="0" err="1">
                <a:ln>
                  <a:noFill/>
                </a:ln>
                <a:solidFill>
                  <a:prstClr val="white"/>
                </a:solidFill>
                <a:effectLst/>
                <a:uLnTx/>
                <a:uFillTx/>
                <a:latin typeface="Calibri"/>
                <a:ea typeface="+mn-ea"/>
                <a:cs typeface="+mn-cs"/>
              </a:rPr>
              <a:t>una</a:t>
            </a:r>
            <a:r>
              <a:rPr kumimoji="0" lang="en-US" sz="2000" b="0" i="0" u="none" strike="noStrike" kern="1200" cap="none" spc="0" normalizeH="0" baseline="0" noProof="0">
                <a:ln>
                  <a:noFill/>
                </a:ln>
                <a:solidFill>
                  <a:prstClr val="white"/>
                </a:solidFill>
                <a:effectLst/>
                <a:uLnTx/>
                <a:uFillTx/>
                <a:latin typeface="Calibri"/>
                <a:ea typeface="+mn-ea"/>
                <a:cs typeface="+mn-cs"/>
              </a:rPr>
              <a:t> </a:t>
            </a:r>
            <a:r>
              <a:rPr kumimoji="0" lang="en-US" sz="2000" b="0" i="0" u="none" strike="noStrike" kern="1200" cap="none" spc="0" normalizeH="0" baseline="0" noProof="0" err="1">
                <a:ln>
                  <a:noFill/>
                </a:ln>
                <a:solidFill>
                  <a:prstClr val="white"/>
                </a:solidFill>
                <a:effectLst/>
                <a:uLnTx/>
                <a:uFillTx/>
                <a:latin typeface="Calibri"/>
                <a:ea typeface="+mn-ea"/>
                <a:cs typeface="+mn-cs"/>
              </a:rPr>
              <a:t>técnica</a:t>
            </a:r>
            <a:r>
              <a:rPr kumimoji="0" lang="en-US" sz="2000" b="0" i="0" u="none" strike="noStrike" kern="1200" cap="none" spc="0" normalizeH="0" baseline="0" noProof="0">
                <a:ln>
                  <a:noFill/>
                </a:ln>
                <a:solidFill>
                  <a:prstClr val="white"/>
                </a:solidFill>
                <a:effectLst/>
                <a:uLnTx/>
                <a:uFillTx/>
                <a:latin typeface="Calibri"/>
                <a:ea typeface="+mn-ea"/>
                <a:cs typeface="+mn-cs"/>
              </a:rPr>
              <a:t> </a:t>
            </a:r>
            <a:r>
              <a:rPr kumimoji="0" lang="en-US" sz="2000" b="0" i="0" u="none" strike="noStrike" kern="1200" cap="none" spc="0" normalizeH="0" baseline="0" noProof="0" err="1">
                <a:ln>
                  <a:noFill/>
                </a:ln>
                <a:solidFill>
                  <a:prstClr val="white"/>
                </a:solidFill>
                <a:effectLst/>
                <a:uLnTx/>
                <a:uFillTx/>
                <a:latin typeface="Calibri"/>
                <a:ea typeface="+mn-ea"/>
                <a:cs typeface="+mn-cs"/>
              </a:rPr>
              <a:t>llamada</a:t>
            </a:r>
            <a:r>
              <a:rPr kumimoji="0" lang="en-US" sz="2000" b="0" i="0" u="none" strike="noStrike" kern="1200" cap="none" spc="0" normalizeH="0" baseline="0" noProof="0">
                <a:ln>
                  <a:noFill/>
                </a:ln>
                <a:solidFill>
                  <a:prstClr val="white"/>
                </a:solidFill>
                <a:effectLst/>
                <a:uLnTx/>
                <a:uFillTx/>
                <a:latin typeface="Calibri"/>
                <a:ea typeface="+mn-ea"/>
                <a:cs typeface="+mn-cs"/>
              </a:rPr>
              <a:t> </a:t>
            </a:r>
            <a:r>
              <a:rPr kumimoji="0" lang="en-US" sz="2200" b="1" i="0" u="none" strike="noStrike" kern="1200" cap="none" spc="0" normalizeH="0" baseline="0" noProof="0" err="1">
                <a:ln>
                  <a:noFill/>
                </a:ln>
                <a:solidFill>
                  <a:srgbClr val="6FC2B4"/>
                </a:solidFill>
                <a:effectLst/>
                <a:uLnTx/>
                <a:uFillTx/>
                <a:latin typeface="Calibri"/>
                <a:ea typeface="+mn-ea"/>
                <a:cs typeface="+mn-cs"/>
              </a:rPr>
              <a:t>lematización</a:t>
            </a:r>
            <a:r>
              <a:rPr kumimoji="0" lang="en-US" sz="2000" b="0" i="0" u="none" strike="noStrike" kern="1200" cap="none" spc="0" normalizeH="0" baseline="0" noProof="0">
                <a:ln>
                  <a:noFill/>
                </a:ln>
                <a:solidFill>
                  <a:prstClr val="white"/>
                </a:solidFill>
                <a:effectLst/>
                <a:uLnTx/>
                <a:uFillTx/>
                <a:latin typeface="Calibri"/>
                <a:ea typeface="+mn-ea"/>
                <a:cs typeface="+mn-cs"/>
              </a:rPr>
              <a:t>, la </a:t>
            </a:r>
            <a:r>
              <a:rPr kumimoji="0" lang="en-US" sz="2000" b="0" i="0" u="none" strike="noStrike" kern="1200" cap="none" spc="0" normalizeH="0" baseline="0" noProof="0" err="1">
                <a:ln>
                  <a:noFill/>
                </a:ln>
                <a:solidFill>
                  <a:prstClr val="white"/>
                </a:solidFill>
                <a:effectLst/>
                <a:uLnTx/>
                <a:uFillTx/>
                <a:latin typeface="Calibri"/>
                <a:ea typeface="+mn-ea"/>
                <a:cs typeface="+mn-cs"/>
              </a:rPr>
              <a:t>cual</a:t>
            </a:r>
            <a:r>
              <a:rPr kumimoji="0" lang="en-US" sz="2000" b="0" i="0" u="none" strike="noStrike" kern="1200" cap="none" spc="0" normalizeH="0" baseline="0" noProof="0">
                <a:ln>
                  <a:noFill/>
                </a:ln>
                <a:solidFill>
                  <a:prstClr val="white"/>
                </a:solidFill>
                <a:effectLst/>
                <a:uLnTx/>
                <a:uFillTx/>
                <a:latin typeface="Calibri"/>
                <a:ea typeface="+mn-ea"/>
                <a:cs typeface="+mn-cs"/>
              </a:rPr>
              <a:t> </a:t>
            </a:r>
            <a:r>
              <a:rPr kumimoji="0" lang="en-US" sz="2000" b="0" i="0" u="none" strike="noStrike" kern="1200" cap="none" spc="0" normalizeH="0" baseline="0" noProof="0" err="1">
                <a:ln>
                  <a:noFill/>
                </a:ln>
                <a:solidFill>
                  <a:prstClr val="white"/>
                </a:solidFill>
                <a:effectLst/>
                <a:uLnTx/>
                <a:uFillTx/>
                <a:latin typeface="Calibri"/>
                <a:ea typeface="+mn-ea"/>
                <a:cs typeface="+mn-cs"/>
              </a:rPr>
              <a:t>lleva</a:t>
            </a:r>
            <a:r>
              <a:rPr kumimoji="0" lang="en-US" sz="2000" b="0" i="0" u="none" strike="noStrike" kern="1200" cap="none" spc="0" normalizeH="0" baseline="0" noProof="0">
                <a:ln>
                  <a:noFill/>
                </a:ln>
                <a:solidFill>
                  <a:prstClr val="white"/>
                </a:solidFill>
                <a:effectLst/>
                <a:uLnTx/>
                <a:uFillTx/>
                <a:latin typeface="Calibri"/>
                <a:ea typeface="+mn-ea"/>
                <a:cs typeface="+mn-cs"/>
              </a:rPr>
              <a:t> las palabras a sus </a:t>
            </a:r>
            <a:r>
              <a:rPr kumimoji="0" lang="en-US" sz="2000" b="0" i="0" u="none" strike="noStrike" kern="1200" cap="none" spc="0" normalizeH="0" baseline="0" noProof="0" err="1">
                <a:ln>
                  <a:noFill/>
                </a:ln>
                <a:solidFill>
                  <a:prstClr val="white"/>
                </a:solidFill>
                <a:effectLst/>
                <a:uLnTx/>
                <a:uFillTx/>
                <a:latin typeface="Calibri"/>
                <a:ea typeface="+mn-ea"/>
                <a:cs typeface="+mn-cs"/>
              </a:rPr>
              <a:t>expresiones</a:t>
            </a:r>
            <a:r>
              <a:rPr kumimoji="0" lang="en-US" sz="2000" b="0" i="0" u="none" strike="noStrike" kern="1200" cap="none" spc="0" normalizeH="0" baseline="0" noProof="0">
                <a:ln>
                  <a:noFill/>
                </a:ln>
                <a:solidFill>
                  <a:prstClr val="white"/>
                </a:solidFill>
                <a:effectLst/>
                <a:uLnTx/>
                <a:uFillTx/>
                <a:latin typeface="Calibri"/>
                <a:ea typeface="+mn-ea"/>
                <a:cs typeface="+mn-cs"/>
              </a:rPr>
              <a:t> </a:t>
            </a:r>
            <a:r>
              <a:rPr kumimoji="0" lang="en-US" sz="2000" b="0" i="0" u="none" strike="noStrike" kern="1200" cap="none" spc="0" normalizeH="0" baseline="0" noProof="0" err="1">
                <a:ln>
                  <a:noFill/>
                </a:ln>
                <a:solidFill>
                  <a:prstClr val="white"/>
                </a:solidFill>
                <a:effectLst/>
                <a:uLnTx/>
                <a:uFillTx/>
                <a:latin typeface="Calibri"/>
                <a:ea typeface="+mn-ea"/>
                <a:cs typeface="+mn-cs"/>
              </a:rPr>
              <a:t>más</a:t>
            </a:r>
            <a:r>
              <a:rPr kumimoji="0" lang="en-US" sz="2000" b="0" i="0" u="none" strike="noStrike" kern="1200" cap="none" spc="0" normalizeH="0" baseline="0" noProof="0">
                <a:ln>
                  <a:noFill/>
                </a:ln>
                <a:solidFill>
                  <a:prstClr val="white"/>
                </a:solidFill>
                <a:effectLst/>
                <a:uLnTx/>
                <a:uFillTx/>
                <a:latin typeface="Calibri"/>
                <a:ea typeface="+mn-ea"/>
                <a:cs typeface="+mn-cs"/>
              </a:rPr>
              <a:t> simples, junto con la </a:t>
            </a:r>
            <a:r>
              <a:rPr kumimoji="0" lang="en-US" sz="2000" b="0" i="0" u="none" strike="noStrike" kern="1200" cap="none" spc="0" normalizeH="0" baseline="0" noProof="0" err="1">
                <a:ln>
                  <a:noFill/>
                </a:ln>
                <a:solidFill>
                  <a:prstClr val="white"/>
                </a:solidFill>
                <a:effectLst/>
                <a:uLnTx/>
                <a:uFillTx/>
                <a:latin typeface="Calibri"/>
                <a:ea typeface="+mn-ea"/>
                <a:cs typeface="+mn-cs"/>
              </a:rPr>
              <a:t>normalización</a:t>
            </a:r>
            <a:r>
              <a:rPr kumimoji="0" lang="en-US" sz="2000" b="0" i="0" u="none" strike="noStrike" kern="1200" cap="none" spc="0" normalizeH="0" baseline="0" noProof="0">
                <a:ln>
                  <a:noFill/>
                </a:ln>
                <a:solidFill>
                  <a:prstClr val="white"/>
                </a:solidFill>
                <a:effectLst/>
                <a:uLnTx/>
                <a:uFillTx/>
                <a:latin typeface="Calibri"/>
                <a:ea typeface="+mn-ea"/>
                <a:cs typeface="+mn-cs"/>
              </a:rPr>
              <a:t> que </a:t>
            </a:r>
            <a:r>
              <a:rPr kumimoji="0" lang="en-US" sz="2000" b="0" i="0" u="none" strike="noStrike" kern="1200" cap="none" spc="0" normalizeH="0" baseline="0" noProof="0" err="1">
                <a:ln>
                  <a:noFill/>
                </a:ln>
                <a:solidFill>
                  <a:prstClr val="white"/>
                </a:solidFill>
                <a:effectLst/>
                <a:uLnTx/>
                <a:uFillTx/>
                <a:latin typeface="Calibri"/>
                <a:ea typeface="+mn-ea"/>
                <a:cs typeface="+mn-cs"/>
              </a:rPr>
              <a:t>acorta</a:t>
            </a:r>
            <a:r>
              <a:rPr kumimoji="0" lang="en-US" sz="2000" b="0" i="0" u="none" strike="noStrike" kern="1200" cap="none" spc="0" normalizeH="0" baseline="0" noProof="0">
                <a:ln>
                  <a:noFill/>
                </a:ln>
                <a:solidFill>
                  <a:prstClr val="white"/>
                </a:solidFill>
                <a:effectLst/>
                <a:uLnTx/>
                <a:uFillTx/>
                <a:latin typeface="Calibri"/>
                <a:ea typeface="+mn-ea"/>
                <a:cs typeface="+mn-cs"/>
              </a:rPr>
              <a:t> la </a:t>
            </a:r>
            <a:r>
              <a:rPr kumimoji="0" lang="en-US" sz="2000" b="0" i="0" u="none" strike="noStrike" kern="1200" cap="none" spc="0" normalizeH="0" baseline="0" noProof="0" err="1">
                <a:ln>
                  <a:noFill/>
                </a:ln>
                <a:solidFill>
                  <a:prstClr val="white"/>
                </a:solidFill>
                <a:effectLst/>
                <a:uLnTx/>
                <a:uFillTx/>
                <a:latin typeface="Calibri"/>
                <a:ea typeface="+mn-ea"/>
                <a:cs typeface="+mn-cs"/>
              </a:rPr>
              <a:t>frase</a:t>
            </a:r>
            <a:r>
              <a:rPr kumimoji="0" lang="en-US" sz="2000" b="0" i="0" u="none" strike="noStrike" kern="1200" cap="none" spc="0" normalizeH="0" baseline="0" noProof="0">
                <a:ln>
                  <a:noFill/>
                </a:ln>
                <a:solidFill>
                  <a:prstClr val="white"/>
                </a:solidFill>
                <a:effectLst/>
                <a:uLnTx/>
                <a:uFillTx/>
                <a:latin typeface="Calibri"/>
                <a:ea typeface="+mn-ea"/>
                <a:cs typeface="+mn-cs"/>
              </a:rPr>
              <a:t> </a:t>
            </a:r>
            <a:r>
              <a:rPr kumimoji="0" lang="en-US" sz="2000" b="0" i="0" u="none" strike="noStrike" kern="1200" cap="none" spc="0" normalizeH="0" baseline="0" noProof="0" err="1">
                <a:ln>
                  <a:noFill/>
                </a:ln>
                <a:solidFill>
                  <a:prstClr val="white"/>
                </a:solidFill>
                <a:effectLst/>
                <a:uLnTx/>
                <a:uFillTx/>
                <a:latin typeface="Calibri"/>
                <a:ea typeface="+mn-ea"/>
                <a:cs typeface="+mn-cs"/>
              </a:rPr>
              <a:t>sólo</a:t>
            </a:r>
            <a:r>
              <a:rPr kumimoji="0" lang="en-US" sz="2000" b="0" i="0" u="none" strike="noStrike" kern="1200" cap="none" spc="0" normalizeH="0" baseline="0" noProof="0">
                <a:ln>
                  <a:noFill/>
                </a:ln>
                <a:solidFill>
                  <a:prstClr val="white"/>
                </a:solidFill>
                <a:effectLst/>
                <a:uLnTx/>
                <a:uFillTx/>
                <a:latin typeface="Calibri"/>
                <a:ea typeface="+mn-ea"/>
                <a:cs typeface="+mn-cs"/>
              </a:rPr>
              <a:t> a palabras </a:t>
            </a:r>
            <a:r>
              <a:rPr kumimoji="0" lang="en-US" sz="2000" b="0" i="0" u="none" strike="noStrike" kern="1200" cap="none" spc="0" normalizeH="0" baseline="0" noProof="0" err="1">
                <a:ln>
                  <a:noFill/>
                </a:ln>
                <a:solidFill>
                  <a:prstClr val="white"/>
                </a:solidFill>
                <a:effectLst/>
                <a:uLnTx/>
                <a:uFillTx/>
                <a:latin typeface="Calibri"/>
                <a:ea typeface="+mn-ea"/>
                <a:cs typeface="+mn-cs"/>
              </a:rPr>
              <a:t>importantes</a:t>
            </a:r>
            <a:r>
              <a:rPr kumimoji="0" lang="en-US" sz="2000" b="0" i="0" u="none" strike="noStrike" kern="1200" cap="none" spc="0" normalizeH="0" baseline="0" noProof="0">
                <a:ln>
                  <a:noFill/>
                </a:ln>
                <a:solidFill>
                  <a:prstClr val="white"/>
                </a:solidFill>
                <a:effectLst/>
                <a:uLnTx/>
                <a:uFillTx/>
                <a:latin typeface="Calibri"/>
                <a:ea typeface="+mn-ea"/>
                <a:cs typeface="+mn-cs"/>
              </a:rPr>
              <a:t>.</a:t>
            </a:r>
          </a:p>
        </p:txBody>
      </p:sp>
      <p:sp>
        <p:nvSpPr>
          <p:cNvPr id="9" name="TextBox 9"/>
          <p:cNvSpPr txBox="1"/>
          <p:nvPr/>
        </p:nvSpPr>
        <p:spPr>
          <a:xfrm>
            <a:off x="-665041" y="386694"/>
            <a:ext cx="6668441" cy="570541"/>
          </a:xfrm>
          <a:prstGeom prst="rect">
            <a:avLst/>
          </a:prstGeom>
        </p:spPr>
        <p:txBody>
          <a:bodyPr lIns="0" tIns="0" rIns="0" bIns="0" rtlCol="0" anchor="t">
            <a:spAutoFit/>
          </a:bodyPr>
          <a:lstStyle/>
          <a:p>
            <a:pPr marL="0" marR="0" lvl="0" indent="0" algn="ctr" defTabSz="609630" rtl="0" eaLnBrk="1" fontAlgn="auto" latinLnBrk="0" hangingPunct="1">
              <a:lnSpc>
                <a:spcPts val="4853"/>
              </a:lnSpc>
              <a:spcBef>
                <a:spcPts val="0"/>
              </a:spcBef>
              <a:spcAft>
                <a:spcPts val="0"/>
              </a:spcAft>
              <a:buClrTx/>
              <a:buSzTx/>
              <a:buFontTx/>
              <a:buNone/>
              <a:tabLst/>
              <a:defRPr/>
            </a:pP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Lematización</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amp; </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Normalización</a:t>
            </a:r>
            <a:endPar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sp>
        <p:nvSpPr>
          <p:cNvPr id="2" name="Freeform 2"/>
          <p:cNvSpPr/>
          <p:nvPr/>
        </p:nvSpPr>
        <p:spPr>
          <a:xfrm>
            <a:off x="6096000" y="1489682"/>
            <a:ext cx="5276149" cy="4533029"/>
          </a:xfrm>
          <a:custGeom>
            <a:avLst/>
            <a:gdLst/>
            <a:ahLst/>
            <a:cxnLst/>
            <a:rect l="l" t="t" r="r" b="b"/>
            <a:pathLst>
              <a:path w="7914223" h="6799544">
                <a:moveTo>
                  <a:pt x="0" y="0"/>
                </a:moveTo>
                <a:lnTo>
                  <a:pt x="7914223" y="0"/>
                </a:lnTo>
                <a:lnTo>
                  <a:pt x="7914223" y="6799544"/>
                </a:lnTo>
                <a:lnTo>
                  <a:pt x="0" y="6799544"/>
                </a:lnTo>
                <a:lnTo>
                  <a:pt x="0" y="0"/>
                </a:lnTo>
                <a:close/>
              </a:path>
            </a:pathLst>
          </a:custGeom>
          <a:blipFill>
            <a:blip r:embed="rId3"/>
            <a:stretch>
              <a:fillRect/>
            </a:stretch>
          </a:blipFill>
        </p:spPr>
      </p:sp>
      <p:sp>
        <p:nvSpPr>
          <p:cNvPr id="3" name="TextBox 3"/>
          <p:cNvSpPr txBox="1"/>
          <p:nvPr/>
        </p:nvSpPr>
        <p:spPr>
          <a:xfrm>
            <a:off x="442210" y="352772"/>
            <a:ext cx="4140200" cy="618631"/>
          </a:xfrm>
          <a:prstGeom prst="rect">
            <a:avLst/>
          </a:prstGeom>
        </p:spPr>
        <p:txBody>
          <a:bodyPr wrap="square" lIns="0" tIns="0" rIns="0" bIns="0" rtlCol="0" anchor="t">
            <a:spAutoFit/>
          </a:bodyPr>
          <a:lstStyle/>
          <a:p>
            <a:pPr marL="0" marR="0" lvl="0" indent="0" algn="l" defTabSz="609630" rtl="0" eaLnBrk="1" fontAlgn="auto" latinLnBrk="0" hangingPunct="1">
              <a:lnSpc>
                <a:spcPts val="5386"/>
              </a:lnSpc>
              <a:spcBef>
                <a:spcPts val="0"/>
              </a:spcBef>
              <a:spcAft>
                <a:spcPts val="0"/>
              </a:spcAft>
              <a:buClrTx/>
              <a:buSzTx/>
              <a:buFontTx/>
              <a:buNone/>
              <a:tabLst/>
              <a:defRPr/>
            </a:pPr>
            <a:r>
              <a:rPr kumimoji="0" lang="en-US" sz="2933" b="1" i="1"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Word Embedding</a:t>
            </a:r>
          </a:p>
        </p:txBody>
      </p:sp>
      <p:sp>
        <p:nvSpPr>
          <p:cNvPr id="4" name="TextBox 4"/>
          <p:cNvSpPr txBox="1"/>
          <p:nvPr/>
        </p:nvSpPr>
        <p:spPr>
          <a:xfrm>
            <a:off x="738961" y="3239946"/>
            <a:ext cx="4805314" cy="2722284"/>
          </a:xfrm>
          <a:prstGeom prst="rect">
            <a:avLst/>
          </a:prstGeom>
        </p:spPr>
        <p:txBody>
          <a:bodyPr wrap="square" lIns="0" tIns="0" rIns="0" bIns="0" rtlCol="0" anchor="t">
            <a:spAutoFit/>
          </a:bodyPr>
          <a:lstStyle/>
          <a:p>
            <a:pPr marL="0" marR="0" lvl="0" indent="0" algn="l" defTabSz="609630" rtl="0" eaLnBrk="1" fontAlgn="auto" latinLnBrk="0" hangingPunct="1">
              <a:lnSpc>
                <a:spcPct val="150000"/>
              </a:lnSpc>
              <a:spcBef>
                <a:spcPct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a:ea typeface="+mn-ea"/>
                <a:cs typeface="+mn-cs"/>
              </a:rPr>
              <a:t>Es un conjunto de </a:t>
            </a:r>
            <a:r>
              <a:rPr kumimoji="0" lang="en-US" sz="2000" b="0" i="0" u="none" strike="noStrike" kern="1200" cap="none" spc="0" normalizeH="0" baseline="0" noProof="0" err="1">
                <a:ln>
                  <a:noFill/>
                </a:ln>
                <a:solidFill>
                  <a:srgbClr val="FFFFFF"/>
                </a:solidFill>
                <a:effectLst/>
                <a:uLnTx/>
                <a:uFillTx/>
                <a:latin typeface="Calibri"/>
                <a:ea typeface="+mn-ea"/>
                <a:cs typeface="+mn-cs"/>
              </a:rPr>
              <a:t>modelos</a:t>
            </a:r>
            <a:r>
              <a:rPr kumimoji="0" lang="en-US" sz="2000" b="0" i="0" u="none" strike="noStrike" kern="1200" cap="none" spc="0" normalizeH="0" baseline="0" noProof="0">
                <a:ln>
                  <a:noFill/>
                </a:ln>
                <a:solidFill>
                  <a:srgbClr val="FFFFFF"/>
                </a:solidFill>
                <a:effectLst/>
                <a:uLnTx/>
                <a:uFillTx/>
                <a:latin typeface="Calibri"/>
                <a:ea typeface="+mn-ea"/>
                <a:cs typeface="+mn-cs"/>
              </a:rPr>
              <a:t> de </a:t>
            </a:r>
            <a:r>
              <a:rPr kumimoji="0" lang="en-US" sz="2000" b="0" i="0" u="none" strike="noStrike" kern="1200" cap="none" spc="0" normalizeH="0" baseline="0" noProof="0" err="1">
                <a:ln>
                  <a:noFill/>
                </a:ln>
                <a:solidFill>
                  <a:srgbClr val="FFFFFF"/>
                </a:solidFill>
                <a:effectLst/>
                <a:uLnTx/>
                <a:uFillTx/>
                <a:latin typeface="Calibri"/>
                <a:ea typeface="+mn-ea"/>
                <a:cs typeface="+mn-cs"/>
              </a:rPr>
              <a:t>lenguaje</a:t>
            </a:r>
            <a:r>
              <a:rPr kumimoji="0" lang="en-US" sz="2000" b="0" i="0" u="none" strike="noStrike" kern="1200" cap="none" spc="0" normalizeH="0" baseline="0" noProof="0">
                <a:ln>
                  <a:noFill/>
                </a:ln>
                <a:solidFill>
                  <a:srgbClr val="FFFFFF"/>
                </a:solidFill>
                <a:effectLst/>
                <a:uLnTx/>
                <a:uFillTx/>
                <a:latin typeface="Calibri"/>
                <a:ea typeface="+mn-ea"/>
                <a:cs typeface="+mn-cs"/>
              </a:rPr>
              <a:t> y </a:t>
            </a:r>
            <a:r>
              <a:rPr kumimoji="0" lang="en-US" sz="2000" b="0" i="0" u="none" strike="noStrike" kern="1200" cap="none" spc="0" normalizeH="0" baseline="0" noProof="0" err="1">
                <a:ln>
                  <a:noFill/>
                </a:ln>
                <a:solidFill>
                  <a:srgbClr val="FFFFFF"/>
                </a:solidFill>
                <a:effectLst/>
                <a:uLnTx/>
                <a:uFillTx/>
                <a:latin typeface="Calibri"/>
                <a:ea typeface="+mn-ea"/>
                <a:cs typeface="+mn-cs"/>
              </a:rPr>
              <a:t>técnicas</a:t>
            </a:r>
            <a:r>
              <a:rPr kumimoji="0" lang="en-US" sz="2000" b="0" i="0" u="none" strike="noStrike" kern="1200" cap="none" spc="0" normalizeH="0" baseline="0" noProof="0">
                <a:ln>
                  <a:noFill/>
                </a:ln>
                <a:solidFill>
                  <a:srgbClr val="FFFFFF"/>
                </a:solidFill>
                <a:effectLst/>
                <a:uLnTx/>
                <a:uFillTx/>
                <a:latin typeface="Calibri"/>
                <a:ea typeface="+mn-ea"/>
                <a:cs typeface="+mn-cs"/>
              </a:rPr>
              <a:t> de </a:t>
            </a:r>
            <a:r>
              <a:rPr kumimoji="0" lang="en-US" sz="2000" b="0" i="0" u="none" strike="noStrike" kern="1200" cap="none" spc="0" normalizeH="0" baseline="0" noProof="0" err="1">
                <a:ln>
                  <a:noFill/>
                </a:ln>
                <a:solidFill>
                  <a:srgbClr val="FFFFFF"/>
                </a:solidFill>
                <a:effectLst/>
                <a:uLnTx/>
                <a:uFillTx/>
                <a:latin typeface="Calibri"/>
                <a:ea typeface="+mn-ea"/>
                <a:cs typeface="+mn-cs"/>
              </a:rPr>
              <a:t>aprendizaje</a:t>
            </a:r>
            <a:r>
              <a:rPr kumimoji="0" lang="en-US" sz="2000" b="0" i="0" u="none" strike="noStrike" kern="1200" cap="none" spc="0" normalizeH="0" baseline="0" noProof="0">
                <a:ln>
                  <a:noFill/>
                </a:ln>
                <a:solidFill>
                  <a:srgbClr val="FFFFFF"/>
                </a:solidFill>
                <a:effectLst/>
                <a:uLnTx/>
                <a:uFillTx/>
                <a:latin typeface="Calibri"/>
                <a:ea typeface="+mn-ea"/>
                <a:cs typeface="+mn-cs"/>
              </a:rPr>
              <a:t> a </a:t>
            </a:r>
            <a:r>
              <a:rPr kumimoji="0" lang="en-US" sz="2000" b="0" i="0" u="none" strike="noStrike" kern="1200" cap="none" spc="0" normalizeH="0" baseline="0" noProof="0" err="1">
                <a:ln>
                  <a:noFill/>
                </a:ln>
                <a:solidFill>
                  <a:srgbClr val="FFFFFF"/>
                </a:solidFill>
                <a:effectLst/>
                <a:uLnTx/>
                <a:uFillTx/>
                <a:latin typeface="Calibri"/>
                <a:ea typeface="+mn-ea"/>
                <a:cs typeface="+mn-cs"/>
              </a:rPr>
              <a:t>través</a:t>
            </a:r>
            <a:r>
              <a:rPr kumimoji="0" lang="en-US" sz="2000" b="0" i="0" u="none" strike="noStrike" kern="1200" cap="none" spc="0" normalizeH="0" baseline="0" noProof="0">
                <a:ln>
                  <a:noFill/>
                </a:ln>
                <a:solidFill>
                  <a:srgbClr val="FFFFFF"/>
                </a:solidFill>
                <a:effectLst/>
                <a:uLnTx/>
                <a:uFillTx/>
                <a:latin typeface="Calibri"/>
                <a:ea typeface="+mn-ea"/>
                <a:cs typeface="+mn-cs"/>
              </a:rPr>
              <a:t> del </a:t>
            </a:r>
            <a:r>
              <a:rPr kumimoji="0" lang="en-US" sz="2000" b="0" i="0" u="none" strike="noStrike" kern="1200" cap="none" spc="0" normalizeH="0" baseline="0" noProof="0" err="1">
                <a:ln>
                  <a:noFill/>
                </a:ln>
                <a:solidFill>
                  <a:srgbClr val="FFFFFF"/>
                </a:solidFill>
                <a:effectLst/>
                <a:uLnTx/>
                <a:uFillTx/>
                <a:latin typeface="Calibri"/>
                <a:ea typeface="+mn-ea"/>
                <a:cs typeface="+mn-cs"/>
              </a:rPr>
              <a:t>procesamiento</a:t>
            </a:r>
            <a:r>
              <a:rPr kumimoji="0" lang="en-US" sz="2000" b="0" i="0" u="none" strike="noStrike" kern="1200" cap="none" spc="0" normalizeH="0" baseline="0" noProof="0">
                <a:ln>
                  <a:noFill/>
                </a:ln>
                <a:solidFill>
                  <a:srgbClr val="FFFFFF"/>
                </a:solidFill>
                <a:effectLst/>
                <a:uLnTx/>
                <a:uFillTx/>
                <a:latin typeface="Calibri"/>
                <a:ea typeface="+mn-ea"/>
                <a:cs typeface="+mn-cs"/>
              </a:rPr>
              <a:t> del </a:t>
            </a:r>
            <a:r>
              <a:rPr kumimoji="0" lang="en-US" sz="2000" b="0" i="0" u="none" strike="noStrike" kern="1200" cap="none" spc="0" normalizeH="0" baseline="0" noProof="0" err="1">
                <a:ln>
                  <a:noFill/>
                </a:ln>
                <a:solidFill>
                  <a:srgbClr val="FFFFFF"/>
                </a:solidFill>
                <a:effectLst/>
                <a:uLnTx/>
                <a:uFillTx/>
                <a:latin typeface="Calibri"/>
                <a:ea typeface="+mn-ea"/>
                <a:cs typeface="+mn-cs"/>
              </a:rPr>
              <a:t>lenguaje</a:t>
            </a:r>
            <a:r>
              <a:rPr kumimoji="0" lang="en-US" sz="2000" b="0" i="0" u="none" strike="noStrike" kern="1200" cap="none" spc="0" normalizeH="0" baseline="0" noProof="0">
                <a:ln>
                  <a:noFill/>
                </a:ln>
                <a:solidFill>
                  <a:srgbClr val="FFFFFF"/>
                </a:solidFill>
                <a:effectLst/>
                <a:uLnTx/>
                <a:uFillTx/>
                <a:latin typeface="Calibri"/>
                <a:ea typeface="+mn-ea"/>
                <a:cs typeface="+mn-cs"/>
              </a:rPr>
              <a:t> natural (PLN) </a:t>
            </a:r>
            <a:r>
              <a:rPr kumimoji="0" lang="en-US" sz="2000" b="0" i="0" u="none" strike="noStrike" kern="1200" cap="none" spc="0" normalizeH="0" baseline="0" noProof="0" err="1">
                <a:ln>
                  <a:noFill/>
                </a:ln>
                <a:solidFill>
                  <a:srgbClr val="FFFFFF"/>
                </a:solidFill>
                <a:effectLst/>
                <a:uLnTx/>
                <a:uFillTx/>
                <a:latin typeface="Calibri"/>
                <a:ea typeface="+mn-ea"/>
                <a:cs typeface="+mn-cs"/>
              </a:rPr>
              <a:t>en</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el</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cual</a:t>
            </a:r>
            <a:r>
              <a:rPr kumimoji="0" lang="en-US" sz="2000" b="0" i="0" u="none" strike="noStrike" kern="1200" cap="none" spc="0" normalizeH="0" baseline="0" noProof="0">
                <a:ln>
                  <a:noFill/>
                </a:ln>
                <a:solidFill>
                  <a:srgbClr val="FFFFFF"/>
                </a:solidFill>
                <a:effectLst/>
                <a:uLnTx/>
                <a:uFillTx/>
                <a:latin typeface="Calibri"/>
                <a:ea typeface="+mn-ea"/>
                <a:cs typeface="+mn-cs"/>
              </a:rPr>
              <a:t> las palabras o </a:t>
            </a:r>
            <a:r>
              <a:rPr kumimoji="0" lang="en-US" sz="2000" b="0" i="0" u="none" strike="noStrike" kern="1200" cap="none" spc="0" normalizeH="0" baseline="0" noProof="0" err="1">
                <a:ln>
                  <a:noFill/>
                </a:ln>
                <a:solidFill>
                  <a:srgbClr val="FFFFFF"/>
                </a:solidFill>
                <a:effectLst/>
                <a:uLnTx/>
                <a:uFillTx/>
                <a:latin typeface="Calibri"/>
                <a:ea typeface="+mn-ea"/>
                <a:cs typeface="+mn-cs"/>
              </a:rPr>
              <a:t>frases</a:t>
            </a:r>
            <a:r>
              <a:rPr kumimoji="0" lang="en-US" sz="2000" b="0" i="0" u="none" strike="noStrike" kern="1200" cap="none" spc="0" normalizeH="0" baseline="0" noProof="0">
                <a:ln>
                  <a:noFill/>
                </a:ln>
                <a:solidFill>
                  <a:srgbClr val="FFFFFF"/>
                </a:solidFill>
                <a:effectLst/>
                <a:uLnTx/>
                <a:uFillTx/>
                <a:latin typeface="Calibri"/>
                <a:ea typeface="+mn-ea"/>
                <a:cs typeface="+mn-cs"/>
              </a:rPr>
              <a:t> son </a:t>
            </a:r>
            <a:r>
              <a:rPr kumimoji="0" lang="en-US" sz="2000" b="0" i="0" u="none" strike="noStrike" kern="1200" cap="none" spc="0" normalizeH="0" baseline="0" noProof="0" err="1">
                <a:ln>
                  <a:noFill/>
                </a:ln>
                <a:solidFill>
                  <a:srgbClr val="FFFFFF"/>
                </a:solidFill>
                <a:effectLst/>
                <a:uLnTx/>
                <a:uFillTx/>
                <a:latin typeface="Calibri"/>
                <a:ea typeface="+mn-ea"/>
                <a:cs typeface="+mn-cs"/>
              </a:rPr>
              <a:t>representada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como</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vectores</a:t>
            </a:r>
            <a:r>
              <a:rPr kumimoji="0" lang="en-US" sz="2000" b="0" i="0" u="none" strike="noStrike" kern="1200" cap="none" spc="0" normalizeH="0" baseline="0" noProof="0">
                <a:ln>
                  <a:noFill/>
                </a:ln>
                <a:solidFill>
                  <a:srgbClr val="FFFFFF"/>
                </a:solidFill>
                <a:effectLst/>
                <a:uLnTx/>
                <a:uFillTx/>
                <a:latin typeface="Calibri"/>
                <a:ea typeface="+mn-ea"/>
                <a:cs typeface="+mn-cs"/>
              </a:rPr>
              <a:t> de </a:t>
            </a:r>
            <a:r>
              <a:rPr kumimoji="0" lang="en-US" sz="2000" b="0" i="0" u="none" strike="noStrike" kern="1200" cap="none" spc="0" normalizeH="0" baseline="0" noProof="0" err="1">
                <a:ln>
                  <a:noFill/>
                </a:ln>
                <a:solidFill>
                  <a:srgbClr val="FFFFFF"/>
                </a:solidFill>
                <a:effectLst/>
                <a:uLnTx/>
                <a:uFillTx/>
                <a:latin typeface="Calibri"/>
                <a:ea typeface="+mn-ea"/>
                <a:cs typeface="+mn-cs"/>
              </a:rPr>
              <a:t>número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reales</a:t>
            </a:r>
            <a:r>
              <a:rPr kumimoji="0" lang="en-US" sz="2000" b="0" i="0" u="none" strike="noStrike" kern="1200" cap="none" spc="0" normalizeH="0" baseline="0" noProof="0">
                <a:ln>
                  <a:noFill/>
                </a:ln>
                <a:solidFill>
                  <a:srgbClr val="FFFFFF"/>
                </a:solidFill>
                <a:effectLst/>
                <a:uLnTx/>
                <a:uFillTx/>
                <a:latin typeface="Calibri"/>
                <a:ea typeface="+mn-ea"/>
                <a:cs typeface="+mn-cs"/>
              </a:rPr>
              <a:t>. </a:t>
            </a:r>
          </a:p>
          <a:p>
            <a:pPr marL="0" marR="0" lvl="0" indent="0" algn="l" defTabSz="609630" rtl="0" eaLnBrk="1" fontAlgn="auto" latinLnBrk="0" hangingPunct="1">
              <a:lnSpc>
                <a:spcPct val="150000"/>
              </a:lnSpc>
              <a:spcBef>
                <a:spcPct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a:ea typeface="+mn-ea"/>
              <a:cs typeface="+mn-cs"/>
            </a:endParaRPr>
          </a:p>
        </p:txBody>
      </p:sp>
      <p:sp>
        <p:nvSpPr>
          <p:cNvPr id="5" name="TextBox 4">
            <a:extLst>
              <a:ext uri="{FF2B5EF4-FFF2-40B4-BE49-F238E27FC236}">
                <a16:creationId xmlns:a16="http://schemas.microsoft.com/office/drawing/2014/main" id="{5E8E6202-81BB-965A-3E34-A84D5DBA4C6D}"/>
              </a:ext>
            </a:extLst>
          </p:cNvPr>
          <p:cNvSpPr txBox="1"/>
          <p:nvPr/>
        </p:nvSpPr>
        <p:spPr>
          <a:xfrm>
            <a:off x="926496" y="2410455"/>
            <a:ext cx="2336800" cy="570541"/>
          </a:xfrm>
          <a:prstGeom prst="rect">
            <a:avLst/>
          </a:prstGeom>
        </p:spPr>
        <p:txBody>
          <a:bodyPr wrap="square" lIns="0" tIns="0" rIns="0" bIns="0" rtlCol="0" anchor="t">
            <a:spAutoFit/>
          </a:bodyPr>
          <a:lstStyle/>
          <a:p>
            <a:pPr marL="0" marR="0" lvl="0" indent="0" algn="ctr" defTabSz="609630" rtl="0" eaLnBrk="1" fontAlgn="auto" latinLnBrk="0" hangingPunct="1">
              <a:lnSpc>
                <a:spcPts val="4853"/>
              </a:lnSpc>
              <a:spcBef>
                <a:spcPts val="0"/>
              </a:spcBef>
              <a:spcAft>
                <a:spcPts val="0"/>
              </a:spcAft>
              <a:buClrTx/>
              <a:buSzTx/>
              <a:buFontTx/>
              <a:buNone/>
              <a:tabLst/>
              <a:defRPr/>
            </a:pP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Qué</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es?</a:t>
            </a:r>
          </a:p>
        </p:txBody>
      </p:sp>
      <p:grpSp>
        <p:nvGrpSpPr>
          <p:cNvPr id="6" name="Graphic 4">
            <a:extLst>
              <a:ext uri="{FF2B5EF4-FFF2-40B4-BE49-F238E27FC236}">
                <a16:creationId xmlns:a16="http://schemas.microsoft.com/office/drawing/2014/main" id="{280F1503-68BC-22C0-0120-1AD48A6DF7DE}"/>
              </a:ext>
            </a:extLst>
          </p:cNvPr>
          <p:cNvGrpSpPr>
            <a:grpSpLocks noChangeAspect="1"/>
          </p:cNvGrpSpPr>
          <p:nvPr/>
        </p:nvGrpSpPr>
        <p:grpSpPr>
          <a:xfrm>
            <a:off x="720373" y="2417179"/>
            <a:ext cx="583751" cy="583200"/>
            <a:chOff x="1952125" y="1402723"/>
            <a:chExt cx="362313" cy="361971"/>
          </a:xfrm>
          <a:solidFill>
            <a:srgbClr val="0097A9"/>
          </a:solidFill>
        </p:grpSpPr>
        <p:sp>
          <p:nvSpPr>
            <p:cNvPr id="7" name="Graphic 4">
              <a:extLst>
                <a:ext uri="{FF2B5EF4-FFF2-40B4-BE49-F238E27FC236}">
                  <a16:creationId xmlns:a16="http://schemas.microsoft.com/office/drawing/2014/main" id="{BE08C6A9-971B-A184-4C68-FCC80C6E20A6}"/>
                </a:ext>
              </a:extLst>
            </p:cNvPr>
            <p:cNvSpPr/>
            <p:nvPr/>
          </p:nvSpPr>
          <p:spPr>
            <a:xfrm>
              <a:off x="2053562" y="1640645"/>
              <a:ext cx="172691" cy="37745"/>
            </a:xfrm>
            <a:custGeom>
              <a:avLst/>
              <a:gdLst>
                <a:gd name="connsiteX0" fmla="*/ 18694 w 172691"/>
                <a:gd name="connsiteY0" fmla="*/ 23183 h 37745"/>
                <a:gd name="connsiteX1" fmla="*/ 18055 w 172691"/>
                <a:gd name="connsiteY1" fmla="*/ 25736 h 37745"/>
                <a:gd name="connsiteX2" fmla="*/ 11665 w 172691"/>
                <a:gd name="connsiteY2" fmla="*/ 30844 h 37745"/>
                <a:gd name="connsiteX3" fmla="*/ 10387 w 172691"/>
                <a:gd name="connsiteY3" fmla="*/ 30844 h 37745"/>
                <a:gd name="connsiteX4" fmla="*/ 5914 w 172691"/>
                <a:gd name="connsiteY4" fmla="*/ 23183 h 37745"/>
                <a:gd name="connsiteX5" fmla="*/ 6553 w 172691"/>
                <a:gd name="connsiteY5" fmla="*/ 20629 h 37745"/>
                <a:gd name="connsiteX6" fmla="*/ 6553 w 172691"/>
                <a:gd name="connsiteY6" fmla="*/ 16799 h 37745"/>
                <a:gd name="connsiteX7" fmla="*/ 5914 w 172691"/>
                <a:gd name="connsiteY7" fmla="*/ 13607 h 37745"/>
                <a:gd name="connsiteX8" fmla="*/ 11026 w 172691"/>
                <a:gd name="connsiteY8" fmla="*/ 5946 h 37745"/>
                <a:gd name="connsiteX9" fmla="*/ 18694 w 172691"/>
                <a:gd name="connsiteY9" fmla="*/ 11053 h 37745"/>
                <a:gd name="connsiteX10" fmla="*/ 19333 w 172691"/>
                <a:gd name="connsiteY10" fmla="*/ 14245 h 37745"/>
                <a:gd name="connsiteX11" fmla="*/ 18694 w 172691"/>
                <a:gd name="connsiteY11" fmla="*/ 23183 h 37745"/>
                <a:gd name="connsiteX12" fmla="*/ 171413 w 172691"/>
                <a:gd name="connsiteY12" fmla="*/ 4669 h 37745"/>
                <a:gd name="connsiteX13" fmla="*/ 172691 w 172691"/>
                <a:gd name="connsiteY13" fmla="*/ 839 h 37745"/>
                <a:gd name="connsiteX14" fmla="*/ 16777 w 172691"/>
                <a:gd name="connsiteY14" fmla="*/ 839 h 37745"/>
                <a:gd name="connsiteX15" fmla="*/ 15499 w 172691"/>
                <a:gd name="connsiteY15" fmla="*/ 839 h 37745"/>
                <a:gd name="connsiteX16" fmla="*/ 3358 w 172691"/>
                <a:gd name="connsiteY16" fmla="*/ 2116 h 37745"/>
                <a:gd name="connsiteX17" fmla="*/ 163 w 172691"/>
                <a:gd name="connsiteY17" fmla="*/ 9776 h 37745"/>
                <a:gd name="connsiteX18" fmla="*/ 163 w 172691"/>
                <a:gd name="connsiteY18" fmla="*/ 27013 h 37745"/>
                <a:gd name="connsiteX19" fmla="*/ 3358 w 172691"/>
                <a:gd name="connsiteY19" fmla="*/ 35951 h 37745"/>
                <a:gd name="connsiteX20" fmla="*/ 15499 w 172691"/>
                <a:gd name="connsiteY20" fmla="*/ 36589 h 37745"/>
                <a:gd name="connsiteX21" fmla="*/ 17416 w 172691"/>
                <a:gd name="connsiteY21" fmla="*/ 35951 h 37745"/>
                <a:gd name="connsiteX22" fmla="*/ 172691 w 172691"/>
                <a:gd name="connsiteY22" fmla="*/ 35951 h 37745"/>
                <a:gd name="connsiteX23" fmla="*/ 171413 w 172691"/>
                <a:gd name="connsiteY23" fmla="*/ 32120 h 37745"/>
                <a:gd name="connsiteX24" fmla="*/ 171413 w 172691"/>
                <a:gd name="connsiteY24" fmla="*/ 4669 h 3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2691" h="37745">
                  <a:moveTo>
                    <a:pt x="18694" y="23183"/>
                  </a:moveTo>
                  <a:lnTo>
                    <a:pt x="18055" y="25736"/>
                  </a:lnTo>
                  <a:cubicBezTo>
                    <a:pt x="17416" y="28928"/>
                    <a:pt x="14860" y="30844"/>
                    <a:pt x="11665" y="30844"/>
                  </a:cubicBezTo>
                  <a:lnTo>
                    <a:pt x="10387" y="30844"/>
                  </a:lnTo>
                  <a:cubicBezTo>
                    <a:pt x="7192" y="30205"/>
                    <a:pt x="4636" y="26375"/>
                    <a:pt x="5914" y="23183"/>
                  </a:cubicBezTo>
                  <a:lnTo>
                    <a:pt x="6553" y="20629"/>
                  </a:lnTo>
                  <a:cubicBezTo>
                    <a:pt x="6553" y="19352"/>
                    <a:pt x="6553" y="18076"/>
                    <a:pt x="6553" y="16799"/>
                  </a:cubicBezTo>
                  <a:lnTo>
                    <a:pt x="5914" y="13607"/>
                  </a:lnTo>
                  <a:cubicBezTo>
                    <a:pt x="5275" y="9776"/>
                    <a:pt x="7192" y="6584"/>
                    <a:pt x="11026" y="5946"/>
                  </a:cubicBezTo>
                  <a:cubicBezTo>
                    <a:pt x="14860" y="5308"/>
                    <a:pt x="18055" y="7223"/>
                    <a:pt x="18694" y="11053"/>
                  </a:cubicBezTo>
                  <a:lnTo>
                    <a:pt x="19333" y="14245"/>
                  </a:lnTo>
                  <a:cubicBezTo>
                    <a:pt x="19333" y="17437"/>
                    <a:pt x="19333" y="20629"/>
                    <a:pt x="18694" y="23183"/>
                  </a:cubicBezTo>
                  <a:moveTo>
                    <a:pt x="171413" y="4669"/>
                  </a:moveTo>
                  <a:lnTo>
                    <a:pt x="172691" y="839"/>
                  </a:lnTo>
                  <a:lnTo>
                    <a:pt x="16777" y="839"/>
                  </a:lnTo>
                  <a:lnTo>
                    <a:pt x="15499" y="839"/>
                  </a:lnTo>
                  <a:cubicBezTo>
                    <a:pt x="11665" y="-438"/>
                    <a:pt x="7192" y="-438"/>
                    <a:pt x="3358" y="2116"/>
                  </a:cubicBezTo>
                  <a:cubicBezTo>
                    <a:pt x="802" y="4031"/>
                    <a:pt x="-476" y="7223"/>
                    <a:pt x="163" y="9776"/>
                  </a:cubicBezTo>
                  <a:lnTo>
                    <a:pt x="163" y="27013"/>
                  </a:lnTo>
                  <a:cubicBezTo>
                    <a:pt x="-476" y="30205"/>
                    <a:pt x="802" y="33397"/>
                    <a:pt x="3358" y="35951"/>
                  </a:cubicBezTo>
                  <a:cubicBezTo>
                    <a:pt x="7192" y="37866"/>
                    <a:pt x="11665" y="38504"/>
                    <a:pt x="15499" y="36589"/>
                  </a:cubicBezTo>
                  <a:cubicBezTo>
                    <a:pt x="16138" y="35951"/>
                    <a:pt x="16777" y="35951"/>
                    <a:pt x="17416" y="35951"/>
                  </a:cubicBezTo>
                  <a:lnTo>
                    <a:pt x="172691" y="35951"/>
                  </a:lnTo>
                  <a:lnTo>
                    <a:pt x="171413" y="32120"/>
                  </a:lnTo>
                  <a:cubicBezTo>
                    <a:pt x="168218" y="23183"/>
                    <a:pt x="168218" y="13607"/>
                    <a:pt x="171413" y="4669"/>
                  </a:cubicBezTo>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97A9"/>
                </a:solidFill>
                <a:effectLst/>
                <a:uLnTx/>
                <a:uFillTx/>
                <a:latin typeface="Calibri"/>
                <a:ea typeface="+mn-ea"/>
                <a:cs typeface="+mn-cs"/>
              </a:endParaRPr>
            </a:p>
          </p:txBody>
        </p:sp>
        <p:sp>
          <p:nvSpPr>
            <p:cNvPr id="8" name="Graphic 4">
              <a:extLst>
                <a:ext uri="{FF2B5EF4-FFF2-40B4-BE49-F238E27FC236}">
                  <a16:creationId xmlns:a16="http://schemas.microsoft.com/office/drawing/2014/main" id="{3D336603-E5FC-4394-1F15-98C6E6A98EA2}"/>
                </a:ext>
              </a:extLst>
            </p:cNvPr>
            <p:cNvSpPr/>
            <p:nvPr/>
          </p:nvSpPr>
          <p:spPr>
            <a:xfrm>
              <a:off x="2122098" y="1529764"/>
              <a:ext cx="5750" cy="31281"/>
            </a:xfrm>
            <a:custGeom>
              <a:avLst/>
              <a:gdLst>
                <a:gd name="connsiteX0" fmla="*/ 5751 w 5750"/>
                <a:gd name="connsiteY0" fmla="*/ 30643 h 31281"/>
                <a:gd name="connsiteX1" fmla="*/ 5751 w 5750"/>
                <a:gd name="connsiteY1" fmla="*/ 0 h 31281"/>
                <a:gd name="connsiteX2" fmla="*/ 0 w 5750"/>
                <a:gd name="connsiteY2" fmla="*/ 0 h 31281"/>
                <a:gd name="connsiteX3" fmla="*/ 0 w 5750"/>
                <a:gd name="connsiteY3" fmla="*/ 31281 h 31281"/>
                <a:gd name="connsiteX4" fmla="*/ 5751 w 5750"/>
                <a:gd name="connsiteY4" fmla="*/ 30643 h 31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0" h="31281">
                  <a:moveTo>
                    <a:pt x="5751" y="30643"/>
                  </a:moveTo>
                  <a:lnTo>
                    <a:pt x="5751" y="0"/>
                  </a:lnTo>
                  <a:lnTo>
                    <a:pt x="0" y="0"/>
                  </a:lnTo>
                  <a:lnTo>
                    <a:pt x="0" y="31281"/>
                  </a:lnTo>
                  <a:cubicBezTo>
                    <a:pt x="1917" y="30005"/>
                    <a:pt x="4473" y="30005"/>
                    <a:pt x="5751" y="30643"/>
                  </a:cubicBezTo>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97A9"/>
                </a:solidFill>
                <a:effectLst/>
                <a:uLnTx/>
                <a:uFillTx/>
                <a:latin typeface="Calibri"/>
                <a:ea typeface="+mn-ea"/>
                <a:cs typeface="+mn-cs"/>
              </a:endParaRPr>
            </a:p>
          </p:txBody>
        </p:sp>
        <p:sp>
          <p:nvSpPr>
            <p:cNvPr id="9" name="Graphic 4">
              <a:extLst>
                <a:ext uri="{FF2B5EF4-FFF2-40B4-BE49-F238E27FC236}">
                  <a16:creationId xmlns:a16="http://schemas.microsoft.com/office/drawing/2014/main" id="{A2358E6F-F7B9-45DF-7E1E-DCDA30EEB713}"/>
                </a:ext>
              </a:extLst>
            </p:cNvPr>
            <p:cNvSpPr/>
            <p:nvPr/>
          </p:nvSpPr>
          <p:spPr>
            <a:xfrm>
              <a:off x="1952125" y="1402723"/>
              <a:ext cx="362313" cy="361971"/>
            </a:xfrm>
            <a:custGeom>
              <a:avLst/>
              <a:gdLst>
                <a:gd name="connsiteX0" fmla="*/ 284991 w 362313"/>
                <a:gd name="connsiteY0" fmla="*/ 266212 h 361971"/>
                <a:gd name="connsiteX1" fmla="*/ 287547 w 362313"/>
                <a:gd name="connsiteY1" fmla="*/ 273873 h 361971"/>
                <a:gd name="connsiteX2" fmla="*/ 289464 w 362313"/>
                <a:gd name="connsiteY2" fmla="*/ 273873 h 361971"/>
                <a:gd name="connsiteX3" fmla="*/ 295854 w 362313"/>
                <a:gd name="connsiteY3" fmla="*/ 280257 h 361971"/>
                <a:gd name="connsiteX4" fmla="*/ 289464 w 362313"/>
                <a:gd name="connsiteY4" fmla="*/ 286641 h 361971"/>
                <a:gd name="connsiteX5" fmla="*/ 120131 w 362313"/>
                <a:gd name="connsiteY5" fmla="*/ 286641 h 361971"/>
                <a:gd name="connsiteX6" fmla="*/ 110546 w 362313"/>
                <a:gd name="connsiteY6" fmla="*/ 287918 h 361971"/>
                <a:gd name="connsiteX7" fmla="*/ 97127 w 362313"/>
                <a:gd name="connsiteY7" fmla="*/ 283449 h 361971"/>
                <a:gd name="connsiteX8" fmla="*/ 88820 w 362313"/>
                <a:gd name="connsiteY8" fmla="*/ 264297 h 361971"/>
                <a:gd name="connsiteX9" fmla="*/ 88820 w 362313"/>
                <a:gd name="connsiteY9" fmla="*/ 247698 h 361971"/>
                <a:gd name="connsiteX10" fmla="*/ 97127 w 362313"/>
                <a:gd name="connsiteY10" fmla="*/ 229823 h 361971"/>
                <a:gd name="connsiteX11" fmla="*/ 119492 w 362313"/>
                <a:gd name="connsiteY11" fmla="*/ 225993 h 361971"/>
                <a:gd name="connsiteX12" fmla="*/ 288825 w 362313"/>
                <a:gd name="connsiteY12" fmla="*/ 225993 h 361971"/>
                <a:gd name="connsiteX13" fmla="*/ 295215 w 362313"/>
                <a:gd name="connsiteY13" fmla="*/ 232377 h 361971"/>
                <a:gd name="connsiteX14" fmla="*/ 288825 w 362313"/>
                <a:gd name="connsiteY14" fmla="*/ 238761 h 361971"/>
                <a:gd name="connsiteX15" fmla="*/ 288825 w 362313"/>
                <a:gd name="connsiteY15" fmla="*/ 238761 h 361971"/>
                <a:gd name="connsiteX16" fmla="*/ 287547 w 362313"/>
                <a:gd name="connsiteY16" fmla="*/ 238761 h 361971"/>
                <a:gd name="connsiteX17" fmla="*/ 284991 w 362313"/>
                <a:gd name="connsiteY17" fmla="*/ 246422 h 361971"/>
                <a:gd name="connsiteX18" fmla="*/ 284991 w 362313"/>
                <a:gd name="connsiteY18" fmla="*/ 266212 h 361971"/>
                <a:gd name="connsiteX19" fmla="*/ 261348 w 362313"/>
                <a:gd name="connsiteY19" fmla="*/ 190881 h 361971"/>
                <a:gd name="connsiteX20" fmla="*/ 262626 w 362313"/>
                <a:gd name="connsiteY20" fmla="*/ 197903 h 361971"/>
                <a:gd name="connsiteX21" fmla="*/ 257514 w 362313"/>
                <a:gd name="connsiteY21" fmla="*/ 204926 h 361971"/>
                <a:gd name="connsiteX22" fmla="*/ 256237 w 362313"/>
                <a:gd name="connsiteY22" fmla="*/ 204926 h 361971"/>
                <a:gd name="connsiteX23" fmla="*/ 249847 w 362313"/>
                <a:gd name="connsiteY23" fmla="*/ 199819 h 361971"/>
                <a:gd name="connsiteX24" fmla="*/ 248569 w 362313"/>
                <a:gd name="connsiteY24" fmla="*/ 192796 h 361971"/>
                <a:gd name="connsiteX25" fmla="*/ 248569 w 362313"/>
                <a:gd name="connsiteY25" fmla="*/ 176198 h 361971"/>
                <a:gd name="connsiteX26" fmla="*/ 249847 w 362313"/>
                <a:gd name="connsiteY26" fmla="*/ 170452 h 361971"/>
                <a:gd name="connsiteX27" fmla="*/ 257514 w 362313"/>
                <a:gd name="connsiteY27" fmla="*/ 165345 h 361971"/>
                <a:gd name="connsiteX28" fmla="*/ 262626 w 362313"/>
                <a:gd name="connsiteY28" fmla="*/ 173006 h 361971"/>
                <a:gd name="connsiteX29" fmla="*/ 262626 w 362313"/>
                <a:gd name="connsiteY29" fmla="*/ 173006 h 361971"/>
                <a:gd name="connsiteX30" fmla="*/ 261348 w 362313"/>
                <a:gd name="connsiteY30" fmla="*/ 178752 h 361971"/>
                <a:gd name="connsiteX31" fmla="*/ 261348 w 362313"/>
                <a:gd name="connsiteY31" fmla="*/ 190881 h 361971"/>
                <a:gd name="connsiteX32" fmla="*/ 68372 w 362313"/>
                <a:gd name="connsiteY32" fmla="*/ 215779 h 361971"/>
                <a:gd name="connsiteX33" fmla="*/ 74762 w 362313"/>
                <a:gd name="connsiteY33" fmla="*/ 209395 h 361971"/>
                <a:gd name="connsiteX34" fmla="*/ 78596 w 362313"/>
                <a:gd name="connsiteY34" fmla="*/ 209395 h 361971"/>
                <a:gd name="connsiteX35" fmla="*/ 80513 w 362313"/>
                <a:gd name="connsiteY35" fmla="*/ 199180 h 361971"/>
                <a:gd name="connsiteX36" fmla="*/ 80513 w 362313"/>
                <a:gd name="connsiteY36" fmla="*/ 171091 h 361971"/>
                <a:gd name="connsiteX37" fmla="*/ 78596 w 362313"/>
                <a:gd name="connsiteY37" fmla="*/ 160876 h 361971"/>
                <a:gd name="connsiteX38" fmla="*/ 74762 w 362313"/>
                <a:gd name="connsiteY38" fmla="*/ 160876 h 361971"/>
                <a:gd name="connsiteX39" fmla="*/ 68372 w 362313"/>
                <a:gd name="connsiteY39" fmla="*/ 154492 h 361971"/>
                <a:gd name="connsiteX40" fmla="*/ 74762 w 362313"/>
                <a:gd name="connsiteY40" fmla="*/ 148108 h 361971"/>
                <a:gd name="connsiteX41" fmla="*/ 146969 w 362313"/>
                <a:gd name="connsiteY41" fmla="*/ 148108 h 361971"/>
                <a:gd name="connsiteX42" fmla="*/ 153358 w 362313"/>
                <a:gd name="connsiteY42" fmla="*/ 154492 h 361971"/>
                <a:gd name="connsiteX43" fmla="*/ 146969 w 362313"/>
                <a:gd name="connsiteY43" fmla="*/ 160876 h 361971"/>
                <a:gd name="connsiteX44" fmla="*/ 92015 w 362313"/>
                <a:gd name="connsiteY44" fmla="*/ 160876 h 361971"/>
                <a:gd name="connsiteX45" fmla="*/ 93293 w 362313"/>
                <a:gd name="connsiteY45" fmla="*/ 169176 h 361971"/>
                <a:gd name="connsiteX46" fmla="*/ 93293 w 362313"/>
                <a:gd name="connsiteY46" fmla="*/ 201095 h 361971"/>
                <a:gd name="connsiteX47" fmla="*/ 92015 w 362313"/>
                <a:gd name="connsiteY47" fmla="*/ 209395 h 361971"/>
                <a:gd name="connsiteX48" fmla="*/ 257514 w 362313"/>
                <a:gd name="connsiteY48" fmla="*/ 209395 h 361971"/>
                <a:gd name="connsiteX49" fmla="*/ 258792 w 362313"/>
                <a:gd name="connsiteY49" fmla="*/ 209395 h 361971"/>
                <a:gd name="connsiteX50" fmla="*/ 265182 w 362313"/>
                <a:gd name="connsiteY50" fmla="*/ 208118 h 361971"/>
                <a:gd name="connsiteX51" fmla="*/ 269016 w 362313"/>
                <a:gd name="connsiteY51" fmla="*/ 196627 h 361971"/>
                <a:gd name="connsiteX52" fmla="*/ 269016 w 362313"/>
                <a:gd name="connsiteY52" fmla="*/ 174283 h 361971"/>
                <a:gd name="connsiteX53" fmla="*/ 269016 w 362313"/>
                <a:gd name="connsiteY53" fmla="*/ 173644 h 361971"/>
                <a:gd name="connsiteX54" fmla="*/ 265821 w 362313"/>
                <a:gd name="connsiteY54" fmla="*/ 160876 h 361971"/>
                <a:gd name="connsiteX55" fmla="*/ 259431 w 362313"/>
                <a:gd name="connsiteY55" fmla="*/ 160238 h 361971"/>
                <a:gd name="connsiteX56" fmla="*/ 257514 w 362313"/>
                <a:gd name="connsiteY56" fmla="*/ 160876 h 361971"/>
                <a:gd name="connsiteX57" fmla="*/ 200005 w 362313"/>
                <a:gd name="connsiteY57" fmla="*/ 160876 h 361971"/>
                <a:gd name="connsiteX58" fmla="*/ 193615 w 362313"/>
                <a:gd name="connsiteY58" fmla="*/ 154492 h 361971"/>
                <a:gd name="connsiteX59" fmla="*/ 200005 w 362313"/>
                <a:gd name="connsiteY59" fmla="*/ 148108 h 361971"/>
                <a:gd name="connsiteX60" fmla="*/ 256237 w 362313"/>
                <a:gd name="connsiteY60" fmla="*/ 148108 h 361971"/>
                <a:gd name="connsiteX61" fmla="*/ 273489 w 362313"/>
                <a:gd name="connsiteY61" fmla="*/ 150662 h 361971"/>
                <a:gd name="connsiteX62" fmla="*/ 281157 w 362313"/>
                <a:gd name="connsiteY62" fmla="*/ 174283 h 361971"/>
                <a:gd name="connsiteX63" fmla="*/ 281157 w 362313"/>
                <a:gd name="connsiteY63" fmla="*/ 195988 h 361971"/>
                <a:gd name="connsiteX64" fmla="*/ 272850 w 362313"/>
                <a:gd name="connsiteY64" fmla="*/ 217694 h 361971"/>
                <a:gd name="connsiteX65" fmla="*/ 260071 w 362313"/>
                <a:gd name="connsiteY65" fmla="*/ 222163 h 361971"/>
                <a:gd name="connsiteX66" fmla="*/ 256237 w 362313"/>
                <a:gd name="connsiteY66" fmla="*/ 221524 h 361971"/>
                <a:gd name="connsiteX67" fmla="*/ 74762 w 362313"/>
                <a:gd name="connsiteY67" fmla="*/ 221524 h 361971"/>
                <a:gd name="connsiteX68" fmla="*/ 68372 w 362313"/>
                <a:gd name="connsiteY68" fmla="*/ 215779 h 361971"/>
                <a:gd name="connsiteX69" fmla="*/ 109268 w 362313"/>
                <a:gd name="connsiteY69" fmla="*/ 104697 h 361971"/>
                <a:gd name="connsiteX70" fmla="*/ 108629 w 362313"/>
                <a:gd name="connsiteY70" fmla="*/ 99590 h 361971"/>
                <a:gd name="connsiteX71" fmla="*/ 113741 w 362313"/>
                <a:gd name="connsiteY71" fmla="*/ 91929 h 361971"/>
                <a:gd name="connsiteX72" fmla="*/ 113741 w 362313"/>
                <a:gd name="connsiteY72" fmla="*/ 91929 h 361971"/>
                <a:gd name="connsiteX73" fmla="*/ 120770 w 362313"/>
                <a:gd name="connsiteY73" fmla="*/ 97037 h 361971"/>
                <a:gd name="connsiteX74" fmla="*/ 121409 w 362313"/>
                <a:gd name="connsiteY74" fmla="*/ 102144 h 361971"/>
                <a:gd name="connsiteX75" fmla="*/ 121409 w 362313"/>
                <a:gd name="connsiteY75" fmla="*/ 114912 h 361971"/>
                <a:gd name="connsiteX76" fmla="*/ 120770 w 362313"/>
                <a:gd name="connsiteY76" fmla="*/ 119380 h 361971"/>
                <a:gd name="connsiteX77" fmla="*/ 114380 w 362313"/>
                <a:gd name="connsiteY77" fmla="*/ 124488 h 361971"/>
                <a:gd name="connsiteX78" fmla="*/ 113102 w 362313"/>
                <a:gd name="connsiteY78" fmla="*/ 124488 h 361971"/>
                <a:gd name="connsiteX79" fmla="*/ 107990 w 362313"/>
                <a:gd name="connsiteY79" fmla="*/ 116827 h 361971"/>
                <a:gd name="connsiteX80" fmla="*/ 107990 w 362313"/>
                <a:gd name="connsiteY80" fmla="*/ 116827 h 361971"/>
                <a:gd name="connsiteX81" fmla="*/ 108629 w 362313"/>
                <a:gd name="connsiteY81" fmla="*/ 112358 h 361971"/>
                <a:gd name="connsiteX82" fmla="*/ 109268 w 362313"/>
                <a:gd name="connsiteY82" fmla="*/ 104697 h 361971"/>
                <a:gd name="connsiteX83" fmla="*/ 149524 w 362313"/>
                <a:gd name="connsiteY83" fmla="*/ 126403 h 361971"/>
                <a:gd name="connsiteX84" fmla="*/ 143135 w 362313"/>
                <a:gd name="connsiteY84" fmla="*/ 120019 h 361971"/>
                <a:gd name="connsiteX85" fmla="*/ 149524 w 362313"/>
                <a:gd name="connsiteY85" fmla="*/ 113635 h 361971"/>
                <a:gd name="connsiteX86" fmla="*/ 189781 w 362313"/>
                <a:gd name="connsiteY86" fmla="*/ 113635 h 361971"/>
                <a:gd name="connsiteX87" fmla="*/ 196171 w 362313"/>
                <a:gd name="connsiteY87" fmla="*/ 120019 h 361971"/>
                <a:gd name="connsiteX88" fmla="*/ 189781 w 362313"/>
                <a:gd name="connsiteY88" fmla="*/ 126403 h 361971"/>
                <a:gd name="connsiteX89" fmla="*/ 188503 w 362313"/>
                <a:gd name="connsiteY89" fmla="*/ 126403 h 361971"/>
                <a:gd name="connsiteX90" fmla="*/ 188503 w 362313"/>
                <a:gd name="connsiteY90" fmla="*/ 171729 h 361971"/>
                <a:gd name="connsiteX91" fmla="*/ 182113 w 362313"/>
                <a:gd name="connsiteY91" fmla="*/ 178113 h 361971"/>
                <a:gd name="connsiteX92" fmla="*/ 177640 w 362313"/>
                <a:gd name="connsiteY92" fmla="*/ 176198 h 361971"/>
                <a:gd name="connsiteX93" fmla="*/ 173806 w 362313"/>
                <a:gd name="connsiteY93" fmla="*/ 172368 h 361971"/>
                <a:gd name="connsiteX94" fmla="*/ 168694 w 362313"/>
                <a:gd name="connsiteY94" fmla="*/ 177475 h 361971"/>
                <a:gd name="connsiteX95" fmla="*/ 164221 w 362313"/>
                <a:gd name="connsiteY95" fmla="*/ 179390 h 361971"/>
                <a:gd name="connsiteX96" fmla="*/ 161665 w 362313"/>
                <a:gd name="connsiteY96" fmla="*/ 178752 h 361971"/>
                <a:gd name="connsiteX97" fmla="*/ 157832 w 362313"/>
                <a:gd name="connsiteY97" fmla="*/ 173006 h 361971"/>
                <a:gd name="connsiteX98" fmla="*/ 157832 w 362313"/>
                <a:gd name="connsiteY98" fmla="*/ 127041 h 361971"/>
                <a:gd name="connsiteX99" fmla="*/ 149524 w 362313"/>
                <a:gd name="connsiteY99" fmla="*/ 126403 h 361971"/>
                <a:gd name="connsiteX100" fmla="*/ 88181 w 362313"/>
                <a:gd name="connsiteY100" fmla="*/ 117465 h 361971"/>
                <a:gd name="connsiteX101" fmla="*/ 88181 w 362313"/>
                <a:gd name="connsiteY101" fmla="*/ 98313 h 361971"/>
                <a:gd name="connsiteX102" fmla="*/ 99044 w 362313"/>
                <a:gd name="connsiteY102" fmla="*/ 75331 h 361971"/>
                <a:gd name="connsiteX103" fmla="*/ 113741 w 362313"/>
                <a:gd name="connsiteY103" fmla="*/ 74693 h 361971"/>
                <a:gd name="connsiteX104" fmla="*/ 240262 w 362313"/>
                <a:gd name="connsiteY104" fmla="*/ 76608 h 361971"/>
                <a:gd name="connsiteX105" fmla="*/ 246652 w 362313"/>
                <a:gd name="connsiteY105" fmla="*/ 82992 h 361971"/>
                <a:gd name="connsiteX106" fmla="*/ 240901 w 362313"/>
                <a:gd name="connsiteY106" fmla="*/ 89376 h 361971"/>
                <a:gd name="connsiteX107" fmla="*/ 238984 w 362313"/>
                <a:gd name="connsiteY107" fmla="*/ 98313 h 361971"/>
                <a:gd name="connsiteX108" fmla="*/ 238345 w 362313"/>
                <a:gd name="connsiteY108" fmla="*/ 123211 h 361971"/>
                <a:gd name="connsiteX109" fmla="*/ 239623 w 362313"/>
                <a:gd name="connsiteY109" fmla="*/ 132148 h 361971"/>
                <a:gd name="connsiteX110" fmla="*/ 246013 w 362313"/>
                <a:gd name="connsiteY110" fmla="*/ 138532 h 361971"/>
                <a:gd name="connsiteX111" fmla="*/ 239623 w 362313"/>
                <a:gd name="connsiteY111" fmla="*/ 144916 h 361971"/>
                <a:gd name="connsiteX112" fmla="*/ 239623 w 362313"/>
                <a:gd name="connsiteY112" fmla="*/ 144916 h 361971"/>
                <a:gd name="connsiteX113" fmla="*/ 198727 w 362313"/>
                <a:gd name="connsiteY113" fmla="*/ 144278 h 361971"/>
                <a:gd name="connsiteX114" fmla="*/ 192337 w 362313"/>
                <a:gd name="connsiteY114" fmla="*/ 137894 h 361971"/>
                <a:gd name="connsiteX115" fmla="*/ 198727 w 362313"/>
                <a:gd name="connsiteY115" fmla="*/ 131510 h 361971"/>
                <a:gd name="connsiteX116" fmla="*/ 227482 w 362313"/>
                <a:gd name="connsiteY116" fmla="*/ 132148 h 361971"/>
                <a:gd name="connsiteX117" fmla="*/ 226204 w 362313"/>
                <a:gd name="connsiteY117" fmla="*/ 125764 h 361971"/>
                <a:gd name="connsiteX118" fmla="*/ 226843 w 362313"/>
                <a:gd name="connsiteY118" fmla="*/ 96398 h 361971"/>
                <a:gd name="connsiteX119" fmla="*/ 228121 w 362313"/>
                <a:gd name="connsiteY119" fmla="*/ 90014 h 361971"/>
                <a:gd name="connsiteX120" fmla="*/ 112463 w 362313"/>
                <a:gd name="connsiteY120" fmla="*/ 88099 h 361971"/>
                <a:gd name="connsiteX121" fmla="*/ 109907 w 362313"/>
                <a:gd name="connsiteY121" fmla="*/ 87461 h 361971"/>
                <a:gd name="connsiteX122" fmla="*/ 106073 w 362313"/>
                <a:gd name="connsiteY122" fmla="*/ 87461 h 361971"/>
                <a:gd name="connsiteX123" fmla="*/ 101600 w 362313"/>
                <a:gd name="connsiteY123" fmla="*/ 99590 h 361971"/>
                <a:gd name="connsiteX124" fmla="*/ 101600 w 362313"/>
                <a:gd name="connsiteY124" fmla="*/ 119380 h 361971"/>
                <a:gd name="connsiteX125" fmla="*/ 104795 w 362313"/>
                <a:gd name="connsiteY125" fmla="*/ 132148 h 361971"/>
                <a:gd name="connsiteX126" fmla="*/ 109907 w 362313"/>
                <a:gd name="connsiteY126" fmla="*/ 131510 h 361971"/>
                <a:gd name="connsiteX127" fmla="*/ 113102 w 362313"/>
                <a:gd name="connsiteY127" fmla="*/ 130872 h 361971"/>
                <a:gd name="connsiteX128" fmla="*/ 146969 w 362313"/>
                <a:gd name="connsiteY128" fmla="*/ 131510 h 361971"/>
                <a:gd name="connsiteX129" fmla="*/ 153358 w 362313"/>
                <a:gd name="connsiteY129" fmla="*/ 137894 h 361971"/>
                <a:gd name="connsiteX130" fmla="*/ 146969 w 362313"/>
                <a:gd name="connsiteY130" fmla="*/ 144278 h 361971"/>
                <a:gd name="connsiteX131" fmla="*/ 146969 w 362313"/>
                <a:gd name="connsiteY131" fmla="*/ 144278 h 361971"/>
                <a:gd name="connsiteX132" fmla="*/ 114380 w 362313"/>
                <a:gd name="connsiteY132" fmla="*/ 143640 h 361971"/>
                <a:gd name="connsiteX133" fmla="*/ 106712 w 362313"/>
                <a:gd name="connsiteY133" fmla="*/ 145555 h 361971"/>
                <a:gd name="connsiteX134" fmla="*/ 97766 w 362313"/>
                <a:gd name="connsiteY134" fmla="*/ 143001 h 361971"/>
                <a:gd name="connsiteX135" fmla="*/ 89459 w 362313"/>
                <a:gd name="connsiteY135" fmla="*/ 119380 h 361971"/>
                <a:gd name="connsiteX136" fmla="*/ 181474 w 362313"/>
                <a:gd name="connsiteY136" fmla="*/ 0 h 361971"/>
                <a:gd name="connsiteX137" fmla="*/ 0 w 362313"/>
                <a:gd name="connsiteY137" fmla="*/ 180667 h 361971"/>
                <a:gd name="connsiteX138" fmla="*/ 180835 w 362313"/>
                <a:gd name="connsiteY138" fmla="*/ 361972 h 361971"/>
                <a:gd name="connsiteX139" fmla="*/ 362310 w 362313"/>
                <a:gd name="connsiteY139" fmla="*/ 181305 h 361971"/>
                <a:gd name="connsiteX140" fmla="*/ 362310 w 362313"/>
                <a:gd name="connsiteY140" fmla="*/ 181305 h 361971"/>
                <a:gd name="connsiteX141" fmla="*/ 181474 w 362313"/>
                <a:gd name="connsiteY141"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62313" h="361971">
                  <a:moveTo>
                    <a:pt x="284991" y="266212"/>
                  </a:moveTo>
                  <a:lnTo>
                    <a:pt x="287547" y="273873"/>
                  </a:lnTo>
                  <a:lnTo>
                    <a:pt x="289464" y="273873"/>
                  </a:lnTo>
                  <a:cubicBezTo>
                    <a:pt x="293298" y="273873"/>
                    <a:pt x="295854" y="276426"/>
                    <a:pt x="295854" y="280257"/>
                  </a:cubicBezTo>
                  <a:cubicBezTo>
                    <a:pt x="295854" y="284087"/>
                    <a:pt x="293298" y="286641"/>
                    <a:pt x="289464" y="286641"/>
                  </a:cubicBezTo>
                  <a:lnTo>
                    <a:pt x="120131" y="286641"/>
                  </a:lnTo>
                  <a:cubicBezTo>
                    <a:pt x="116936" y="287918"/>
                    <a:pt x="113741" y="287918"/>
                    <a:pt x="110546" y="287918"/>
                  </a:cubicBezTo>
                  <a:cubicBezTo>
                    <a:pt x="105434" y="287918"/>
                    <a:pt x="100961" y="286641"/>
                    <a:pt x="97127" y="283449"/>
                  </a:cubicBezTo>
                  <a:cubicBezTo>
                    <a:pt x="91376" y="278980"/>
                    <a:pt x="88181" y="271958"/>
                    <a:pt x="88820" y="264297"/>
                  </a:cubicBezTo>
                  <a:lnTo>
                    <a:pt x="88820" y="247698"/>
                  </a:lnTo>
                  <a:cubicBezTo>
                    <a:pt x="88820" y="240676"/>
                    <a:pt x="92015" y="234292"/>
                    <a:pt x="97127" y="229823"/>
                  </a:cubicBezTo>
                  <a:cubicBezTo>
                    <a:pt x="103517" y="225355"/>
                    <a:pt x="111824" y="224078"/>
                    <a:pt x="119492" y="225993"/>
                  </a:cubicBezTo>
                  <a:lnTo>
                    <a:pt x="288825" y="225993"/>
                  </a:lnTo>
                  <a:cubicBezTo>
                    <a:pt x="292659" y="225993"/>
                    <a:pt x="295215" y="228546"/>
                    <a:pt x="295215" y="232377"/>
                  </a:cubicBezTo>
                  <a:cubicBezTo>
                    <a:pt x="295215" y="236207"/>
                    <a:pt x="292659" y="238761"/>
                    <a:pt x="288825" y="238761"/>
                  </a:cubicBezTo>
                  <a:cubicBezTo>
                    <a:pt x="288825" y="238761"/>
                    <a:pt x="288825" y="238761"/>
                    <a:pt x="288825" y="238761"/>
                  </a:cubicBezTo>
                  <a:lnTo>
                    <a:pt x="287547" y="238761"/>
                  </a:lnTo>
                  <a:lnTo>
                    <a:pt x="284991" y="246422"/>
                  </a:lnTo>
                  <a:cubicBezTo>
                    <a:pt x="283074" y="253444"/>
                    <a:pt x="283074" y="260466"/>
                    <a:pt x="284991" y="266212"/>
                  </a:cubicBezTo>
                  <a:moveTo>
                    <a:pt x="261348" y="190881"/>
                  </a:moveTo>
                  <a:lnTo>
                    <a:pt x="262626" y="197903"/>
                  </a:lnTo>
                  <a:cubicBezTo>
                    <a:pt x="263266" y="201095"/>
                    <a:pt x="260709" y="204926"/>
                    <a:pt x="257514" y="204926"/>
                  </a:cubicBezTo>
                  <a:lnTo>
                    <a:pt x="256237" y="204926"/>
                  </a:lnTo>
                  <a:cubicBezTo>
                    <a:pt x="253042" y="204926"/>
                    <a:pt x="250486" y="203011"/>
                    <a:pt x="249847" y="199819"/>
                  </a:cubicBezTo>
                  <a:lnTo>
                    <a:pt x="248569" y="192796"/>
                  </a:lnTo>
                  <a:cubicBezTo>
                    <a:pt x="247291" y="187051"/>
                    <a:pt x="247291" y="181944"/>
                    <a:pt x="248569" y="176198"/>
                  </a:cubicBezTo>
                  <a:lnTo>
                    <a:pt x="249847" y="170452"/>
                  </a:lnTo>
                  <a:cubicBezTo>
                    <a:pt x="250486" y="166622"/>
                    <a:pt x="253681" y="164707"/>
                    <a:pt x="257514" y="165345"/>
                  </a:cubicBezTo>
                  <a:cubicBezTo>
                    <a:pt x="261348" y="165984"/>
                    <a:pt x="263266" y="169176"/>
                    <a:pt x="262626" y="173006"/>
                  </a:cubicBezTo>
                  <a:lnTo>
                    <a:pt x="262626" y="173006"/>
                  </a:lnTo>
                  <a:lnTo>
                    <a:pt x="261348" y="178752"/>
                  </a:lnTo>
                  <a:cubicBezTo>
                    <a:pt x="260709" y="182582"/>
                    <a:pt x="260709" y="186412"/>
                    <a:pt x="261348" y="190881"/>
                  </a:cubicBezTo>
                  <a:moveTo>
                    <a:pt x="68372" y="215779"/>
                  </a:moveTo>
                  <a:cubicBezTo>
                    <a:pt x="68372" y="211948"/>
                    <a:pt x="70928" y="209395"/>
                    <a:pt x="74762" y="209395"/>
                  </a:cubicBezTo>
                  <a:lnTo>
                    <a:pt x="78596" y="209395"/>
                  </a:lnTo>
                  <a:lnTo>
                    <a:pt x="80513" y="199180"/>
                  </a:lnTo>
                  <a:cubicBezTo>
                    <a:pt x="82430" y="190243"/>
                    <a:pt x="82430" y="180667"/>
                    <a:pt x="80513" y="171091"/>
                  </a:cubicBezTo>
                  <a:lnTo>
                    <a:pt x="78596" y="160876"/>
                  </a:lnTo>
                  <a:lnTo>
                    <a:pt x="74762" y="160876"/>
                  </a:lnTo>
                  <a:cubicBezTo>
                    <a:pt x="70928" y="160876"/>
                    <a:pt x="68372" y="158323"/>
                    <a:pt x="68372" y="154492"/>
                  </a:cubicBezTo>
                  <a:cubicBezTo>
                    <a:pt x="68372" y="150662"/>
                    <a:pt x="70928" y="148108"/>
                    <a:pt x="74762" y="148108"/>
                  </a:cubicBezTo>
                  <a:lnTo>
                    <a:pt x="146969" y="148108"/>
                  </a:lnTo>
                  <a:cubicBezTo>
                    <a:pt x="150803" y="148108"/>
                    <a:pt x="153358" y="150662"/>
                    <a:pt x="153358" y="154492"/>
                  </a:cubicBezTo>
                  <a:cubicBezTo>
                    <a:pt x="153358" y="158323"/>
                    <a:pt x="150803" y="160876"/>
                    <a:pt x="146969" y="160876"/>
                  </a:cubicBezTo>
                  <a:lnTo>
                    <a:pt x="92015" y="160876"/>
                  </a:lnTo>
                  <a:lnTo>
                    <a:pt x="93293" y="169176"/>
                  </a:lnTo>
                  <a:cubicBezTo>
                    <a:pt x="95210" y="180028"/>
                    <a:pt x="95210" y="190243"/>
                    <a:pt x="93293" y="201095"/>
                  </a:cubicBezTo>
                  <a:lnTo>
                    <a:pt x="92015" y="209395"/>
                  </a:lnTo>
                  <a:lnTo>
                    <a:pt x="257514" y="209395"/>
                  </a:lnTo>
                  <a:cubicBezTo>
                    <a:pt x="258153" y="209395"/>
                    <a:pt x="258153" y="209395"/>
                    <a:pt x="258792" y="209395"/>
                  </a:cubicBezTo>
                  <a:cubicBezTo>
                    <a:pt x="260709" y="210033"/>
                    <a:pt x="263266" y="209395"/>
                    <a:pt x="265182" y="208118"/>
                  </a:cubicBezTo>
                  <a:cubicBezTo>
                    <a:pt x="268377" y="204926"/>
                    <a:pt x="269655" y="200457"/>
                    <a:pt x="269016" y="196627"/>
                  </a:cubicBezTo>
                  <a:lnTo>
                    <a:pt x="269016" y="174283"/>
                  </a:lnTo>
                  <a:cubicBezTo>
                    <a:pt x="269016" y="174283"/>
                    <a:pt x="269016" y="173644"/>
                    <a:pt x="269016" y="173644"/>
                  </a:cubicBezTo>
                  <a:cubicBezTo>
                    <a:pt x="270294" y="169176"/>
                    <a:pt x="269016" y="164707"/>
                    <a:pt x="265821" y="160876"/>
                  </a:cubicBezTo>
                  <a:cubicBezTo>
                    <a:pt x="265182" y="160238"/>
                    <a:pt x="263904" y="158961"/>
                    <a:pt x="259431" y="160238"/>
                  </a:cubicBezTo>
                  <a:cubicBezTo>
                    <a:pt x="258792" y="160238"/>
                    <a:pt x="258153" y="160876"/>
                    <a:pt x="257514" y="160876"/>
                  </a:cubicBezTo>
                  <a:lnTo>
                    <a:pt x="200005" y="160876"/>
                  </a:lnTo>
                  <a:cubicBezTo>
                    <a:pt x="196171" y="160876"/>
                    <a:pt x="193615" y="158323"/>
                    <a:pt x="193615" y="154492"/>
                  </a:cubicBezTo>
                  <a:cubicBezTo>
                    <a:pt x="193615" y="150662"/>
                    <a:pt x="196171" y="148108"/>
                    <a:pt x="200005" y="148108"/>
                  </a:cubicBezTo>
                  <a:lnTo>
                    <a:pt x="256237" y="148108"/>
                  </a:lnTo>
                  <a:cubicBezTo>
                    <a:pt x="261987" y="146193"/>
                    <a:pt x="268377" y="146832"/>
                    <a:pt x="273489" y="150662"/>
                  </a:cubicBezTo>
                  <a:cubicBezTo>
                    <a:pt x="279879" y="156408"/>
                    <a:pt x="283074" y="165345"/>
                    <a:pt x="281157" y="174283"/>
                  </a:cubicBezTo>
                  <a:lnTo>
                    <a:pt x="281157" y="195988"/>
                  </a:lnTo>
                  <a:cubicBezTo>
                    <a:pt x="281796" y="204287"/>
                    <a:pt x="279240" y="211948"/>
                    <a:pt x="272850" y="217694"/>
                  </a:cubicBezTo>
                  <a:cubicBezTo>
                    <a:pt x="269016" y="220886"/>
                    <a:pt x="264543" y="222163"/>
                    <a:pt x="260071" y="222163"/>
                  </a:cubicBezTo>
                  <a:cubicBezTo>
                    <a:pt x="258792" y="222163"/>
                    <a:pt x="257514" y="222163"/>
                    <a:pt x="256237" y="221524"/>
                  </a:cubicBezTo>
                  <a:lnTo>
                    <a:pt x="74762" y="221524"/>
                  </a:lnTo>
                  <a:cubicBezTo>
                    <a:pt x="70928" y="221524"/>
                    <a:pt x="68372" y="218332"/>
                    <a:pt x="68372" y="215779"/>
                  </a:cubicBezTo>
                  <a:moveTo>
                    <a:pt x="109268" y="104697"/>
                  </a:moveTo>
                  <a:lnTo>
                    <a:pt x="108629" y="99590"/>
                  </a:lnTo>
                  <a:cubicBezTo>
                    <a:pt x="107990" y="96398"/>
                    <a:pt x="110546" y="92568"/>
                    <a:pt x="113741" y="91929"/>
                  </a:cubicBezTo>
                  <a:cubicBezTo>
                    <a:pt x="113741" y="91929"/>
                    <a:pt x="113741" y="91929"/>
                    <a:pt x="113741" y="91929"/>
                  </a:cubicBezTo>
                  <a:cubicBezTo>
                    <a:pt x="116936" y="91291"/>
                    <a:pt x="120770" y="93845"/>
                    <a:pt x="120770" y="97037"/>
                  </a:cubicBezTo>
                  <a:lnTo>
                    <a:pt x="121409" y="102144"/>
                  </a:lnTo>
                  <a:cubicBezTo>
                    <a:pt x="122048" y="106612"/>
                    <a:pt x="122048" y="110443"/>
                    <a:pt x="121409" y="114912"/>
                  </a:cubicBezTo>
                  <a:lnTo>
                    <a:pt x="120770" y="119380"/>
                  </a:lnTo>
                  <a:cubicBezTo>
                    <a:pt x="120131" y="122572"/>
                    <a:pt x="117575" y="124488"/>
                    <a:pt x="114380" y="124488"/>
                  </a:cubicBezTo>
                  <a:lnTo>
                    <a:pt x="113102" y="124488"/>
                  </a:lnTo>
                  <a:cubicBezTo>
                    <a:pt x="109907" y="123849"/>
                    <a:pt x="107351" y="120657"/>
                    <a:pt x="107990" y="116827"/>
                  </a:cubicBezTo>
                  <a:cubicBezTo>
                    <a:pt x="107990" y="116827"/>
                    <a:pt x="107990" y="116827"/>
                    <a:pt x="107990" y="116827"/>
                  </a:cubicBezTo>
                  <a:lnTo>
                    <a:pt x="108629" y="112358"/>
                  </a:lnTo>
                  <a:cubicBezTo>
                    <a:pt x="109907" y="109804"/>
                    <a:pt x="109907" y="107251"/>
                    <a:pt x="109268" y="104697"/>
                  </a:cubicBezTo>
                  <a:moveTo>
                    <a:pt x="149524" y="126403"/>
                  </a:moveTo>
                  <a:cubicBezTo>
                    <a:pt x="145690" y="126403"/>
                    <a:pt x="143135" y="123849"/>
                    <a:pt x="143135" y="120019"/>
                  </a:cubicBezTo>
                  <a:cubicBezTo>
                    <a:pt x="143135" y="116188"/>
                    <a:pt x="145690" y="113635"/>
                    <a:pt x="149524" y="113635"/>
                  </a:cubicBezTo>
                  <a:lnTo>
                    <a:pt x="189781" y="113635"/>
                  </a:lnTo>
                  <a:cubicBezTo>
                    <a:pt x="193615" y="113635"/>
                    <a:pt x="196171" y="116188"/>
                    <a:pt x="196171" y="120019"/>
                  </a:cubicBezTo>
                  <a:cubicBezTo>
                    <a:pt x="196171" y="123849"/>
                    <a:pt x="193615" y="126403"/>
                    <a:pt x="189781" y="126403"/>
                  </a:cubicBezTo>
                  <a:lnTo>
                    <a:pt x="188503" y="126403"/>
                  </a:lnTo>
                  <a:lnTo>
                    <a:pt x="188503" y="171729"/>
                  </a:lnTo>
                  <a:cubicBezTo>
                    <a:pt x="188503" y="175560"/>
                    <a:pt x="185308" y="178113"/>
                    <a:pt x="182113" y="178113"/>
                  </a:cubicBezTo>
                  <a:cubicBezTo>
                    <a:pt x="180196" y="178113"/>
                    <a:pt x="178918" y="177475"/>
                    <a:pt x="177640" y="176198"/>
                  </a:cubicBezTo>
                  <a:lnTo>
                    <a:pt x="173806" y="172368"/>
                  </a:lnTo>
                  <a:lnTo>
                    <a:pt x="168694" y="177475"/>
                  </a:lnTo>
                  <a:cubicBezTo>
                    <a:pt x="167416" y="178752"/>
                    <a:pt x="166138" y="179390"/>
                    <a:pt x="164221" y="179390"/>
                  </a:cubicBezTo>
                  <a:cubicBezTo>
                    <a:pt x="163582" y="179390"/>
                    <a:pt x="162304" y="179390"/>
                    <a:pt x="161665" y="178752"/>
                  </a:cubicBezTo>
                  <a:cubicBezTo>
                    <a:pt x="159109" y="177475"/>
                    <a:pt x="157832" y="175560"/>
                    <a:pt x="157832" y="173006"/>
                  </a:cubicBezTo>
                  <a:lnTo>
                    <a:pt x="157832" y="127041"/>
                  </a:lnTo>
                  <a:lnTo>
                    <a:pt x="149524" y="126403"/>
                  </a:lnTo>
                  <a:close/>
                  <a:moveTo>
                    <a:pt x="88181" y="117465"/>
                  </a:moveTo>
                  <a:lnTo>
                    <a:pt x="88181" y="98313"/>
                  </a:lnTo>
                  <a:cubicBezTo>
                    <a:pt x="87542" y="89376"/>
                    <a:pt x="92015" y="81077"/>
                    <a:pt x="99044" y="75331"/>
                  </a:cubicBezTo>
                  <a:cubicBezTo>
                    <a:pt x="103517" y="72777"/>
                    <a:pt x="109268" y="72139"/>
                    <a:pt x="113741" y="74693"/>
                  </a:cubicBezTo>
                  <a:lnTo>
                    <a:pt x="240262" y="76608"/>
                  </a:lnTo>
                  <a:cubicBezTo>
                    <a:pt x="244096" y="76608"/>
                    <a:pt x="246652" y="79161"/>
                    <a:pt x="246652" y="82992"/>
                  </a:cubicBezTo>
                  <a:cubicBezTo>
                    <a:pt x="246652" y="86184"/>
                    <a:pt x="244096" y="88737"/>
                    <a:pt x="240901" y="89376"/>
                  </a:cubicBezTo>
                  <a:lnTo>
                    <a:pt x="238984" y="98313"/>
                  </a:lnTo>
                  <a:cubicBezTo>
                    <a:pt x="237067" y="106612"/>
                    <a:pt x="237067" y="114912"/>
                    <a:pt x="238345" y="123211"/>
                  </a:cubicBezTo>
                  <a:lnTo>
                    <a:pt x="239623" y="132148"/>
                  </a:lnTo>
                  <a:cubicBezTo>
                    <a:pt x="243457" y="132148"/>
                    <a:pt x="246013" y="135340"/>
                    <a:pt x="246013" y="138532"/>
                  </a:cubicBezTo>
                  <a:cubicBezTo>
                    <a:pt x="246013" y="141724"/>
                    <a:pt x="242818" y="144916"/>
                    <a:pt x="239623" y="144916"/>
                  </a:cubicBezTo>
                  <a:lnTo>
                    <a:pt x="239623" y="144916"/>
                  </a:lnTo>
                  <a:lnTo>
                    <a:pt x="198727" y="144278"/>
                  </a:lnTo>
                  <a:cubicBezTo>
                    <a:pt x="194893" y="144278"/>
                    <a:pt x="192337" y="141724"/>
                    <a:pt x="192337" y="137894"/>
                  </a:cubicBezTo>
                  <a:cubicBezTo>
                    <a:pt x="192337" y="134064"/>
                    <a:pt x="194893" y="131510"/>
                    <a:pt x="198727" y="131510"/>
                  </a:cubicBezTo>
                  <a:lnTo>
                    <a:pt x="227482" y="132148"/>
                  </a:lnTo>
                  <a:lnTo>
                    <a:pt x="226204" y="125764"/>
                  </a:lnTo>
                  <a:cubicBezTo>
                    <a:pt x="224287" y="116188"/>
                    <a:pt x="224926" y="105974"/>
                    <a:pt x="226843" y="96398"/>
                  </a:cubicBezTo>
                  <a:lnTo>
                    <a:pt x="228121" y="90014"/>
                  </a:lnTo>
                  <a:lnTo>
                    <a:pt x="112463" y="88099"/>
                  </a:lnTo>
                  <a:cubicBezTo>
                    <a:pt x="111185" y="88099"/>
                    <a:pt x="110546" y="88099"/>
                    <a:pt x="109907" y="87461"/>
                  </a:cubicBezTo>
                  <a:cubicBezTo>
                    <a:pt x="108629" y="86822"/>
                    <a:pt x="107351" y="86822"/>
                    <a:pt x="106073" y="87461"/>
                  </a:cubicBezTo>
                  <a:cubicBezTo>
                    <a:pt x="102878" y="90653"/>
                    <a:pt x="100961" y="95121"/>
                    <a:pt x="101600" y="99590"/>
                  </a:cubicBezTo>
                  <a:lnTo>
                    <a:pt x="101600" y="119380"/>
                  </a:lnTo>
                  <a:cubicBezTo>
                    <a:pt x="100961" y="126403"/>
                    <a:pt x="102878" y="130872"/>
                    <a:pt x="104795" y="132148"/>
                  </a:cubicBezTo>
                  <a:cubicBezTo>
                    <a:pt x="106712" y="132787"/>
                    <a:pt x="108629" y="132787"/>
                    <a:pt x="109907" y="131510"/>
                  </a:cubicBezTo>
                  <a:cubicBezTo>
                    <a:pt x="110546" y="130872"/>
                    <a:pt x="111824" y="130872"/>
                    <a:pt x="113102" y="130872"/>
                  </a:cubicBezTo>
                  <a:lnTo>
                    <a:pt x="146969" y="131510"/>
                  </a:lnTo>
                  <a:cubicBezTo>
                    <a:pt x="150803" y="131510"/>
                    <a:pt x="153358" y="134064"/>
                    <a:pt x="153358" y="137894"/>
                  </a:cubicBezTo>
                  <a:cubicBezTo>
                    <a:pt x="153358" y="141724"/>
                    <a:pt x="150803" y="144278"/>
                    <a:pt x="146969" y="144278"/>
                  </a:cubicBezTo>
                  <a:lnTo>
                    <a:pt x="146969" y="144278"/>
                  </a:lnTo>
                  <a:lnTo>
                    <a:pt x="114380" y="143640"/>
                  </a:lnTo>
                  <a:cubicBezTo>
                    <a:pt x="111824" y="144916"/>
                    <a:pt x="109268" y="145555"/>
                    <a:pt x="106712" y="145555"/>
                  </a:cubicBezTo>
                  <a:cubicBezTo>
                    <a:pt x="103517" y="145555"/>
                    <a:pt x="100322" y="144278"/>
                    <a:pt x="97766" y="143001"/>
                  </a:cubicBezTo>
                  <a:cubicBezTo>
                    <a:pt x="90737" y="137256"/>
                    <a:pt x="87542" y="128318"/>
                    <a:pt x="89459" y="119380"/>
                  </a:cubicBezTo>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97A9"/>
                </a:solidFill>
                <a:effectLst/>
                <a:uLnTx/>
                <a:uFillTx/>
                <a:latin typeface="Calibri"/>
                <a:ea typeface="+mn-ea"/>
                <a:cs typeface="+mn-cs"/>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A1C6991E-9666-718F-D5E7-4D55267696E2}"/>
              </a:ext>
            </a:extLst>
          </p:cNvPr>
          <p:cNvGraphicFramePr>
            <a:graphicFrameLocks noGrp="1"/>
          </p:cNvGraphicFramePr>
          <p:nvPr>
            <p:extLst>
              <p:ext uri="{D42A27DB-BD31-4B8C-83A1-F6EECF244321}">
                <p14:modId xmlns:p14="http://schemas.microsoft.com/office/powerpoint/2010/main" val="3302476958"/>
              </p:ext>
            </p:extLst>
          </p:nvPr>
        </p:nvGraphicFramePr>
        <p:xfrm>
          <a:off x="2514158" y="1287463"/>
          <a:ext cx="7852659" cy="4461635"/>
        </p:xfrm>
        <a:graphic>
          <a:graphicData uri="http://schemas.openxmlformats.org/drawingml/2006/table">
            <a:tbl>
              <a:tblPr/>
              <a:tblGrid>
                <a:gridCol w="888843">
                  <a:extLst>
                    <a:ext uri="{9D8B030D-6E8A-4147-A177-3AD203B41FA5}">
                      <a16:colId xmlns:a16="http://schemas.microsoft.com/office/drawing/2014/main" val="20000"/>
                    </a:ext>
                  </a:extLst>
                </a:gridCol>
                <a:gridCol w="1064329">
                  <a:extLst>
                    <a:ext uri="{9D8B030D-6E8A-4147-A177-3AD203B41FA5}">
                      <a16:colId xmlns:a16="http://schemas.microsoft.com/office/drawing/2014/main" val="20001"/>
                    </a:ext>
                  </a:extLst>
                </a:gridCol>
                <a:gridCol w="5899487">
                  <a:extLst>
                    <a:ext uri="{9D8B030D-6E8A-4147-A177-3AD203B41FA5}">
                      <a16:colId xmlns:a16="http://schemas.microsoft.com/office/drawing/2014/main" val="20003"/>
                    </a:ext>
                  </a:extLst>
                </a:gridCol>
              </a:tblGrid>
              <a:tr h="357607">
                <a:tc>
                  <a:txBody>
                    <a:bodyPr/>
                    <a:lstStyle/>
                    <a:p>
                      <a:pPr algn="ctr" rtl="0" fontAlgn="ctr"/>
                      <a:r>
                        <a:rPr lang="es-MX" sz="1800" b="1" i="0" u="none" strike="noStrike">
                          <a:solidFill>
                            <a:schemeClr val="tx1"/>
                          </a:solidFill>
                          <a:effectLst/>
                          <a:latin typeface="+mn-lt"/>
                        </a:rPr>
                        <a:t>De:</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solidFill>
                      <a:srgbClr val="6FC2B4"/>
                    </a:solidFill>
                  </a:tcPr>
                </a:tc>
                <a:tc>
                  <a:txBody>
                    <a:bodyPr/>
                    <a:lstStyle/>
                    <a:p>
                      <a:pPr algn="ctr" rtl="0" fontAlgn="ctr"/>
                      <a:r>
                        <a:rPr lang="es-MX" sz="1800" b="1" i="0" u="none" strike="noStrike">
                          <a:solidFill>
                            <a:schemeClr val="tx1"/>
                          </a:solidFill>
                          <a:effectLst/>
                          <a:latin typeface="+mn-lt"/>
                        </a:rPr>
                        <a:t>a:</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solidFill>
                      <a:srgbClr val="6FC2B4"/>
                    </a:solidFill>
                  </a:tcPr>
                </a:tc>
                <a:tc>
                  <a:txBody>
                    <a:bodyPr/>
                    <a:lstStyle/>
                    <a:p>
                      <a:pPr algn="ctr" rtl="0" fontAlgn="ctr"/>
                      <a:r>
                        <a:rPr lang="es-MX" sz="1800" b="1" i="0" u="none" strike="noStrike">
                          <a:solidFill>
                            <a:schemeClr val="tx1"/>
                          </a:solidFill>
                          <a:effectLst/>
                          <a:latin typeface="+mn-lt"/>
                        </a:rPr>
                        <a:t>Actividad</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solidFill>
                      <a:srgbClr val="6FC2B4"/>
                    </a:solidFill>
                  </a:tcPr>
                </a:tc>
                <a:extLst>
                  <a:ext uri="{0D108BD9-81ED-4DB2-BD59-A6C34878D82A}">
                    <a16:rowId xmlns:a16="http://schemas.microsoft.com/office/drawing/2014/main" val="10000"/>
                  </a:ext>
                </a:extLst>
              </a:tr>
              <a:tr h="455440">
                <a:tc>
                  <a:txBody>
                    <a:bodyPr/>
                    <a:lstStyle/>
                    <a:p>
                      <a:pPr algn="ctr" fontAlgn="ctr"/>
                      <a:r>
                        <a:rPr lang="es-MX" sz="1800" b="0" i="0" u="none" strike="noStrike">
                          <a:solidFill>
                            <a:schemeClr val="bg1"/>
                          </a:solidFill>
                          <a:effectLst/>
                          <a:latin typeface="+mn-lt"/>
                        </a:rPr>
                        <a:t>09:0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ctr" fontAlgn="ctr"/>
                      <a:r>
                        <a:rPr lang="es-MX" sz="1800" b="0" i="0" u="none" strike="noStrike">
                          <a:solidFill>
                            <a:schemeClr val="bg1"/>
                          </a:solidFill>
                          <a:effectLst/>
                          <a:latin typeface="+mn-lt"/>
                        </a:rPr>
                        <a:t>09:1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l" fontAlgn="ctr"/>
                      <a:r>
                        <a:rPr lang="es-MX" sz="1800" b="0" i="0" u="none" strike="noStrike">
                          <a:solidFill>
                            <a:schemeClr val="bg1"/>
                          </a:solidFill>
                          <a:effectLst/>
                          <a:latin typeface="+mn-lt"/>
                        </a:rPr>
                        <a:t>Inicio</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1"/>
                  </a:ext>
                </a:extLst>
              </a:tr>
              <a:tr h="455440">
                <a:tc>
                  <a:txBody>
                    <a:bodyPr/>
                    <a:lstStyle/>
                    <a:p>
                      <a:pPr algn="ctr" fontAlgn="ctr"/>
                      <a:r>
                        <a:rPr lang="es-MX" sz="1800" b="0" i="0" u="none" strike="noStrike">
                          <a:solidFill>
                            <a:schemeClr val="bg1"/>
                          </a:solidFill>
                          <a:effectLst/>
                          <a:latin typeface="+mn-lt"/>
                        </a:rPr>
                        <a:t>09:1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ctr" fontAlgn="ctr"/>
                      <a:r>
                        <a:rPr lang="es-MX" sz="1800" b="0" i="0" u="none" strike="noStrike">
                          <a:solidFill>
                            <a:schemeClr val="bg1"/>
                          </a:solidFill>
                          <a:effectLst/>
                          <a:latin typeface="+mn-lt"/>
                        </a:rPr>
                        <a:t>10:0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l" fontAlgn="ctr"/>
                      <a:r>
                        <a:rPr lang="es-MX" sz="1800" b="0" i="0" u="none" strike="noStrike">
                          <a:solidFill>
                            <a:schemeClr val="bg1"/>
                          </a:solidFill>
                          <a:effectLst/>
                          <a:latin typeface="+mn-lt"/>
                        </a:rPr>
                        <a:t>Dinámica de interacción: Maratón</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2"/>
                  </a:ext>
                </a:extLst>
              </a:tr>
              <a:tr h="455440">
                <a:tc>
                  <a:txBody>
                    <a:bodyPr/>
                    <a:lstStyle/>
                    <a:p>
                      <a:pPr algn="ctr" fontAlgn="ctr"/>
                      <a:r>
                        <a:rPr lang="es-MX" sz="1800" b="0" i="0" u="none" strike="noStrike">
                          <a:solidFill>
                            <a:schemeClr val="bg1"/>
                          </a:solidFill>
                          <a:effectLst/>
                          <a:latin typeface="+mn-lt"/>
                        </a:rPr>
                        <a:t>10:0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ctr" fontAlgn="ctr"/>
                      <a:r>
                        <a:rPr lang="es-MX" sz="1800" b="0" i="0" u="none" strike="noStrike">
                          <a:solidFill>
                            <a:schemeClr val="bg1"/>
                          </a:solidFill>
                          <a:effectLst/>
                          <a:latin typeface="+mn-lt"/>
                        </a:rPr>
                        <a:t>11:0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s-MX" sz="1800" b="0" i="0" u="none" strike="noStrike">
                          <a:solidFill>
                            <a:schemeClr val="bg1"/>
                          </a:solidFill>
                          <a:effectLst/>
                          <a:latin typeface="+mn-lt"/>
                        </a:rPr>
                        <a:t>Entrevista a…Sergio Vargas</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3"/>
                  </a:ext>
                </a:extLst>
              </a:tr>
              <a:tr h="455440">
                <a:tc>
                  <a:txBody>
                    <a:bodyPr/>
                    <a:lstStyle/>
                    <a:p>
                      <a:pPr algn="ctr" fontAlgn="ctr"/>
                      <a:r>
                        <a:rPr lang="es-MX" sz="1800" b="0" i="0" u="none" strike="noStrike">
                          <a:solidFill>
                            <a:schemeClr val="bg1"/>
                          </a:solidFill>
                          <a:effectLst/>
                          <a:latin typeface="+mn-lt"/>
                        </a:rPr>
                        <a:t>11:0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ctr" fontAlgn="ctr"/>
                      <a:r>
                        <a:rPr lang="es-MX" sz="1800" b="0" i="0" u="none" strike="noStrike">
                          <a:solidFill>
                            <a:schemeClr val="bg1"/>
                          </a:solidFill>
                          <a:effectLst/>
                          <a:latin typeface="+mn-lt"/>
                        </a:rPr>
                        <a:t>11:15</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l" fontAlgn="ctr"/>
                      <a:r>
                        <a:rPr lang="es-MX" sz="1800" b="0" i="0" u="none" strike="noStrike">
                          <a:solidFill>
                            <a:schemeClr val="bg1"/>
                          </a:solidFill>
                          <a:effectLst/>
                          <a:latin typeface="+mn-lt"/>
                        </a:rPr>
                        <a:t>Receso</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4"/>
                  </a:ext>
                </a:extLst>
              </a:tr>
              <a:tr h="447950">
                <a:tc>
                  <a:txBody>
                    <a:bodyPr/>
                    <a:lstStyle/>
                    <a:p>
                      <a:pPr algn="ctr" fontAlgn="ctr"/>
                      <a:r>
                        <a:rPr lang="es-MX" sz="1800" b="0" i="0" u="none" strike="noStrike">
                          <a:solidFill>
                            <a:schemeClr val="bg1"/>
                          </a:solidFill>
                          <a:effectLst/>
                          <a:latin typeface="+mn-lt"/>
                        </a:rPr>
                        <a:t>11:15</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noFill/>
                  </a:tcPr>
                </a:tc>
                <a:tc>
                  <a:txBody>
                    <a:bodyPr/>
                    <a:lstStyle/>
                    <a:p>
                      <a:pPr algn="ctr" fontAlgn="ctr"/>
                      <a:r>
                        <a:rPr lang="es-MX" sz="1800" b="0" i="0" u="none" strike="noStrike">
                          <a:solidFill>
                            <a:schemeClr val="bg1"/>
                          </a:solidFill>
                          <a:effectLst/>
                          <a:latin typeface="+mn-lt"/>
                        </a:rPr>
                        <a:t>11:45</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noFill/>
                  </a:tcPr>
                </a:tc>
                <a:tc>
                  <a:txBody>
                    <a:bodyPr/>
                    <a:lstStyle/>
                    <a:p>
                      <a:pPr algn="l" fontAlgn="ctr"/>
                      <a:r>
                        <a:rPr lang="es-MX" sz="1800" b="0" i="0" u="none" strike="noStrike">
                          <a:solidFill>
                            <a:schemeClr val="bg1"/>
                          </a:solidFill>
                          <a:effectLst/>
                          <a:latin typeface="+mn-lt"/>
                        </a:rPr>
                        <a:t>Foros TI</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noFill/>
                  </a:tcPr>
                </a:tc>
                <a:extLst>
                  <a:ext uri="{0D108BD9-81ED-4DB2-BD59-A6C34878D82A}">
                    <a16:rowId xmlns:a16="http://schemas.microsoft.com/office/drawing/2014/main" val="10005"/>
                  </a:ext>
                </a:extLst>
              </a:tr>
              <a:tr h="455440">
                <a:tc>
                  <a:txBody>
                    <a:bodyPr/>
                    <a:lstStyle/>
                    <a:p>
                      <a:pPr algn="ctr" fontAlgn="ctr"/>
                      <a:r>
                        <a:rPr lang="es-MX" sz="1800" b="0" i="0" u="none" strike="noStrike">
                          <a:solidFill>
                            <a:schemeClr val="bg1"/>
                          </a:solidFill>
                          <a:effectLst/>
                          <a:latin typeface="+mn-lt"/>
                        </a:rPr>
                        <a:t>11:45</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ctr" fontAlgn="ctr"/>
                      <a:r>
                        <a:rPr lang="es-MX" sz="1800" b="0" i="0" u="none" strike="noStrike">
                          <a:solidFill>
                            <a:schemeClr val="bg1"/>
                          </a:solidFill>
                          <a:effectLst/>
                          <a:latin typeface="+mn-lt"/>
                        </a:rPr>
                        <a:t>12:45</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l" fontAlgn="ctr"/>
                      <a:r>
                        <a:rPr lang="es-MX" sz="1800" b="0" i="0" u="none" strike="noStrike">
                          <a:solidFill>
                            <a:schemeClr val="bg1"/>
                          </a:solidFill>
                          <a:effectLst/>
                          <a:latin typeface="+mn-lt"/>
                        </a:rPr>
                        <a:t>Dinámica de reflexión</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6"/>
                  </a:ext>
                </a:extLst>
              </a:tr>
              <a:tr h="467998">
                <a:tc>
                  <a:txBody>
                    <a:bodyPr/>
                    <a:lstStyle/>
                    <a:p>
                      <a:pPr algn="ctr" fontAlgn="ctr"/>
                      <a:r>
                        <a:rPr lang="es-MX" sz="1800" b="0" i="0" u="none" strike="noStrike">
                          <a:solidFill>
                            <a:schemeClr val="bg1"/>
                          </a:solidFill>
                          <a:effectLst/>
                          <a:latin typeface="+mn-lt"/>
                        </a:rPr>
                        <a:t>12:45</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ctr" fontAlgn="ctr"/>
                      <a:r>
                        <a:rPr lang="es-MX" sz="1800" b="0" i="0" u="none" strike="noStrike">
                          <a:solidFill>
                            <a:schemeClr val="bg1"/>
                          </a:solidFill>
                          <a:effectLst/>
                          <a:latin typeface="+mn-lt"/>
                        </a:rPr>
                        <a:t>13:0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l" fontAlgn="ctr"/>
                      <a:r>
                        <a:rPr lang="es-MX" sz="1800" b="0" i="0" u="none" strike="noStrike">
                          <a:solidFill>
                            <a:schemeClr val="bg1"/>
                          </a:solidFill>
                          <a:effectLst/>
                          <a:latin typeface="+mn-lt"/>
                        </a:rPr>
                        <a:t>Receso</a:t>
                      </a:r>
                      <a:endParaRPr lang="es-MX" sz="1800" b="0" i="1" u="none" strike="noStrike">
                        <a:solidFill>
                          <a:schemeClr val="bg1"/>
                        </a:solidFill>
                        <a:effectLst/>
                        <a:latin typeface="+mn-lt"/>
                      </a:endParaRP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7"/>
                  </a:ext>
                </a:extLst>
              </a:tr>
              <a:tr h="455440">
                <a:tc>
                  <a:txBody>
                    <a:bodyPr/>
                    <a:lstStyle/>
                    <a:p>
                      <a:pPr algn="ctr" fontAlgn="ctr"/>
                      <a:r>
                        <a:rPr lang="es-MX" sz="1800" b="0" i="0" u="none" strike="noStrike">
                          <a:solidFill>
                            <a:schemeClr val="bg1"/>
                          </a:solidFill>
                          <a:effectLst/>
                          <a:latin typeface="+mn-lt"/>
                        </a:rPr>
                        <a:t>13:0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ctr" fontAlgn="ctr"/>
                      <a:r>
                        <a:rPr lang="es-MX" sz="1800" b="0" i="0" u="none" strike="noStrike">
                          <a:solidFill>
                            <a:schemeClr val="bg1"/>
                          </a:solidFill>
                          <a:effectLst/>
                          <a:latin typeface="+mn-lt"/>
                        </a:rPr>
                        <a:t>13:3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s-MX" sz="1800" b="0" i="0" u="none" strike="noStrike">
                          <a:solidFill>
                            <a:schemeClr val="bg1"/>
                          </a:solidFill>
                          <a:effectLst/>
                          <a:latin typeface="+mn-lt"/>
                        </a:rPr>
                        <a:t>Reconocimiento a Luis Javier Fernández</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8"/>
                  </a:ext>
                </a:extLst>
              </a:tr>
              <a:tr h="455440">
                <a:tc>
                  <a:txBody>
                    <a:bodyPr/>
                    <a:lstStyle/>
                    <a:p>
                      <a:pPr algn="ctr" fontAlgn="ctr"/>
                      <a:r>
                        <a:rPr lang="es-MX" sz="1800" b="0" i="0" u="none" strike="noStrike">
                          <a:solidFill>
                            <a:schemeClr val="bg1"/>
                          </a:solidFill>
                          <a:effectLst/>
                          <a:latin typeface="+mn-lt"/>
                        </a:rPr>
                        <a:t>13:30</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algn="ctr" fontAlgn="ctr"/>
                      <a:r>
                        <a:rPr lang="es-MX" sz="1800" b="0" i="0" u="none" strike="noStrike">
                          <a:solidFill>
                            <a:schemeClr val="bg1"/>
                          </a:solidFill>
                          <a:effectLst/>
                          <a:latin typeface="+mn-lt"/>
                        </a:rPr>
                        <a:t>13:45</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s-MX" sz="1800" b="0" i="0" u="none" strike="noStrike">
                          <a:solidFill>
                            <a:schemeClr val="bg1"/>
                          </a:solidFill>
                          <a:effectLst/>
                          <a:latin typeface="+mn-lt"/>
                        </a:rPr>
                        <a:t>Cierre</a:t>
                      </a:r>
                    </a:p>
                  </a:txBody>
                  <a:tcPr marL="6350" marR="6350" marT="6350" marB="0" anchor="ctr">
                    <a:lnL w="12700" cap="flat" cmpd="sng" algn="ctr">
                      <a:solidFill>
                        <a:srgbClr val="6FC2B4"/>
                      </a:solidFill>
                      <a:prstDash val="solid"/>
                      <a:round/>
                      <a:headEnd type="none" w="med" len="med"/>
                      <a:tailEnd type="none" w="med" len="med"/>
                    </a:lnL>
                    <a:lnR w="12700" cap="flat" cmpd="sng" algn="ctr">
                      <a:solidFill>
                        <a:srgbClr val="6FC2B4"/>
                      </a:solidFill>
                      <a:prstDash val="solid"/>
                      <a:round/>
                      <a:headEnd type="none" w="med" len="med"/>
                      <a:tailEnd type="none" w="med" len="med"/>
                    </a:lnR>
                    <a:lnT w="12700" cap="flat" cmpd="sng" algn="ctr">
                      <a:solidFill>
                        <a:srgbClr val="6FC2B4"/>
                      </a:solidFill>
                      <a:prstDash val="solid"/>
                      <a:round/>
                      <a:headEnd type="none" w="med" len="med"/>
                      <a:tailEnd type="none" w="med" len="med"/>
                    </a:lnT>
                    <a:lnB w="12700" cap="flat" cmpd="sng" algn="ctr">
                      <a:solidFill>
                        <a:srgbClr val="6FC2B4"/>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12347" name="Title 1">
            <a:extLst>
              <a:ext uri="{FF2B5EF4-FFF2-40B4-BE49-F238E27FC236}">
                <a16:creationId xmlns:a16="http://schemas.microsoft.com/office/drawing/2014/main" id="{18BAADE4-22D2-A31D-6044-F14E059D0780}"/>
              </a:ext>
            </a:extLst>
          </p:cNvPr>
          <p:cNvSpPr>
            <a:spLocks noGrp="1" noChangeArrowheads="1"/>
          </p:cNvSpPr>
          <p:nvPr>
            <p:ph type="title"/>
          </p:nvPr>
        </p:nvSpPr>
        <p:spPr>
          <a:xfrm>
            <a:off x="369888" y="436563"/>
            <a:ext cx="5572125" cy="601662"/>
          </a:xfrm>
        </p:spPr>
        <p:txBody>
          <a:bodyPr/>
          <a:lstStyle/>
          <a:p>
            <a:pPr eaLnBrk="1" hangingPunct="1"/>
            <a:r>
              <a:rPr lang="es-MX" altLang="es-MX" sz="2800" b="1">
                <a:solidFill>
                  <a:srgbClr val="0097A9"/>
                </a:solidFill>
              </a:rPr>
              <a:t>Agenda</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70707"/>
        </a:solidFill>
        <a:effectLst/>
      </p:bgPr>
    </p:bg>
    <p:spTree>
      <p:nvGrpSpPr>
        <p:cNvPr id="1" name=""/>
        <p:cNvGrpSpPr/>
        <p:nvPr/>
      </p:nvGrpSpPr>
      <p:grpSpPr>
        <a:xfrm>
          <a:off x="0" y="0"/>
          <a:ext cx="0" cy="0"/>
          <a:chOff x="0" y="0"/>
          <a:chExt cx="0" cy="0"/>
        </a:xfrm>
      </p:grpSpPr>
      <p:sp>
        <p:nvSpPr>
          <p:cNvPr id="3" name="TextBox 3"/>
          <p:cNvSpPr txBox="1"/>
          <p:nvPr/>
        </p:nvSpPr>
        <p:spPr>
          <a:xfrm>
            <a:off x="442184" y="381301"/>
            <a:ext cx="10287000" cy="570541"/>
          </a:xfrm>
          <a:prstGeom prst="rect">
            <a:avLst/>
          </a:prstGeom>
        </p:spPr>
        <p:txBody>
          <a:bodyPr wrap="square" lIns="0" tIns="0" rIns="0" bIns="0" rtlCol="0" anchor="t">
            <a:spAutoFit/>
          </a:bodyPr>
          <a:lstStyle/>
          <a:p>
            <a:pPr marL="0" marR="0" lvl="0" indent="0" algn="l" defTabSz="609630" rtl="0" eaLnBrk="1" fontAlgn="auto" latinLnBrk="0" hangingPunct="1">
              <a:lnSpc>
                <a:spcPts val="4853"/>
              </a:lnSpc>
              <a:spcBef>
                <a:spcPts val="0"/>
              </a:spcBef>
              <a:spcAft>
                <a:spcPts val="0"/>
              </a:spcAft>
              <a:buClrTx/>
              <a:buSzTx/>
              <a:buFontTx/>
              <a:buNone/>
              <a:tabLst/>
              <a:defRPr/>
            </a:pP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Entonces</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c</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ómo</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es </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capaz</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 de </a:t>
            </a:r>
            <a:r>
              <a:rPr kumimoji="0" lang="en-US" sz="2933" b="1" i="0" u="none" strike="noStrike" kern="1200" cap="none" spc="0" normalizeH="0" baseline="0" noProof="0" err="1">
                <a:ln>
                  <a:noFill/>
                </a:ln>
                <a:solidFill>
                  <a:srgbClr val="0097A9"/>
                </a:solidFill>
                <a:effectLst/>
                <a:uLnTx/>
                <a:uFillTx/>
                <a:latin typeface="Calibri Light" panose="020F0302020204030204" pitchFamily="34" charset="0"/>
                <a:ea typeface="+mn-ea"/>
                <a:cs typeface="Calibri Light" panose="020F0302020204030204" pitchFamily="34" charset="0"/>
              </a:rPr>
              <a:t>respondernos</a:t>
            </a:r>
            <a:r>
              <a:rPr kumimoji="0" lang="en-US" sz="2933" b="1" i="0" u="none" strike="noStrike" kern="1200" cap="none" spc="0" normalizeH="0" baseline="0" noProof="0">
                <a:ln>
                  <a:noFill/>
                </a:ln>
                <a:solidFill>
                  <a:srgbClr val="0097A9"/>
                </a:solidFill>
                <a:effectLst/>
                <a:uLnTx/>
                <a:uFillTx/>
                <a:latin typeface="Calibri Light" panose="020F0302020204030204" pitchFamily="34" charset="0"/>
                <a:ea typeface="+mn-ea"/>
                <a:cs typeface="Calibri Light" panose="020F0302020204030204" pitchFamily="34" charset="0"/>
              </a:rPr>
              <a:t>?</a:t>
            </a:r>
          </a:p>
        </p:txBody>
      </p:sp>
      <p:sp>
        <p:nvSpPr>
          <p:cNvPr id="4" name="TextBox 4"/>
          <p:cNvSpPr txBox="1"/>
          <p:nvPr/>
        </p:nvSpPr>
        <p:spPr>
          <a:xfrm>
            <a:off x="9497867" y="3461552"/>
            <a:ext cx="2431979" cy="2722284"/>
          </a:xfrm>
          <a:prstGeom prst="rect">
            <a:avLst/>
          </a:prstGeom>
        </p:spPr>
        <p:txBody>
          <a:bodyPr wrap="square" lIns="0" tIns="0" rIns="0" bIns="0" rtlCol="0" anchor="t">
            <a:spAutoFit/>
          </a:bodyPr>
          <a:lstStyle/>
          <a:p>
            <a:pPr marL="244698" marR="0" lvl="1" indent="0" algn="l" defTabSz="60963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err="1">
                <a:ln>
                  <a:noFill/>
                </a:ln>
                <a:solidFill>
                  <a:srgbClr val="FFFFFF"/>
                </a:solidFill>
                <a:effectLst/>
                <a:uLnTx/>
                <a:uFillTx/>
                <a:latin typeface="Calibri"/>
                <a:ea typeface="+mn-ea"/>
                <a:cs typeface="+mn-cs"/>
              </a:rPr>
              <a:t>Convierte</a:t>
            </a:r>
            <a:r>
              <a:rPr kumimoji="0" lang="en-US" sz="2000" b="0" i="0" u="none" strike="noStrike" kern="1200" cap="none" spc="0" normalizeH="0" baseline="0" noProof="0">
                <a:ln>
                  <a:noFill/>
                </a:ln>
                <a:solidFill>
                  <a:srgbClr val="FFFFFF"/>
                </a:solidFill>
                <a:effectLst/>
                <a:uLnTx/>
                <a:uFillTx/>
                <a:latin typeface="Calibri"/>
                <a:ea typeface="+mn-ea"/>
                <a:cs typeface="+mn-cs"/>
              </a:rPr>
              <a:t> la </a:t>
            </a:r>
            <a:r>
              <a:rPr kumimoji="0" lang="en-US" sz="2000" b="0" i="0" u="none" strike="noStrike" kern="1200" cap="none" spc="0" normalizeH="0" baseline="0" noProof="0" err="1">
                <a:ln>
                  <a:noFill/>
                </a:ln>
                <a:solidFill>
                  <a:srgbClr val="FFFFFF"/>
                </a:solidFill>
                <a:effectLst/>
                <a:uLnTx/>
                <a:uFillTx/>
                <a:latin typeface="Calibri"/>
                <a:ea typeface="+mn-ea"/>
                <a:cs typeface="+mn-cs"/>
              </a:rPr>
              <a:t>respuesta</a:t>
            </a:r>
            <a:r>
              <a:rPr kumimoji="0" lang="en-US" sz="2000" b="0" i="0" u="none" strike="noStrike" kern="1200" cap="none" spc="0" normalizeH="0" baseline="0" noProof="0">
                <a:ln>
                  <a:noFill/>
                </a:ln>
                <a:solidFill>
                  <a:srgbClr val="FFFFFF"/>
                </a:solidFill>
                <a:effectLst/>
                <a:uLnTx/>
                <a:uFillTx/>
                <a:latin typeface="Calibri"/>
                <a:ea typeface="+mn-ea"/>
                <a:cs typeface="+mn-cs"/>
              </a:rPr>
              <a:t> a </a:t>
            </a:r>
            <a:r>
              <a:rPr kumimoji="0" lang="en-US" sz="2000" b="0" i="0" u="none" strike="noStrike" kern="1200" cap="none" spc="0" normalizeH="0" baseline="0" noProof="0" err="1">
                <a:ln>
                  <a:noFill/>
                </a:ln>
                <a:solidFill>
                  <a:srgbClr val="FFFFFF"/>
                </a:solidFill>
                <a:effectLst/>
                <a:uLnTx/>
                <a:uFillTx/>
                <a:latin typeface="Calibri"/>
                <a:ea typeface="+mn-ea"/>
                <a:cs typeface="+mn-cs"/>
              </a:rPr>
              <a:t>una</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frase</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entendible</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por</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lo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humano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utilizando</a:t>
            </a:r>
            <a:r>
              <a:rPr kumimoji="0" lang="en-US" sz="2000" b="0" i="0" u="none" strike="noStrike" kern="1200" cap="none" spc="0" normalizeH="0" baseline="0" noProof="0">
                <a:ln>
                  <a:noFill/>
                </a:ln>
                <a:solidFill>
                  <a:srgbClr val="FFFFFF"/>
                </a:solidFill>
                <a:effectLst/>
                <a:uLnTx/>
                <a:uFillTx/>
                <a:latin typeface="Calibri"/>
                <a:ea typeface="+mn-ea"/>
                <a:cs typeface="+mn-cs"/>
              </a:rPr>
              <a:t> las </a:t>
            </a:r>
            <a:r>
              <a:rPr kumimoji="0" lang="en-US" sz="2000" b="0" i="0" u="none" strike="noStrike" kern="1200" cap="none" spc="0" normalizeH="0" baseline="0" noProof="0" err="1">
                <a:ln>
                  <a:noFill/>
                </a:ln>
                <a:solidFill>
                  <a:srgbClr val="FFFFFF"/>
                </a:solidFill>
                <a:effectLst/>
                <a:uLnTx/>
                <a:uFillTx/>
                <a:latin typeface="Calibri"/>
                <a:ea typeface="+mn-ea"/>
                <a:cs typeface="+mn-cs"/>
              </a:rPr>
              <a:t>reglas</a:t>
            </a:r>
            <a:r>
              <a:rPr kumimoji="0" lang="en-US" sz="2000" b="0" i="0" u="none" strike="noStrike" kern="1200" cap="none" spc="0" normalizeH="0" baseline="0" noProof="0">
                <a:ln>
                  <a:noFill/>
                </a:ln>
                <a:solidFill>
                  <a:srgbClr val="FFFFFF"/>
                </a:solidFill>
                <a:effectLst/>
                <a:uLnTx/>
                <a:uFillTx/>
                <a:latin typeface="Calibri"/>
                <a:ea typeface="+mn-ea"/>
                <a:cs typeface="+mn-cs"/>
              </a:rPr>
              <a:t> de </a:t>
            </a:r>
            <a:r>
              <a:rPr kumimoji="0" lang="en-US" sz="2000" b="0" i="0" u="none" strike="noStrike" kern="1200" cap="none" spc="0" normalizeH="0" baseline="0" noProof="0" err="1">
                <a:ln>
                  <a:noFill/>
                </a:ln>
                <a:solidFill>
                  <a:srgbClr val="FFFFFF"/>
                </a:solidFill>
                <a:effectLst/>
                <a:uLnTx/>
                <a:uFillTx/>
                <a:latin typeface="Calibri"/>
                <a:ea typeface="+mn-ea"/>
                <a:cs typeface="+mn-cs"/>
              </a:rPr>
              <a:t>gramática</a:t>
            </a:r>
            <a:r>
              <a:rPr kumimoji="0" lang="en-US" sz="2000" b="0" i="0" u="none" strike="noStrike" kern="1200" cap="none" spc="0" normalizeH="0" baseline="0" noProof="0">
                <a:ln>
                  <a:noFill/>
                </a:ln>
                <a:solidFill>
                  <a:srgbClr val="FFFFFF"/>
                </a:solidFill>
                <a:effectLst/>
                <a:uLnTx/>
                <a:uFillTx/>
                <a:latin typeface="Calibri"/>
                <a:ea typeface="+mn-ea"/>
                <a:cs typeface="+mn-cs"/>
              </a:rPr>
              <a:t>.</a:t>
            </a:r>
          </a:p>
        </p:txBody>
      </p:sp>
      <p:grpSp>
        <p:nvGrpSpPr>
          <p:cNvPr id="5" name="Graphic 4">
            <a:extLst>
              <a:ext uri="{FF2B5EF4-FFF2-40B4-BE49-F238E27FC236}">
                <a16:creationId xmlns:a16="http://schemas.microsoft.com/office/drawing/2014/main" id="{B334038B-BDB5-A15B-BE6A-70BAEFF9C29C}"/>
              </a:ext>
            </a:extLst>
          </p:cNvPr>
          <p:cNvGrpSpPr/>
          <p:nvPr/>
        </p:nvGrpSpPr>
        <p:grpSpPr>
          <a:xfrm>
            <a:off x="692601" y="2004535"/>
            <a:ext cx="1343115" cy="1341862"/>
            <a:chOff x="4045469" y="4793256"/>
            <a:chExt cx="362309" cy="361971"/>
          </a:xfrm>
          <a:solidFill>
            <a:srgbClr val="6FC2B4"/>
          </a:solidFill>
        </p:grpSpPr>
        <p:sp>
          <p:nvSpPr>
            <p:cNvPr id="6" name="Graphic 4">
              <a:extLst>
                <a:ext uri="{FF2B5EF4-FFF2-40B4-BE49-F238E27FC236}">
                  <a16:creationId xmlns:a16="http://schemas.microsoft.com/office/drawing/2014/main" id="{2AA1B9C3-58A3-3ABD-9CE3-5BE173F2517D}"/>
                </a:ext>
              </a:extLst>
            </p:cNvPr>
            <p:cNvSpPr/>
            <p:nvPr/>
          </p:nvSpPr>
          <p:spPr>
            <a:xfrm>
              <a:off x="4171350" y="4869225"/>
              <a:ext cx="111627" cy="146193"/>
            </a:xfrm>
            <a:custGeom>
              <a:avLst/>
              <a:gdLst>
                <a:gd name="connsiteX0" fmla="*/ 55593 w 111627"/>
                <a:gd name="connsiteY0" fmla="*/ 0 h 146193"/>
                <a:gd name="connsiteX1" fmla="*/ 0 w 111627"/>
                <a:gd name="connsiteY1" fmla="*/ 43411 h 146193"/>
                <a:gd name="connsiteX2" fmla="*/ 19170 w 111627"/>
                <a:gd name="connsiteY2" fmla="*/ 44688 h 146193"/>
                <a:gd name="connsiteX3" fmla="*/ 67734 w 111627"/>
                <a:gd name="connsiteY3" fmla="*/ 21067 h 146193"/>
                <a:gd name="connsiteX4" fmla="*/ 93293 w 111627"/>
                <a:gd name="connsiteY4" fmla="*/ 56818 h 146193"/>
                <a:gd name="connsiteX5" fmla="*/ 54954 w 111627"/>
                <a:gd name="connsiteY5" fmla="*/ 95121 h 146193"/>
                <a:gd name="connsiteX6" fmla="*/ 46008 w 111627"/>
                <a:gd name="connsiteY6" fmla="*/ 95121 h 146193"/>
                <a:gd name="connsiteX7" fmla="*/ 46008 w 111627"/>
                <a:gd name="connsiteY7" fmla="*/ 146193 h 146193"/>
                <a:gd name="connsiteX8" fmla="*/ 65177 w 111627"/>
                <a:gd name="connsiteY8" fmla="*/ 146193 h 146193"/>
                <a:gd name="connsiteX9" fmla="*/ 65177 w 111627"/>
                <a:gd name="connsiteY9" fmla="*/ 118742 h 146193"/>
                <a:gd name="connsiteX10" fmla="*/ 70289 w 111627"/>
                <a:gd name="connsiteY10" fmla="*/ 112358 h 146193"/>
                <a:gd name="connsiteX11" fmla="*/ 109268 w 111627"/>
                <a:gd name="connsiteY11" fmla="*/ 40858 h 146193"/>
                <a:gd name="connsiteX12" fmla="*/ 55593 w 111627"/>
                <a:gd name="connsiteY12" fmla="*/ 0 h 146193"/>
                <a:gd name="connsiteX13" fmla="*/ 55593 w 111627"/>
                <a:gd name="connsiteY13" fmla="*/ 0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627" h="146193">
                  <a:moveTo>
                    <a:pt x="55593" y="0"/>
                  </a:moveTo>
                  <a:cubicBezTo>
                    <a:pt x="29394" y="0"/>
                    <a:pt x="6390" y="17875"/>
                    <a:pt x="0" y="43411"/>
                  </a:cubicBezTo>
                  <a:lnTo>
                    <a:pt x="19170" y="44688"/>
                  </a:lnTo>
                  <a:cubicBezTo>
                    <a:pt x="26199" y="24898"/>
                    <a:pt x="47925" y="14045"/>
                    <a:pt x="67734" y="21067"/>
                  </a:cubicBezTo>
                  <a:cubicBezTo>
                    <a:pt x="83069" y="26175"/>
                    <a:pt x="93293" y="40858"/>
                    <a:pt x="93293" y="56818"/>
                  </a:cubicBezTo>
                  <a:cubicBezTo>
                    <a:pt x="92654" y="77885"/>
                    <a:pt x="76040" y="94483"/>
                    <a:pt x="54954" y="95121"/>
                  </a:cubicBezTo>
                  <a:lnTo>
                    <a:pt x="46008" y="95121"/>
                  </a:lnTo>
                  <a:lnTo>
                    <a:pt x="46008" y="146193"/>
                  </a:lnTo>
                  <a:lnTo>
                    <a:pt x="65177" y="146193"/>
                  </a:lnTo>
                  <a:lnTo>
                    <a:pt x="65177" y="118742"/>
                  </a:lnTo>
                  <a:cubicBezTo>
                    <a:pt x="65177" y="115550"/>
                    <a:pt x="67094" y="112997"/>
                    <a:pt x="70289" y="112358"/>
                  </a:cubicBezTo>
                  <a:cubicBezTo>
                    <a:pt x="100961" y="103421"/>
                    <a:pt x="118214" y="71501"/>
                    <a:pt x="109268" y="40858"/>
                  </a:cubicBezTo>
                  <a:cubicBezTo>
                    <a:pt x="102239" y="17237"/>
                    <a:pt x="80513" y="639"/>
                    <a:pt x="55593" y="0"/>
                  </a:cubicBezTo>
                  <a:lnTo>
                    <a:pt x="55593" y="0"/>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Graphic 4">
              <a:extLst>
                <a:ext uri="{FF2B5EF4-FFF2-40B4-BE49-F238E27FC236}">
                  <a16:creationId xmlns:a16="http://schemas.microsoft.com/office/drawing/2014/main" id="{C77447A8-016B-6932-861E-19A3084D1997}"/>
                </a:ext>
              </a:extLst>
            </p:cNvPr>
            <p:cNvSpPr/>
            <p:nvPr/>
          </p:nvSpPr>
          <p:spPr>
            <a:xfrm>
              <a:off x="4217358" y="5059468"/>
              <a:ext cx="19169" cy="19151"/>
            </a:xfrm>
            <a:custGeom>
              <a:avLst/>
              <a:gdLst>
                <a:gd name="connsiteX0" fmla="*/ 9585 w 19169"/>
                <a:gd name="connsiteY0" fmla="*/ 0 h 19151"/>
                <a:gd name="connsiteX1" fmla="*/ 0 w 19169"/>
                <a:gd name="connsiteY1" fmla="*/ 9576 h 19151"/>
                <a:gd name="connsiteX2" fmla="*/ 9585 w 19169"/>
                <a:gd name="connsiteY2" fmla="*/ 19152 h 19151"/>
                <a:gd name="connsiteX3" fmla="*/ 19170 w 19169"/>
                <a:gd name="connsiteY3" fmla="*/ 9576 h 19151"/>
                <a:gd name="connsiteX4" fmla="*/ 19170 w 19169"/>
                <a:gd name="connsiteY4" fmla="*/ 9576 h 19151"/>
                <a:gd name="connsiteX5" fmla="*/ 9585 w 19169"/>
                <a:gd name="connsiteY5" fmla="*/ 0 h 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69" h="19151">
                  <a:moveTo>
                    <a:pt x="9585" y="0"/>
                  </a:moveTo>
                  <a:cubicBezTo>
                    <a:pt x="4473" y="0"/>
                    <a:pt x="0" y="4468"/>
                    <a:pt x="0" y="9576"/>
                  </a:cubicBezTo>
                  <a:cubicBezTo>
                    <a:pt x="0" y="14683"/>
                    <a:pt x="4473" y="19152"/>
                    <a:pt x="9585" y="19152"/>
                  </a:cubicBezTo>
                  <a:cubicBezTo>
                    <a:pt x="14697" y="19152"/>
                    <a:pt x="19170" y="14683"/>
                    <a:pt x="19170" y="9576"/>
                  </a:cubicBezTo>
                  <a:cubicBezTo>
                    <a:pt x="19170" y="9576"/>
                    <a:pt x="19170" y="9576"/>
                    <a:pt x="19170" y="9576"/>
                  </a:cubicBezTo>
                  <a:cubicBezTo>
                    <a:pt x="18531" y="4468"/>
                    <a:pt x="14697" y="0"/>
                    <a:pt x="9585" y="0"/>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8" name="Graphic 4">
              <a:extLst>
                <a:ext uri="{FF2B5EF4-FFF2-40B4-BE49-F238E27FC236}">
                  <a16:creationId xmlns:a16="http://schemas.microsoft.com/office/drawing/2014/main" id="{62E81B1F-8E86-0896-FFF2-BA054432DB37}"/>
                </a:ext>
              </a:extLst>
            </p:cNvPr>
            <p:cNvSpPr/>
            <p:nvPr/>
          </p:nvSpPr>
          <p:spPr>
            <a:xfrm>
              <a:off x="4045469"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298132 h 361971"/>
                <a:gd name="connsiteX7" fmla="*/ 159110 w 362309"/>
                <a:gd name="connsiteY7" fmla="*/ 275788 h 361971"/>
                <a:gd name="connsiteX8" fmla="*/ 181474 w 362309"/>
                <a:gd name="connsiteY8" fmla="*/ 253444 h 361971"/>
                <a:gd name="connsiteX9" fmla="*/ 203839 w 362309"/>
                <a:gd name="connsiteY9" fmla="*/ 275788 h 361971"/>
                <a:gd name="connsiteX10" fmla="*/ 203839 w 362309"/>
                <a:gd name="connsiteY10" fmla="*/ 275788 h 361971"/>
                <a:gd name="connsiteX11" fmla="*/ 181474 w 362309"/>
                <a:gd name="connsiteY11" fmla="*/ 298132 h 361971"/>
                <a:gd name="connsiteX12" fmla="*/ 181474 w 362309"/>
                <a:gd name="connsiteY12" fmla="*/ 298132 h 361971"/>
                <a:gd name="connsiteX13" fmla="*/ 181474 w 362309"/>
                <a:gd name="connsiteY13" fmla="*/ 298132 h 361971"/>
                <a:gd name="connsiteX14" fmla="*/ 203839 w 362309"/>
                <a:gd name="connsiteY14" fmla="*/ 199180 h 361971"/>
                <a:gd name="connsiteX15" fmla="*/ 203839 w 362309"/>
                <a:gd name="connsiteY15" fmla="*/ 228546 h 361971"/>
                <a:gd name="connsiteX16" fmla="*/ 197449 w 362309"/>
                <a:gd name="connsiteY16" fmla="*/ 234930 h 361971"/>
                <a:gd name="connsiteX17" fmla="*/ 165500 w 362309"/>
                <a:gd name="connsiteY17" fmla="*/ 234930 h 361971"/>
                <a:gd name="connsiteX18" fmla="*/ 159110 w 362309"/>
                <a:gd name="connsiteY18" fmla="*/ 228546 h 361971"/>
                <a:gd name="connsiteX19" fmla="*/ 159110 w 362309"/>
                <a:gd name="connsiteY19" fmla="*/ 164707 h 361971"/>
                <a:gd name="connsiteX20" fmla="*/ 165500 w 362309"/>
                <a:gd name="connsiteY20" fmla="*/ 158323 h 361971"/>
                <a:gd name="connsiteX21" fmla="*/ 181474 w 362309"/>
                <a:gd name="connsiteY21" fmla="*/ 158323 h 361971"/>
                <a:gd name="connsiteX22" fmla="*/ 207034 w 362309"/>
                <a:gd name="connsiteY22" fmla="*/ 132787 h 361971"/>
                <a:gd name="connsiteX23" fmla="*/ 180196 w 362309"/>
                <a:gd name="connsiteY23" fmla="*/ 108528 h 361971"/>
                <a:gd name="connsiteX24" fmla="*/ 156553 w 362309"/>
                <a:gd name="connsiteY24" fmla="*/ 128318 h 361971"/>
                <a:gd name="connsiteX25" fmla="*/ 150164 w 362309"/>
                <a:gd name="connsiteY25" fmla="*/ 133425 h 361971"/>
                <a:gd name="connsiteX26" fmla="*/ 118214 w 362309"/>
                <a:gd name="connsiteY26" fmla="*/ 130872 h 361971"/>
                <a:gd name="connsiteX27" fmla="*/ 112463 w 362309"/>
                <a:gd name="connsiteY27" fmla="*/ 124488 h 361971"/>
                <a:gd name="connsiteX28" fmla="*/ 112463 w 362309"/>
                <a:gd name="connsiteY28" fmla="*/ 121296 h 361971"/>
                <a:gd name="connsiteX29" fmla="*/ 192976 w 362309"/>
                <a:gd name="connsiteY29" fmla="*/ 63201 h 361971"/>
                <a:gd name="connsiteX30" fmla="*/ 251125 w 362309"/>
                <a:gd name="connsiteY30" fmla="*/ 143640 h 361971"/>
                <a:gd name="connsiteX31" fmla="*/ 203839 w 362309"/>
                <a:gd name="connsiteY31" fmla="*/ 199180 h 361971"/>
                <a:gd name="connsiteX32" fmla="*/ 203839 w 362309"/>
                <a:gd name="connsiteY32" fmla="*/ 19918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lose/>
                  <a:moveTo>
                    <a:pt x="181474" y="298132"/>
                  </a:moveTo>
                  <a:cubicBezTo>
                    <a:pt x="169333" y="298132"/>
                    <a:pt x="159110" y="287917"/>
                    <a:pt x="159110" y="275788"/>
                  </a:cubicBezTo>
                  <a:cubicBezTo>
                    <a:pt x="159110" y="263658"/>
                    <a:pt x="169333" y="253444"/>
                    <a:pt x="181474" y="253444"/>
                  </a:cubicBezTo>
                  <a:cubicBezTo>
                    <a:pt x="193615" y="253444"/>
                    <a:pt x="203839" y="263658"/>
                    <a:pt x="203839" y="275788"/>
                  </a:cubicBezTo>
                  <a:cubicBezTo>
                    <a:pt x="203839" y="275788"/>
                    <a:pt x="203839" y="275788"/>
                    <a:pt x="203839" y="275788"/>
                  </a:cubicBezTo>
                  <a:cubicBezTo>
                    <a:pt x="203839" y="288556"/>
                    <a:pt x="193615" y="298132"/>
                    <a:pt x="181474" y="298132"/>
                  </a:cubicBezTo>
                  <a:cubicBezTo>
                    <a:pt x="181474" y="298132"/>
                    <a:pt x="181474" y="298132"/>
                    <a:pt x="181474" y="298132"/>
                  </a:cubicBezTo>
                  <a:lnTo>
                    <a:pt x="181474" y="298132"/>
                  </a:lnTo>
                  <a:close/>
                  <a:moveTo>
                    <a:pt x="203839" y="199180"/>
                  </a:moveTo>
                  <a:lnTo>
                    <a:pt x="203839" y="228546"/>
                  </a:lnTo>
                  <a:cubicBezTo>
                    <a:pt x="203839" y="232377"/>
                    <a:pt x="201283" y="234930"/>
                    <a:pt x="197449" y="234930"/>
                  </a:cubicBezTo>
                  <a:lnTo>
                    <a:pt x="165500" y="234930"/>
                  </a:lnTo>
                  <a:cubicBezTo>
                    <a:pt x="161666" y="234930"/>
                    <a:pt x="159110" y="232377"/>
                    <a:pt x="159110" y="228546"/>
                  </a:cubicBezTo>
                  <a:lnTo>
                    <a:pt x="159110" y="164707"/>
                  </a:lnTo>
                  <a:cubicBezTo>
                    <a:pt x="159110" y="160876"/>
                    <a:pt x="161666" y="158323"/>
                    <a:pt x="165500" y="158323"/>
                  </a:cubicBezTo>
                  <a:lnTo>
                    <a:pt x="181474" y="158323"/>
                  </a:lnTo>
                  <a:cubicBezTo>
                    <a:pt x="195532" y="158323"/>
                    <a:pt x="207034" y="146832"/>
                    <a:pt x="207034" y="132787"/>
                  </a:cubicBezTo>
                  <a:cubicBezTo>
                    <a:pt x="206395" y="118742"/>
                    <a:pt x="194254" y="107889"/>
                    <a:pt x="180196" y="108528"/>
                  </a:cubicBezTo>
                  <a:cubicBezTo>
                    <a:pt x="168695" y="109166"/>
                    <a:pt x="159110" y="117465"/>
                    <a:pt x="156553" y="128318"/>
                  </a:cubicBezTo>
                  <a:cubicBezTo>
                    <a:pt x="155915" y="131510"/>
                    <a:pt x="153358" y="133425"/>
                    <a:pt x="150164" y="133425"/>
                  </a:cubicBezTo>
                  <a:lnTo>
                    <a:pt x="118214" y="130872"/>
                  </a:lnTo>
                  <a:cubicBezTo>
                    <a:pt x="115019" y="130872"/>
                    <a:pt x="112463" y="127680"/>
                    <a:pt x="112463" y="124488"/>
                  </a:cubicBezTo>
                  <a:cubicBezTo>
                    <a:pt x="112463" y="123211"/>
                    <a:pt x="112463" y="121934"/>
                    <a:pt x="112463" y="121296"/>
                  </a:cubicBezTo>
                  <a:cubicBezTo>
                    <a:pt x="118853" y="82992"/>
                    <a:pt x="154637" y="56817"/>
                    <a:pt x="192976" y="63201"/>
                  </a:cubicBezTo>
                  <a:cubicBezTo>
                    <a:pt x="231316" y="69585"/>
                    <a:pt x="257515" y="105336"/>
                    <a:pt x="251125" y="143640"/>
                  </a:cubicBezTo>
                  <a:cubicBezTo>
                    <a:pt x="246652" y="169176"/>
                    <a:pt x="228760" y="190881"/>
                    <a:pt x="203839" y="199180"/>
                  </a:cubicBezTo>
                  <a:lnTo>
                    <a:pt x="203839" y="199180"/>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 name="Graphic 4">
            <a:extLst>
              <a:ext uri="{FF2B5EF4-FFF2-40B4-BE49-F238E27FC236}">
                <a16:creationId xmlns:a16="http://schemas.microsoft.com/office/drawing/2014/main" id="{4A9DFEA2-10AE-5929-6166-FC57BD601DDC}"/>
              </a:ext>
            </a:extLst>
          </p:cNvPr>
          <p:cNvGrpSpPr>
            <a:grpSpLocks noChangeAspect="1"/>
          </p:cNvGrpSpPr>
          <p:nvPr/>
        </p:nvGrpSpPr>
        <p:grpSpPr>
          <a:xfrm>
            <a:off x="6980875" y="2074600"/>
            <a:ext cx="1342867" cy="1341600"/>
            <a:chOff x="1952764" y="2855717"/>
            <a:chExt cx="361674" cy="361333"/>
          </a:xfrm>
          <a:solidFill>
            <a:srgbClr val="6FC2B4"/>
          </a:solidFill>
        </p:grpSpPr>
        <p:sp>
          <p:nvSpPr>
            <p:cNvPr id="10" name="Graphic 4">
              <a:extLst>
                <a:ext uri="{FF2B5EF4-FFF2-40B4-BE49-F238E27FC236}">
                  <a16:creationId xmlns:a16="http://schemas.microsoft.com/office/drawing/2014/main" id="{6841CC98-E7C6-D1CD-21CD-98F8C5170398}"/>
                </a:ext>
              </a:extLst>
            </p:cNvPr>
            <p:cNvSpPr/>
            <p:nvPr/>
          </p:nvSpPr>
          <p:spPr>
            <a:xfrm>
              <a:off x="1952764" y="2855717"/>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282435 w 361674"/>
                <a:gd name="connsiteY5" fmla="*/ 221524 h 361333"/>
                <a:gd name="connsiteX6" fmla="*/ 276045 w 361674"/>
                <a:gd name="connsiteY6" fmla="*/ 227908 h 361333"/>
                <a:gd name="connsiteX7" fmla="*/ 157192 w 361674"/>
                <a:gd name="connsiteY7" fmla="*/ 227908 h 361333"/>
                <a:gd name="connsiteX8" fmla="*/ 125243 w 361674"/>
                <a:gd name="connsiteY8" fmla="*/ 266212 h 361333"/>
                <a:gd name="connsiteX9" fmla="*/ 120131 w 361674"/>
                <a:gd name="connsiteY9" fmla="*/ 268766 h 361333"/>
                <a:gd name="connsiteX10" fmla="*/ 118214 w 361674"/>
                <a:gd name="connsiteY10" fmla="*/ 268127 h 361333"/>
                <a:gd name="connsiteX11" fmla="*/ 113741 w 361674"/>
                <a:gd name="connsiteY11" fmla="*/ 262382 h 361333"/>
                <a:gd name="connsiteX12" fmla="*/ 113741 w 361674"/>
                <a:gd name="connsiteY12" fmla="*/ 227908 h 361333"/>
                <a:gd name="connsiteX13" fmla="*/ 86264 w 361674"/>
                <a:gd name="connsiteY13" fmla="*/ 227908 h 361333"/>
                <a:gd name="connsiteX14" fmla="*/ 79874 w 361674"/>
                <a:gd name="connsiteY14" fmla="*/ 221524 h 361333"/>
                <a:gd name="connsiteX15" fmla="*/ 79874 w 361674"/>
                <a:gd name="connsiteY15" fmla="*/ 99590 h 361333"/>
                <a:gd name="connsiteX16" fmla="*/ 86264 w 361674"/>
                <a:gd name="connsiteY16" fmla="*/ 93206 h 361333"/>
                <a:gd name="connsiteX17" fmla="*/ 275406 w 361674"/>
                <a:gd name="connsiteY17" fmla="*/ 93206 h 361333"/>
                <a:gd name="connsiteX18" fmla="*/ 281796 w 361674"/>
                <a:gd name="connsiteY18" fmla="*/ 99590 h 361333"/>
                <a:gd name="connsiteX19" fmla="*/ 281796 w 361674"/>
                <a:gd name="connsiteY19" fmla="*/ 22152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1674" h="361333">
                  <a:moveTo>
                    <a:pt x="180835" y="0"/>
                  </a:moveTo>
                  <a:cubicBezTo>
                    <a:pt x="80513" y="0"/>
                    <a:pt x="0" y="81076"/>
                    <a:pt x="0" y="180667"/>
                  </a:cubicBezTo>
                  <a:cubicBezTo>
                    <a:pt x="0" y="280895"/>
                    <a:pt x="81152" y="361333"/>
                    <a:pt x="180835" y="361333"/>
                  </a:cubicBezTo>
                  <a:cubicBezTo>
                    <a:pt x="280518" y="361333"/>
                    <a:pt x="361670" y="280257"/>
                    <a:pt x="361670" y="180667"/>
                  </a:cubicBezTo>
                  <a:cubicBezTo>
                    <a:pt x="362309" y="80438"/>
                    <a:pt x="281157" y="0"/>
                    <a:pt x="180835" y="0"/>
                  </a:cubicBezTo>
                  <a:close/>
                  <a:moveTo>
                    <a:pt x="282435" y="221524"/>
                  </a:moveTo>
                  <a:cubicBezTo>
                    <a:pt x="282435" y="225355"/>
                    <a:pt x="279879" y="227908"/>
                    <a:pt x="276045" y="227908"/>
                  </a:cubicBezTo>
                  <a:lnTo>
                    <a:pt x="157192" y="227908"/>
                  </a:lnTo>
                  <a:lnTo>
                    <a:pt x="125243" y="266212"/>
                  </a:lnTo>
                  <a:cubicBezTo>
                    <a:pt x="123965" y="267489"/>
                    <a:pt x="122048" y="268766"/>
                    <a:pt x="120131" y="268766"/>
                  </a:cubicBezTo>
                  <a:cubicBezTo>
                    <a:pt x="119492" y="268766"/>
                    <a:pt x="118853" y="268766"/>
                    <a:pt x="118214" y="268127"/>
                  </a:cubicBezTo>
                  <a:cubicBezTo>
                    <a:pt x="115658" y="267489"/>
                    <a:pt x="113741" y="264935"/>
                    <a:pt x="113741" y="262382"/>
                  </a:cubicBezTo>
                  <a:lnTo>
                    <a:pt x="113741" y="227908"/>
                  </a:lnTo>
                  <a:lnTo>
                    <a:pt x="86264" y="227908"/>
                  </a:lnTo>
                  <a:cubicBezTo>
                    <a:pt x="82430" y="227908"/>
                    <a:pt x="79874" y="225355"/>
                    <a:pt x="79874" y="221524"/>
                  </a:cubicBezTo>
                  <a:lnTo>
                    <a:pt x="79874" y="99590"/>
                  </a:lnTo>
                  <a:cubicBezTo>
                    <a:pt x="79874" y="95760"/>
                    <a:pt x="82430" y="93206"/>
                    <a:pt x="86264" y="93206"/>
                  </a:cubicBezTo>
                  <a:lnTo>
                    <a:pt x="275406" y="93206"/>
                  </a:lnTo>
                  <a:cubicBezTo>
                    <a:pt x="279240" y="93206"/>
                    <a:pt x="281796" y="95760"/>
                    <a:pt x="281796" y="99590"/>
                  </a:cubicBezTo>
                  <a:lnTo>
                    <a:pt x="281796" y="221524"/>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1" name="Graphic 4">
              <a:extLst>
                <a:ext uri="{FF2B5EF4-FFF2-40B4-BE49-F238E27FC236}">
                  <a16:creationId xmlns:a16="http://schemas.microsoft.com/office/drawing/2014/main" id="{0575B5CC-9802-B9C4-599A-B7E350122533}"/>
                </a:ext>
              </a:extLst>
            </p:cNvPr>
            <p:cNvSpPr/>
            <p:nvPr/>
          </p:nvSpPr>
          <p:spPr>
            <a:xfrm>
              <a:off x="2045418" y="2961691"/>
              <a:ext cx="177001" cy="138532"/>
            </a:xfrm>
            <a:custGeom>
              <a:avLst/>
              <a:gdLst>
                <a:gd name="connsiteX0" fmla="*/ 0 w 177001"/>
                <a:gd name="connsiteY0" fmla="*/ 109166 h 138532"/>
                <a:gd name="connsiteX1" fmla="*/ 27477 w 177001"/>
                <a:gd name="connsiteY1" fmla="*/ 109166 h 138532"/>
                <a:gd name="connsiteX2" fmla="*/ 33867 w 177001"/>
                <a:gd name="connsiteY2" fmla="*/ 115550 h 138532"/>
                <a:gd name="connsiteX3" fmla="*/ 33867 w 177001"/>
                <a:gd name="connsiteY3" fmla="*/ 138533 h 138532"/>
                <a:gd name="connsiteX4" fmla="*/ 56231 w 177001"/>
                <a:gd name="connsiteY4" fmla="*/ 111720 h 138532"/>
                <a:gd name="connsiteX5" fmla="*/ 61343 w 177001"/>
                <a:gd name="connsiteY5" fmla="*/ 109166 h 138532"/>
                <a:gd name="connsiteX6" fmla="*/ 177001 w 177001"/>
                <a:gd name="connsiteY6" fmla="*/ 109166 h 138532"/>
                <a:gd name="connsiteX7" fmla="*/ 177001 w 177001"/>
                <a:gd name="connsiteY7" fmla="*/ 0 h 138532"/>
                <a:gd name="connsiteX8" fmla="*/ 639 w 177001"/>
                <a:gd name="connsiteY8" fmla="*/ 0 h 138532"/>
                <a:gd name="connsiteX9" fmla="*/ 639 w 177001"/>
                <a:gd name="connsiteY9" fmla="*/ 109166 h 138532"/>
                <a:gd name="connsiteX10" fmla="*/ 19170 w 177001"/>
                <a:gd name="connsiteY10" fmla="*/ 21067 h 138532"/>
                <a:gd name="connsiteX11" fmla="*/ 157831 w 177001"/>
                <a:gd name="connsiteY11" fmla="*/ 21067 h 138532"/>
                <a:gd name="connsiteX12" fmla="*/ 164221 w 177001"/>
                <a:gd name="connsiteY12" fmla="*/ 27451 h 138532"/>
                <a:gd name="connsiteX13" fmla="*/ 157831 w 177001"/>
                <a:gd name="connsiteY13" fmla="*/ 33835 h 138532"/>
                <a:gd name="connsiteX14" fmla="*/ 19170 w 177001"/>
                <a:gd name="connsiteY14" fmla="*/ 33835 h 138532"/>
                <a:gd name="connsiteX15" fmla="*/ 12780 w 177001"/>
                <a:gd name="connsiteY15" fmla="*/ 27451 h 138532"/>
                <a:gd name="connsiteX16" fmla="*/ 19170 w 177001"/>
                <a:gd name="connsiteY16" fmla="*/ 21067 h 138532"/>
                <a:gd name="connsiteX17" fmla="*/ 19170 w 177001"/>
                <a:gd name="connsiteY17" fmla="*/ 48518 h 138532"/>
                <a:gd name="connsiteX18" fmla="*/ 157831 w 177001"/>
                <a:gd name="connsiteY18" fmla="*/ 48518 h 138532"/>
                <a:gd name="connsiteX19" fmla="*/ 164221 w 177001"/>
                <a:gd name="connsiteY19" fmla="*/ 54902 h 138532"/>
                <a:gd name="connsiteX20" fmla="*/ 157831 w 177001"/>
                <a:gd name="connsiteY20" fmla="*/ 61286 h 138532"/>
                <a:gd name="connsiteX21" fmla="*/ 19170 w 177001"/>
                <a:gd name="connsiteY21" fmla="*/ 61286 h 138532"/>
                <a:gd name="connsiteX22" fmla="*/ 12780 w 177001"/>
                <a:gd name="connsiteY22" fmla="*/ 54902 h 138532"/>
                <a:gd name="connsiteX23" fmla="*/ 19170 w 177001"/>
                <a:gd name="connsiteY23" fmla="*/ 48518 h 138532"/>
                <a:gd name="connsiteX24" fmla="*/ 19170 w 177001"/>
                <a:gd name="connsiteY24" fmla="*/ 76608 h 138532"/>
                <a:gd name="connsiteX25" fmla="*/ 157831 w 177001"/>
                <a:gd name="connsiteY25" fmla="*/ 76608 h 138532"/>
                <a:gd name="connsiteX26" fmla="*/ 164221 w 177001"/>
                <a:gd name="connsiteY26" fmla="*/ 82992 h 138532"/>
                <a:gd name="connsiteX27" fmla="*/ 157831 w 177001"/>
                <a:gd name="connsiteY27" fmla="*/ 89376 h 138532"/>
                <a:gd name="connsiteX28" fmla="*/ 19170 w 177001"/>
                <a:gd name="connsiteY28" fmla="*/ 89376 h 138532"/>
                <a:gd name="connsiteX29" fmla="*/ 12780 w 177001"/>
                <a:gd name="connsiteY29" fmla="*/ 82992 h 138532"/>
                <a:gd name="connsiteX30" fmla="*/ 19170 w 177001"/>
                <a:gd name="connsiteY30" fmla="*/ 76608 h 13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7001" h="138532">
                  <a:moveTo>
                    <a:pt x="0" y="109166"/>
                  </a:moveTo>
                  <a:lnTo>
                    <a:pt x="27477" y="109166"/>
                  </a:lnTo>
                  <a:cubicBezTo>
                    <a:pt x="31311" y="109166"/>
                    <a:pt x="33867" y="111720"/>
                    <a:pt x="33867" y="115550"/>
                  </a:cubicBezTo>
                  <a:lnTo>
                    <a:pt x="33867" y="138533"/>
                  </a:lnTo>
                  <a:lnTo>
                    <a:pt x="56231" y="111720"/>
                  </a:lnTo>
                  <a:cubicBezTo>
                    <a:pt x="57509" y="110443"/>
                    <a:pt x="59426" y="109166"/>
                    <a:pt x="61343" y="109166"/>
                  </a:cubicBezTo>
                  <a:lnTo>
                    <a:pt x="177001" y="109166"/>
                  </a:lnTo>
                  <a:lnTo>
                    <a:pt x="177001" y="0"/>
                  </a:lnTo>
                  <a:lnTo>
                    <a:pt x="639" y="0"/>
                  </a:lnTo>
                  <a:lnTo>
                    <a:pt x="639" y="109166"/>
                  </a:lnTo>
                  <a:close/>
                  <a:moveTo>
                    <a:pt x="19170" y="21067"/>
                  </a:moveTo>
                  <a:lnTo>
                    <a:pt x="157831" y="21067"/>
                  </a:lnTo>
                  <a:cubicBezTo>
                    <a:pt x="161665" y="21067"/>
                    <a:pt x="164221" y="23621"/>
                    <a:pt x="164221" y="27451"/>
                  </a:cubicBezTo>
                  <a:cubicBezTo>
                    <a:pt x="164221" y="31282"/>
                    <a:pt x="161665" y="33835"/>
                    <a:pt x="157831" y="33835"/>
                  </a:cubicBezTo>
                  <a:lnTo>
                    <a:pt x="19170" y="33835"/>
                  </a:lnTo>
                  <a:cubicBezTo>
                    <a:pt x="15336" y="33835"/>
                    <a:pt x="12780" y="31282"/>
                    <a:pt x="12780" y="27451"/>
                  </a:cubicBezTo>
                  <a:cubicBezTo>
                    <a:pt x="12780" y="23621"/>
                    <a:pt x="15336" y="21067"/>
                    <a:pt x="19170" y="21067"/>
                  </a:cubicBezTo>
                  <a:close/>
                  <a:moveTo>
                    <a:pt x="19170" y="48518"/>
                  </a:moveTo>
                  <a:lnTo>
                    <a:pt x="157831" y="48518"/>
                  </a:lnTo>
                  <a:cubicBezTo>
                    <a:pt x="161665" y="48518"/>
                    <a:pt x="164221" y="51072"/>
                    <a:pt x="164221" y="54902"/>
                  </a:cubicBezTo>
                  <a:cubicBezTo>
                    <a:pt x="164221" y="58733"/>
                    <a:pt x="161665" y="61286"/>
                    <a:pt x="157831" y="61286"/>
                  </a:cubicBezTo>
                  <a:lnTo>
                    <a:pt x="19170" y="61286"/>
                  </a:lnTo>
                  <a:cubicBezTo>
                    <a:pt x="15336" y="61286"/>
                    <a:pt x="12780" y="58733"/>
                    <a:pt x="12780" y="54902"/>
                  </a:cubicBezTo>
                  <a:cubicBezTo>
                    <a:pt x="12780" y="51072"/>
                    <a:pt x="15336" y="48518"/>
                    <a:pt x="19170" y="48518"/>
                  </a:cubicBezTo>
                  <a:close/>
                  <a:moveTo>
                    <a:pt x="19170" y="76608"/>
                  </a:moveTo>
                  <a:lnTo>
                    <a:pt x="157831" y="76608"/>
                  </a:lnTo>
                  <a:cubicBezTo>
                    <a:pt x="161665" y="76608"/>
                    <a:pt x="164221" y="79162"/>
                    <a:pt x="164221" y="82992"/>
                  </a:cubicBezTo>
                  <a:cubicBezTo>
                    <a:pt x="164221" y="86822"/>
                    <a:pt x="161665" y="89376"/>
                    <a:pt x="157831" y="89376"/>
                  </a:cubicBezTo>
                  <a:lnTo>
                    <a:pt x="19170" y="89376"/>
                  </a:lnTo>
                  <a:cubicBezTo>
                    <a:pt x="15336" y="89376"/>
                    <a:pt x="12780" y="86822"/>
                    <a:pt x="12780" y="82992"/>
                  </a:cubicBezTo>
                  <a:cubicBezTo>
                    <a:pt x="12780" y="79162"/>
                    <a:pt x="15336" y="76608"/>
                    <a:pt x="19170" y="76608"/>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2" name="Graphic 4">
            <a:extLst>
              <a:ext uri="{FF2B5EF4-FFF2-40B4-BE49-F238E27FC236}">
                <a16:creationId xmlns:a16="http://schemas.microsoft.com/office/drawing/2014/main" id="{1C88F064-9F73-0BC5-5AC3-D195EC685D1D}"/>
              </a:ext>
            </a:extLst>
          </p:cNvPr>
          <p:cNvGrpSpPr>
            <a:grpSpLocks noChangeAspect="1"/>
          </p:cNvGrpSpPr>
          <p:nvPr/>
        </p:nvGrpSpPr>
        <p:grpSpPr>
          <a:xfrm>
            <a:off x="3946121" y="2004796"/>
            <a:ext cx="1342868" cy="1341600"/>
            <a:chOff x="1952125" y="2371173"/>
            <a:chExt cx="362313" cy="361971"/>
          </a:xfrm>
          <a:solidFill>
            <a:srgbClr val="6FC2B4"/>
          </a:solidFill>
        </p:grpSpPr>
        <p:sp>
          <p:nvSpPr>
            <p:cNvPr id="13" name="Graphic 4">
              <a:extLst>
                <a:ext uri="{FF2B5EF4-FFF2-40B4-BE49-F238E27FC236}">
                  <a16:creationId xmlns:a16="http://schemas.microsoft.com/office/drawing/2014/main" id="{4664F069-5D99-9D7F-E3BF-36C472F12044}"/>
                </a:ext>
              </a:extLst>
            </p:cNvPr>
            <p:cNvSpPr/>
            <p:nvPr/>
          </p:nvSpPr>
          <p:spPr>
            <a:xfrm>
              <a:off x="2148727" y="2570992"/>
              <a:ext cx="59368" cy="58941"/>
            </a:xfrm>
            <a:custGeom>
              <a:avLst/>
              <a:gdLst>
                <a:gd name="connsiteX0" fmla="*/ 34076 w 59368"/>
                <a:gd name="connsiteY0" fmla="*/ 0 h 58941"/>
                <a:gd name="connsiteX1" fmla="*/ 29603 w 59368"/>
                <a:gd name="connsiteY1" fmla="*/ 0 h 58941"/>
                <a:gd name="connsiteX2" fmla="*/ 11711 w 59368"/>
                <a:gd name="connsiteY2" fmla="*/ 5746 h 58941"/>
                <a:gd name="connsiteX3" fmla="*/ 209 w 59368"/>
                <a:gd name="connsiteY3" fmla="*/ 25536 h 58941"/>
                <a:gd name="connsiteX4" fmla="*/ 25769 w 59368"/>
                <a:gd name="connsiteY4" fmla="*/ 58733 h 58941"/>
                <a:gd name="connsiteX5" fmla="*/ 58996 w 59368"/>
                <a:gd name="connsiteY5" fmla="*/ 33197 h 58941"/>
                <a:gd name="connsiteX6" fmla="*/ 34076 w 59368"/>
                <a:gd name="connsiteY6" fmla="*/ 0 h 58941"/>
                <a:gd name="connsiteX7" fmla="*/ 34076 w 59368"/>
                <a:gd name="connsiteY7" fmla="*/ 0 h 5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68" h="58941">
                  <a:moveTo>
                    <a:pt x="34076" y="0"/>
                  </a:moveTo>
                  <a:cubicBezTo>
                    <a:pt x="32797" y="0"/>
                    <a:pt x="31520" y="0"/>
                    <a:pt x="29603" y="0"/>
                  </a:cubicBezTo>
                  <a:cubicBezTo>
                    <a:pt x="23213" y="0"/>
                    <a:pt x="16823" y="1915"/>
                    <a:pt x="11711" y="5746"/>
                  </a:cubicBezTo>
                  <a:cubicBezTo>
                    <a:pt x="5321" y="10214"/>
                    <a:pt x="1487" y="17237"/>
                    <a:pt x="209" y="25536"/>
                  </a:cubicBezTo>
                  <a:cubicBezTo>
                    <a:pt x="-1708" y="42134"/>
                    <a:pt x="9794" y="56817"/>
                    <a:pt x="25769" y="58733"/>
                  </a:cubicBezTo>
                  <a:cubicBezTo>
                    <a:pt x="41743" y="60648"/>
                    <a:pt x="57079" y="49157"/>
                    <a:pt x="58996" y="33197"/>
                  </a:cubicBezTo>
                  <a:cubicBezTo>
                    <a:pt x="61552" y="17237"/>
                    <a:pt x="50689" y="2554"/>
                    <a:pt x="34076" y="0"/>
                  </a:cubicBezTo>
                  <a:lnTo>
                    <a:pt x="34076" y="0"/>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4" name="Graphic 4">
              <a:extLst>
                <a:ext uri="{FF2B5EF4-FFF2-40B4-BE49-F238E27FC236}">
                  <a16:creationId xmlns:a16="http://schemas.microsoft.com/office/drawing/2014/main" id="{45BD3160-2E41-DCBB-283E-FF0AC6055A48}"/>
                </a:ext>
              </a:extLst>
            </p:cNvPr>
            <p:cNvSpPr/>
            <p:nvPr/>
          </p:nvSpPr>
          <p:spPr>
            <a:xfrm>
              <a:off x="2033278" y="2450973"/>
              <a:ext cx="108628" cy="105974"/>
            </a:xfrm>
            <a:custGeom>
              <a:avLst/>
              <a:gdLst>
                <a:gd name="connsiteX0" fmla="*/ 82430 w 108628"/>
                <a:gd name="connsiteY0" fmla="*/ 90653 h 105974"/>
                <a:gd name="connsiteX1" fmla="*/ 88820 w 108628"/>
                <a:gd name="connsiteY1" fmla="*/ 94483 h 105974"/>
                <a:gd name="connsiteX2" fmla="*/ 93932 w 108628"/>
                <a:gd name="connsiteY2" fmla="*/ 90014 h 105974"/>
                <a:gd name="connsiteX3" fmla="*/ 90737 w 108628"/>
                <a:gd name="connsiteY3" fmla="*/ 82992 h 105974"/>
                <a:gd name="connsiteX4" fmla="*/ 90737 w 108628"/>
                <a:gd name="connsiteY4" fmla="*/ 77246 h 105974"/>
                <a:gd name="connsiteX5" fmla="*/ 96488 w 108628"/>
                <a:gd name="connsiteY5" fmla="*/ 67032 h 105974"/>
                <a:gd name="connsiteX6" fmla="*/ 100961 w 108628"/>
                <a:gd name="connsiteY6" fmla="*/ 63840 h 105974"/>
                <a:gd name="connsiteX7" fmla="*/ 107990 w 108628"/>
                <a:gd name="connsiteY7" fmla="*/ 62563 h 105974"/>
                <a:gd name="connsiteX8" fmla="*/ 108629 w 108628"/>
                <a:gd name="connsiteY8" fmla="*/ 56179 h 105974"/>
                <a:gd name="connsiteX9" fmla="*/ 102239 w 108628"/>
                <a:gd name="connsiteY9" fmla="*/ 52987 h 105974"/>
                <a:gd name="connsiteX10" fmla="*/ 99044 w 108628"/>
                <a:gd name="connsiteY10" fmla="*/ 48518 h 105974"/>
                <a:gd name="connsiteX11" fmla="*/ 96488 w 108628"/>
                <a:gd name="connsiteY11" fmla="*/ 37027 h 105974"/>
                <a:gd name="connsiteX12" fmla="*/ 97766 w 108628"/>
                <a:gd name="connsiteY12" fmla="*/ 31920 h 105974"/>
                <a:gd name="connsiteX13" fmla="*/ 102239 w 108628"/>
                <a:gd name="connsiteY13" fmla="*/ 26174 h 105974"/>
                <a:gd name="connsiteX14" fmla="*/ 99044 w 108628"/>
                <a:gd name="connsiteY14" fmla="*/ 20429 h 105974"/>
                <a:gd name="connsiteX15" fmla="*/ 92015 w 108628"/>
                <a:gd name="connsiteY15" fmla="*/ 22344 h 105974"/>
                <a:gd name="connsiteX16" fmla="*/ 86903 w 108628"/>
                <a:gd name="connsiteY16" fmla="*/ 21067 h 105974"/>
                <a:gd name="connsiteX17" fmla="*/ 77318 w 108628"/>
                <a:gd name="connsiteY17" fmla="*/ 14045 h 105974"/>
                <a:gd name="connsiteX18" fmla="*/ 74762 w 108628"/>
                <a:gd name="connsiteY18" fmla="*/ 8938 h 105974"/>
                <a:gd name="connsiteX19" fmla="*/ 74762 w 108628"/>
                <a:gd name="connsiteY19" fmla="*/ 1915 h 105974"/>
                <a:gd name="connsiteX20" fmla="*/ 68372 w 108628"/>
                <a:gd name="connsiteY20" fmla="*/ 0 h 105974"/>
                <a:gd name="connsiteX21" fmla="*/ 63899 w 108628"/>
                <a:gd name="connsiteY21" fmla="*/ 5746 h 105974"/>
                <a:gd name="connsiteX22" fmla="*/ 58787 w 108628"/>
                <a:gd name="connsiteY22" fmla="*/ 8299 h 105974"/>
                <a:gd name="connsiteX23" fmla="*/ 46646 w 108628"/>
                <a:gd name="connsiteY23" fmla="*/ 8938 h 105974"/>
                <a:gd name="connsiteX24" fmla="*/ 41535 w 108628"/>
                <a:gd name="connsiteY24" fmla="*/ 7022 h 105974"/>
                <a:gd name="connsiteX25" fmla="*/ 36423 w 108628"/>
                <a:gd name="connsiteY25" fmla="*/ 1277 h 105974"/>
                <a:gd name="connsiteX26" fmla="*/ 30033 w 108628"/>
                <a:gd name="connsiteY26" fmla="*/ 3830 h 105974"/>
                <a:gd name="connsiteX27" fmla="*/ 30672 w 108628"/>
                <a:gd name="connsiteY27" fmla="*/ 10853 h 105974"/>
                <a:gd name="connsiteX28" fmla="*/ 28755 w 108628"/>
                <a:gd name="connsiteY28" fmla="*/ 15960 h 105974"/>
                <a:gd name="connsiteX29" fmla="*/ 19809 w 108628"/>
                <a:gd name="connsiteY29" fmla="*/ 23621 h 105974"/>
                <a:gd name="connsiteX30" fmla="*/ 14697 w 108628"/>
                <a:gd name="connsiteY30" fmla="*/ 24898 h 105974"/>
                <a:gd name="connsiteX31" fmla="*/ 7668 w 108628"/>
                <a:gd name="connsiteY31" fmla="*/ 23621 h 105974"/>
                <a:gd name="connsiteX32" fmla="*/ 4473 w 108628"/>
                <a:gd name="connsiteY32" fmla="*/ 29366 h 105974"/>
                <a:gd name="connsiteX33" fmla="*/ 9585 w 108628"/>
                <a:gd name="connsiteY33" fmla="*/ 34474 h 105974"/>
                <a:gd name="connsiteX34" fmla="*/ 11502 w 108628"/>
                <a:gd name="connsiteY34" fmla="*/ 39581 h 105974"/>
                <a:gd name="connsiteX35" fmla="*/ 9585 w 108628"/>
                <a:gd name="connsiteY35" fmla="*/ 51072 h 105974"/>
                <a:gd name="connsiteX36" fmla="*/ 6390 w 108628"/>
                <a:gd name="connsiteY36" fmla="*/ 55541 h 105974"/>
                <a:gd name="connsiteX37" fmla="*/ 0 w 108628"/>
                <a:gd name="connsiteY37" fmla="*/ 59371 h 105974"/>
                <a:gd name="connsiteX38" fmla="*/ 1278 w 108628"/>
                <a:gd name="connsiteY38" fmla="*/ 65755 h 105974"/>
                <a:gd name="connsiteX39" fmla="*/ 8307 w 108628"/>
                <a:gd name="connsiteY39" fmla="*/ 66394 h 105974"/>
                <a:gd name="connsiteX40" fmla="*/ 12780 w 108628"/>
                <a:gd name="connsiteY40" fmla="*/ 69586 h 105974"/>
                <a:gd name="connsiteX41" fmla="*/ 19170 w 108628"/>
                <a:gd name="connsiteY41" fmla="*/ 79800 h 105974"/>
                <a:gd name="connsiteX42" fmla="*/ 19809 w 108628"/>
                <a:gd name="connsiteY42" fmla="*/ 85546 h 105974"/>
                <a:gd name="connsiteX43" fmla="*/ 17253 w 108628"/>
                <a:gd name="connsiteY43" fmla="*/ 92568 h 105974"/>
                <a:gd name="connsiteX44" fmla="*/ 22365 w 108628"/>
                <a:gd name="connsiteY44" fmla="*/ 96398 h 105974"/>
                <a:gd name="connsiteX45" fmla="*/ 28755 w 108628"/>
                <a:gd name="connsiteY45" fmla="*/ 92568 h 105974"/>
                <a:gd name="connsiteX46" fmla="*/ 31950 w 108628"/>
                <a:gd name="connsiteY46" fmla="*/ 91291 h 105974"/>
                <a:gd name="connsiteX47" fmla="*/ 33867 w 108628"/>
                <a:gd name="connsiteY47" fmla="*/ 91291 h 105974"/>
                <a:gd name="connsiteX48" fmla="*/ 45368 w 108628"/>
                <a:gd name="connsiteY48" fmla="*/ 95121 h 105974"/>
                <a:gd name="connsiteX49" fmla="*/ 49202 w 108628"/>
                <a:gd name="connsiteY49" fmla="*/ 98952 h 105974"/>
                <a:gd name="connsiteX50" fmla="*/ 51758 w 108628"/>
                <a:gd name="connsiteY50" fmla="*/ 105974 h 105974"/>
                <a:gd name="connsiteX51" fmla="*/ 58148 w 108628"/>
                <a:gd name="connsiteY51" fmla="*/ 105974 h 105974"/>
                <a:gd name="connsiteX52" fmla="*/ 60065 w 108628"/>
                <a:gd name="connsiteY52" fmla="*/ 98952 h 105974"/>
                <a:gd name="connsiteX53" fmla="*/ 63899 w 108628"/>
                <a:gd name="connsiteY53" fmla="*/ 95121 h 105974"/>
                <a:gd name="connsiteX54" fmla="*/ 74762 w 108628"/>
                <a:gd name="connsiteY54" fmla="*/ 90653 h 105974"/>
                <a:gd name="connsiteX55" fmla="*/ 82430 w 108628"/>
                <a:gd name="connsiteY55" fmla="*/ 90653 h 105974"/>
                <a:gd name="connsiteX56" fmla="*/ 55592 w 108628"/>
                <a:gd name="connsiteY56" fmla="*/ 94483 h 105974"/>
                <a:gd name="connsiteX57" fmla="*/ 49202 w 108628"/>
                <a:gd name="connsiteY57" fmla="*/ 93845 h 105974"/>
                <a:gd name="connsiteX58" fmla="*/ 12780 w 108628"/>
                <a:gd name="connsiteY58" fmla="*/ 45965 h 105974"/>
                <a:gd name="connsiteX59" fmla="*/ 60704 w 108628"/>
                <a:gd name="connsiteY59" fmla="*/ 9576 h 105974"/>
                <a:gd name="connsiteX60" fmla="*/ 96488 w 108628"/>
                <a:gd name="connsiteY60" fmla="*/ 58094 h 105974"/>
                <a:gd name="connsiteX61" fmla="*/ 55592 w 108628"/>
                <a:gd name="connsiteY61" fmla="*/ 94483 h 105974"/>
                <a:gd name="connsiteX62" fmla="*/ 55592 w 108628"/>
                <a:gd name="connsiteY62" fmla="*/ 94483 h 10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8628" h="105974">
                  <a:moveTo>
                    <a:pt x="82430" y="90653"/>
                  </a:moveTo>
                  <a:lnTo>
                    <a:pt x="88820" y="94483"/>
                  </a:lnTo>
                  <a:lnTo>
                    <a:pt x="93932" y="90014"/>
                  </a:lnTo>
                  <a:lnTo>
                    <a:pt x="90737" y="82992"/>
                  </a:lnTo>
                  <a:cubicBezTo>
                    <a:pt x="90098" y="81077"/>
                    <a:pt x="90098" y="79162"/>
                    <a:pt x="90737" y="77246"/>
                  </a:cubicBezTo>
                  <a:lnTo>
                    <a:pt x="96488" y="67032"/>
                  </a:lnTo>
                  <a:cubicBezTo>
                    <a:pt x="97127" y="65117"/>
                    <a:pt x="99044" y="63840"/>
                    <a:pt x="100961" y="63840"/>
                  </a:cubicBezTo>
                  <a:lnTo>
                    <a:pt x="107990" y="62563"/>
                  </a:lnTo>
                  <a:lnTo>
                    <a:pt x="108629" y="56179"/>
                  </a:lnTo>
                  <a:lnTo>
                    <a:pt x="102239" y="52987"/>
                  </a:lnTo>
                  <a:cubicBezTo>
                    <a:pt x="100322" y="52349"/>
                    <a:pt x="99044" y="50434"/>
                    <a:pt x="99044" y="48518"/>
                  </a:cubicBezTo>
                  <a:lnTo>
                    <a:pt x="96488" y="37027"/>
                  </a:lnTo>
                  <a:cubicBezTo>
                    <a:pt x="95849" y="35112"/>
                    <a:pt x="96488" y="33197"/>
                    <a:pt x="97766" y="31920"/>
                  </a:cubicBezTo>
                  <a:lnTo>
                    <a:pt x="102239" y="26174"/>
                  </a:lnTo>
                  <a:lnTo>
                    <a:pt x="99044" y="20429"/>
                  </a:lnTo>
                  <a:lnTo>
                    <a:pt x="92015" y="22344"/>
                  </a:lnTo>
                  <a:cubicBezTo>
                    <a:pt x="90098" y="22982"/>
                    <a:pt x="88181" y="22344"/>
                    <a:pt x="86903" y="21067"/>
                  </a:cubicBezTo>
                  <a:lnTo>
                    <a:pt x="77318" y="14045"/>
                  </a:lnTo>
                  <a:cubicBezTo>
                    <a:pt x="76040" y="12768"/>
                    <a:pt x="74762" y="10853"/>
                    <a:pt x="74762" y="8938"/>
                  </a:cubicBezTo>
                  <a:lnTo>
                    <a:pt x="74762" y="1915"/>
                  </a:lnTo>
                  <a:lnTo>
                    <a:pt x="68372" y="0"/>
                  </a:lnTo>
                  <a:lnTo>
                    <a:pt x="63899" y="5746"/>
                  </a:lnTo>
                  <a:cubicBezTo>
                    <a:pt x="62621" y="7022"/>
                    <a:pt x="60704" y="8299"/>
                    <a:pt x="58787" y="8299"/>
                  </a:cubicBezTo>
                  <a:lnTo>
                    <a:pt x="46646" y="8938"/>
                  </a:lnTo>
                  <a:cubicBezTo>
                    <a:pt x="44730" y="8938"/>
                    <a:pt x="42812" y="8299"/>
                    <a:pt x="41535" y="7022"/>
                  </a:cubicBezTo>
                  <a:lnTo>
                    <a:pt x="36423" y="1277"/>
                  </a:lnTo>
                  <a:lnTo>
                    <a:pt x="30033" y="3830"/>
                  </a:lnTo>
                  <a:lnTo>
                    <a:pt x="30672" y="10853"/>
                  </a:lnTo>
                  <a:cubicBezTo>
                    <a:pt x="30672" y="12768"/>
                    <a:pt x="30033" y="14683"/>
                    <a:pt x="28755" y="15960"/>
                  </a:cubicBezTo>
                  <a:lnTo>
                    <a:pt x="19809" y="23621"/>
                  </a:lnTo>
                  <a:cubicBezTo>
                    <a:pt x="18531" y="24898"/>
                    <a:pt x="16614" y="25536"/>
                    <a:pt x="14697" y="24898"/>
                  </a:cubicBezTo>
                  <a:lnTo>
                    <a:pt x="7668" y="23621"/>
                  </a:lnTo>
                  <a:lnTo>
                    <a:pt x="4473" y="29366"/>
                  </a:lnTo>
                  <a:lnTo>
                    <a:pt x="9585" y="34474"/>
                  </a:lnTo>
                  <a:cubicBezTo>
                    <a:pt x="10863" y="35750"/>
                    <a:pt x="11502" y="37666"/>
                    <a:pt x="11502" y="39581"/>
                  </a:cubicBezTo>
                  <a:lnTo>
                    <a:pt x="9585" y="51072"/>
                  </a:lnTo>
                  <a:cubicBezTo>
                    <a:pt x="9585" y="52987"/>
                    <a:pt x="8307" y="54902"/>
                    <a:pt x="6390" y="55541"/>
                  </a:cubicBezTo>
                  <a:lnTo>
                    <a:pt x="0" y="59371"/>
                  </a:lnTo>
                  <a:lnTo>
                    <a:pt x="1278" y="65755"/>
                  </a:lnTo>
                  <a:lnTo>
                    <a:pt x="8307" y="66394"/>
                  </a:lnTo>
                  <a:cubicBezTo>
                    <a:pt x="10224" y="66394"/>
                    <a:pt x="12141" y="67670"/>
                    <a:pt x="12780" y="69586"/>
                  </a:cubicBezTo>
                  <a:lnTo>
                    <a:pt x="19170" y="79800"/>
                  </a:lnTo>
                  <a:cubicBezTo>
                    <a:pt x="20448" y="81715"/>
                    <a:pt x="20448" y="83630"/>
                    <a:pt x="19809" y="85546"/>
                  </a:cubicBezTo>
                  <a:lnTo>
                    <a:pt x="17253" y="92568"/>
                  </a:lnTo>
                  <a:lnTo>
                    <a:pt x="22365" y="96398"/>
                  </a:lnTo>
                  <a:lnTo>
                    <a:pt x="28755" y="92568"/>
                  </a:lnTo>
                  <a:cubicBezTo>
                    <a:pt x="30033" y="91930"/>
                    <a:pt x="31311" y="91291"/>
                    <a:pt x="31950" y="91291"/>
                  </a:cubicBezTo>
                  <a:cubicBezTo>
                    <a:pt x="32589" y="91291"/>
                    <a:pt x="33228" y="91291"/>
                    <a:pt x="33867" y="91291"/>
                  </a:cubicBezTo>
                  <a:lnTo>
                    <a:pt x="45368" y="95121"/>
                  </a:lnTo>
                  <a:cubicBezTo>
                    <a:pt x="47285" y="95760"/>
                    <a:pt x="48563" y="97037"/>
                    <a:pt x="49202" y="98952"/>
                  </a:cubicBezTo>
                  <a:lnTo>
                    <a:pt x="51758" y="105974"/>
                  </a:lnTo>
                  <a:lnTo>
                    <a:pt x="58148" y="105974"/>
                  </a:lnTo>
                  <a:lnTo>
                    <a:pt x="60065" y="98952"/>
                  </a:lnTo>
                  <a:cubicBezTo>
                    <a:pt x="60704" y="97037"/>
                    <a:pt x="61982" y="95760"/>
                    <a:pt x="63899" y="95121"/>
                  </a:cubicBezTo>
                  <a:lnTo>
                    <a:pt x="74762" y="90653"/>
                  </a:lnTo>
                  <a:cubicBezTo>
                    <a:pt x="78596" y="90014"/>
                    <a:pt x="81152" y="90014"/>
                    <a:pt x="82430" y="90653"/>
                  </a:cubicBezTo>
                  <a:close/>
                  <a:moveTo>
                    <a:pt x="55592" y="94483"/>
                  </a:moveTo>
                  <a:cubicBezTo>
                    <a:pt x="53675" y="94483"/>
                    <a:pt x="51119" y="94483"/>
                    <a:pt x="49202" y="93845"/>
                  </a:cubicBezTo>
                  <a:cubicBezTo>
                    <a:pt x="26199" y="90653"/>
                    <a:pt x="9585" y="68947"/>
                    <a:pt x="12780" y="45965"/>
                  </a:cubicBezTo>
                  <a:cubicBezTo>
                    <a:pt x="15975" y="22982"/>
                    <a:pt x="37701" y="6384"/>
                    <a:pt x="60704" y="9576"/>
                  </a:cubicBezTo>
                  <a:cubicBezTo>
                    <a:pt x="83708" y="12768"/>
                    <a:pt x="100322" y="34474"/>
                    <a:pt x="96488" y="58094"/>
                  </a:cubicBezTo>
                  <a:cubicBezTo>
                    <a:pt x="93932" y="78523"/>
                    <a:pt x="76040" y="93845"/>
                    <a:pt x="55592" y="94483"/>
                  </a:cubicBezTo>
                  <a:lnTo>
                    <a:pt x="55592" y="94483"/>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5" name="Graphic 4">
              <a:extLst>
                <a:ext uri="{FF2B5EF4-FFF2-40B4-BE49-F238E27FC236}">
                  <a16:creationId xmlns:a16="http://schemas.microsoft.com/office/drawing/2014/main" id="{F4F67FE0-B8D7-4C41-3225-D262D0E57883}"/>
                </a:ext>
              </a:extLst>
            </p:cNvPr>
            <p:cNvSpPr/>
            <p:nvPr/>
          </p:nvSpPr>
          <p:spPr>
            <a:xfrm>
              <a:off x="1952125" y="237117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52719 w 362313"/>
                <a:gd name="connsiteY6" fmla="*/ 192158 h 361971"/>
                <a:gd name="connsiteX7" fmla="*/ 145052 w 362313"/>
                <a:gd name="connsiteY7" fmla="*/ 198542 h 361971"/>
                <a:gd name="connsiteX8" fmla="*/ 132272 w 362313"/>
                <a:gd name="connsiteY8" fmla="*/ 199180 h 361971"/>
                <a:gd name="connsiteX9" fmla="*/ 132272 w 362313"/>
                <a:gd name="connsiteY9" fmla="*/ 199180 h 361971"/>
                <a:gd name="connsiteX10" fmla="*/ 124604 w 362313"/>
                <a:gd name="connsiteY10" fmla="*/ 193435 h 361971"/>
                <a:gd name="connsiteX11" fmla="*/ 122048 w 362313"/>
                <a:gd name="connsiteY11" fmla="*/ 186412 h 361971"/>
                <a:gd name="connsiteX12" fmla="*/ 116297 w 362313"/>
                <a:gd name="connsiteY12" fmla="*/ 184497 h 361971"/>
                <a:gd name="connsiteX13" fmla="*/ 109907 w 362313"/>
                <a:gd name="connsiteY13" fmla="*/ 188327 h 361971"/>
                <a:gd name="connsiteX14" fmla="*/ 99683 w 362313"/>
                <a:gd name="connsiteY14" fmla="*/ 187689 h 361971"/>
                <a:gd name="connsiteX15" fmla="*/ 89459 w 362313"/>
                <a:gd name="connsiteY15" fmla="*/ 180028 h 361971"/>
                <a:gd name="connsiteX16" fmla="*/ 86903 w 362313"/>
                <a:gd name="connsiteY16" fmla="*/ 170452 h 361971"/>
                <a:gd name="connsiteX17" fmla="*/ 89459 w 362313"/>
                <a:gd name="connsiteY17" fmla="*/ 163430 h 361971"/>
                <a:gd name="connsiteX18" fmla="*/ 86264 w 362313"/>
                <a:gd name="connsiteY18" fmla="*/ 158323 h 361971"/>
                <a:gd name="connsiteX19" fmla="*/ 79235 w 362313"/>
                <a:gd name="connsiteY19" fmla="*/ 157684 h 361971"/>
                <a:gd name="connsiteX20" fmla="*/ 72206 w 362313"/>
                <a:gd name="connsiteY20" fmla="*/ 150662 h 361971"/>
                <a:gd name="connsiteX21" fmla="*/ 69650 w 362313"/>
                <a:gd name="connsiteY21" fmla="*/ 138533 h 361971"/>
                <a:gd name="connsiteX22" fmla="*/ 73484 w 362313"/>
                <a:gd name="connsiteY22" fmla="*/ 129595 h 361971"/>
                <a:gd name="connsiteX23" fmla="*/ 79874 w 362313"/>
                <a:gd name="connsiteY23" fmla="*/ 125765 h 361971"/>
                <a:gd name="connsiteX24" fmla="*/ 80513 w 362313"/>
                <a:gd name="connsiteY24" fmla="*/ 120019 h 361971"/>
                <a:gd name="connsiteX25" fmla="*/ 75401 w 362313"/>
                <a:gd name="connsiteY25" fmla="*/ 114912 h 361971"/>
                <a:gd name="connsiteX26" fmla="*/ 74123 w 362313"/>
                <a:gd name="connsiteY26" fmla="*/ 105336 h 361971"/>
                <a:gd name="connsiteX27" fmla="*/ 79874 w 362313"/>
                <a:gd name="connsiteY27" fmla="*/ 93845 h 361971"/>
                <a:gd name="connsiteX28" fmla="*/ 88820 w 362313"/>
                <a:gd name="connsiteY28" fmla="*/ 89376 h 361971"/>
                <a:gd name="connsiteX29" fmla="*/ 95849 w 362313"/>
                <a:gd name="connsiteY29" fmla="*/ 90653 h 361971"/>
                <a:gd name="connsiteX30" fmla="*/ 100322 w 362313"/>
                <a:gd name="connsiteY30" fmla="*/ 86822 h 361971"/>
                <a:gd name="connsiteX31" fmla="*/ 99683 w 362313"/>
                <a:gd name="connsiteY31" fmla="*/ 79800 h 361971"/>
                <a:gd name="connsiteX32" fmla="*/ 104795 w 362313"/>
                <a:gd name="connsiteY32" fmla="*/ 70862 h 361971"/>
                <a:gd name="connsiteX33" fmla="*/ 116297 w 362313"/>
                <a:gd name="connsiteY33" fmla="*/ 66394 h 361971"/>
                <a:gd name="connsiteX34" fmla="*/ 125882 w 362313"/>
                <a:gd name="connsiteY34" fmla="*/ 68947 h 361971"/>
                <a:gd name="connsiteX35" fmla="*/ 130355 w 362313"/>
                <a:gd name="connsiteY35" fmla="*/ 74693 h 361971"/>
                <a:gd name="connsiteX36" fmla="*/ 136106 w 362313"/>
                <a:gd name="connsiteY36" fmla="*/ 74693 h 361971"/>
                <a:gd name="connsiteX37" fmla="*/ 140579 w 362313"/>
                <a:gd name="connsiteY37" fmla="*/ 68947 h 361971"/>
                <a:gd name="connsiteX38" fmla="*/ 150164 w 362313"/>
                <a:gd name="connsiteY38" fmla="*/ 65755 h 361971"/>
                <a:gd name="connsiteX39" fmla="*/ 162304 w 362313"/>
                <a:gd name="connsiteY39" fmla="*/ 69586 h 361971"/>
                <a:gd name="connsiteX40" fmla="*/ 168694 w 362313"/>
                <a:gd name="connsiteY40" fmla="*/ 77885 h 361971"/>
                <a:gd name="connsiteX41" fmla="*/ 168694 w 362313"/>
                <a:gd name="connsiteY41" fmla="*/ 84907 h 361971"/>
                <a:gd name="connsiteX42" fmla="*/ 173167 w 362313"/>
                <a:gd name="connsiteY42" fmla="*/ 88099 h 361971"/>
                <a:gd name="connsiteX43" fmla="*/ 180196 w 362313"/>
                <a:gd name="connsiteY43" fmla="*/ 86184 h 361971"/>
                <a:gd name="connsiteX44" fmla="*/ 189781 w 362313"/>
                <a:gd name="connsiteY44" fmla="*/ 90014 h 361971"/>
                <a:gd name="connsiteX45" fmla="*/ 196171 w 362313"/>
                <a:gd name="connsiteY45" fmla="*/ 100867 h 361971"/>
                <a:gd name="connsiteX46" fmla="*/ 195532 w 362313"/>
                <a:gd name="connsiteY46" fmla="*/ 111081 h 361971"/>
                <a:gd name="connsiteX47" fmla="*/ 191059 w 362313"/>
                <a:gd name="connsiteY47" fmla="*/ 116827 h 361971"/>
                <a:gd name="connsiteX48" fmla="*/ 192337 w 362313"/>
                <a:gd name="connsiteY48" fmla="*/ 122573 h 361971"/>
                <a:gd name="connsiteX49" fmla="*/ 198727 w 362313"/>
                <a:gd name="connsiteY49" fmla="*/ 125765 h 361971"/>
                <a:gd name="connsiteX50" fmla="*/ 203200 w 362313"/>
                <a:gd name="connsiteY50" fmla="*/ 134702 h 361971"/>
                <a:gd name="connsiteX51" fmla="*/ 201283 w 362313"/>
                <a:gd name="connsiteY51" fmla="*/ 147470 h 361971"/>
                <a:gd name="connsiteX52" fmla="*/ 194254 w 362313"/>
                <a:gd name="connsiteY52" fmla="*/ 154492 h 361971"/>
                <a:gd name="connsiteX53" fmla="*/ 187225 w 362313"/>
                <a:gd name="connsiteY53" fmla="*/ 155769 h 361971"/>
                <a:gd name="connsiteX54" fmla="*/ 184669 w 362313"/>
                <a:gd name="connsiteY54" fmla="*/ 160876 h 361971"/>
                <a:gd name="connsiteX55" fmla="*/ 187225 w 362313"/>
                <a:gd name="connsiteY55" fmla="*/ 167260 h 361971"/>
                <a:gd name="connsiteX56" fmla="*/ 185308 w 362313"/>
                <a:gd name="connsiteY56" fmla="*/ 176836 h 361971"/>
                <a:gd name="connsiteX57" fmla="*/ 175723 w 362313"/>
                <a:gd name="connsiteY57" fmla="*/ 185135 h 361971"/>
                <a:gd name="connsiteX58" fmla="*/ 165499 w 362313"/>
                <a:gd name="connsiteY58" fmla="*/ 186412 h 361971"/>
                <a:gd name="connsiteX59" fmla="*/ 159109 w 362313"/>
                <a:gd name="connsiteY59" fmla="*/ 183220 h 361971"/>
                <a:gd name="connsiteX60" fmla="*/ 153998 w 362313"/>
                <a:gd name="connsiteY60" fmla="*/ 185135 h 361971"/>
                <a:gd name="connsiteX61" fmla="*/ 152719 w 362313"/>
                <a:gd name="connsiteY61" fmla="*/ 192158 h 361971"/>
                <a:gd name="connsiteX62" fmla="*/ 292020 w 362313"/>
                <a:gd name="connsiteY62" fmla="*/ 245145 h 361971"/>
                <a:gd name="connsiteX63" fmla="*/ 284991 w 362313"/>
                <a:gd name="connsiteY63" fmla="*/ 252167 h 361971"/>
                <a:gd name="connsiteX64" fmla="*/ 277962 w 362313"/>
                <a:gd name="connsiteY64" fmla="*/ 253444 h 361971"/>
                <a:gd name="connsiteX65" fmla="*/ 275406 w 362313"/>
                <a:gd name="connsiteY65" fmla="*/ 258551 h 361971"/>
                <a:gd name="connsiteX66" fmla="*/ 278601 w 362313"/>
                <a:gd name="connsiteY66" fmla="*/ 264935 h 361971"/>
                <a:gd name="connsiteX67" fmla="*/ 276684 w 362313"/>
                <a:gd name="connsiteY67" fmla="*/ 274511 h 361971"/>
                <a:gd name="connsiteX68" fmla="*/ 267099 w 362313"/>
                <a:gd name="connsiteY68" fmla="*/ 282811 h 361971"/>
                <a:gd name="connsiteX69" fmla="*/ 256876 w 362313"/>
                <a:gd name="connsiteY69" fmla="*/ 284087 h 361971"/>
                <a:gd name="connsiteX70" fmla="*/ 250486 w 362313"/>
                <a:gd name="connsiteY70" fmla="*/ 280257 h 361971"/>
                <a:gd name="connsiteX71" fmla="*/ 245374 w 362313"/>
                <a:gd name="connsiteY71" fmla="*/ 282172 h 361971"/>
                <a:gd name="connsiteX72" fmla="*/ 243457 w 362313"/>
                <a:gd name="connsiteY72" fmla="*/ 289195 h 361971"/>
                <a:gd name="connsiteX73" fmla="*/ 235789 w 362313"/>
                <a:gd name="connsiteY73" fmla="*/ 295579 h 361971"/>
                <a:gd name="connsiteX74" fmla="*/ 223009 w 362313"/>
                <a:gd name="connsiteY74" fmla="*/ 296217 h 361971"/>
                <a:gd name="connsiteX75" fmla="*/ 223009 w 362313"/>
                <a:gd name="connsiteY75" fmla="*/ 296217 h 361971"/>
                <a:gd name="connsiteX76" fmla="*/ 215341 w 362313"/>
                <a:gd name="connsiteY76" fmla="*/ 290471 h 361971"/>
                <a:gd name="connsiteX77" fmla="*/ 212785 w 362313"/>
                <a:gd name="connsiteY77" fmla="*/ 284087 h 361971"/>
                <a:gd name="connsiteX78" fmla="*/ 207673 w 362313"/>
                <a:gd name="connsiteY78" fmla="*/ 282172 h 361971"/>
                <a:gd name="connsiteX79" fmla="*/ 201283 w 362313"/>
                <a:gd name="connsiteY79" fmla="*/ 286003 h 361971"/>
                <a:gd name="connsiteX80" fmla="*/ 191059 w 362313"/>
                <a:gd name="connsiteY80" fmla="*/ 285364 h 361971"/>
                <a:gd name="connsiteX81" fmla="*/ 180835 w 362313"/>
                <a:gd name="connsiteY81" fmla="*/ 277703 h 361971"/>
                <a:gd name="connsiteX82" fmla="*/ 178279 w 362313"/>
                <a:gd name="connsiteY82" fmla="*/ 268127 h 361971"/>
                <a:gd name="connsiteX83" fmla="*/ 180835 w 362313"/>
                <a:gd name="connsiteY83" fmla="*/ 261105 h 361971"/>
                <a:gd name="connsiteX84" fmla="*/ 177640 w 362313"/>
                <a:gd name="connsiteY84" fmla="*/ 255998 h 361971"/>
                <a:gd name="connsiteX85" fmla="*/ 170611 w 362313"/>
                <a:gd name="connsiteY85" fmla="*/ 255359 h 361971"/>
                <a:gd name="connsiteX86" fmla="*/ 163582 w 362313"/>
                <a:gd name="connsiteY86" fmla="*/ 248337 h 361971"/>
                <a:gd name="connsiteX87" fmla="*/ 161027 w 362313"/>
                <a:gd name="connsiteY87" fmla="*/ 236207 h 361971"/>
                <a:gd name="connsiteX88" fmla="*/ 164860 w 362313"/>
                <a:gd name="connsiteY88" fmla="*/ 227270 h 361971"/>
                <a:gd name="connsiteX89" fmla="*/ 171250 w 362313"/>
                <a:gd name="connsiteY89" fmla="*/ 223439 h 361971"/>
                <a:gd name="connsiteX90" fmla="*/ 171889 w 362313"/>
                <a:gd name="connsiteY90" fmla="*/ 217694 h 361971"/>
                <a:gd name="connsiteX91" fmla="*/ 166777 w 362313"/>
                <a:gd name="connsiteY91" fmla="*/ 212587 h 361971"/>
                <a:gd name="connsiteX92" fmla="*/ 165499 w 362313"/>
                <a:gd name="connsiteY92" fmla="*/ 203011 h 361971"/>
                <a:gd name="connsiteX93" fmla="*/ 171250 w 362313"/>
                <a:gd name="connsiteY93" fmla="*/ 191519 h 361971"/>
                <a:gd name="connsiteX94" fmla="*/ 180196 w 362313"/>
                <a:gd name="connsiteY94" fmla="*/ 187051 h 361971"/>
                <a:gd name="connsiteX95" fmla="*/ 187225 w 362313"/>
                <a:gd name="connsiteY95" fmla="*/ 188327 h 361971"/>
                <a:gd name="connsiteX96" fmla="*/ 191698 w 362313"/>
                <a:gd name="connsiteY96" fmla="*/ 184497 h 361971"/>
                <a:gd name="connsiteX97" fmla="*/ 191059 w 362313"/>
                <a:gd name="connsiteY97" fmla="*/ 177475 h 361971"/>
                <a:gd name="connsiteX98" fmla="*/ 196171 w 362313"/>
                <a:gd name="connsiteY98" fmla="*/ 169176 h 361971"/>
                <a:gd name="connsiteX99" fmla="*/ 207673 w 362313"/>
                <a:gd name="connsiteY99" fmla="*/ 164707 h 361971"/>
                <a:gd name="connsiteX100" fmla="*/ 217258 w 362313"/>
                <a:gd name="connsiteY100" fmla="*/ 167260 h 361971"/>
                <a:gd name="connsiteX101" fmla="*/ 221731 w 362313"/>
                <a:gd name="connsiteY101" fmla="*/ 173006 h 361971"/>
                <a:gd name="connsiteX102" fmla="*/ 227482 w 362313"/>
                <a:gd name="connsiteY102" fmla="*/ 173006 h 361971"/>
                <a:gd name="connsiteX103" fmla="*/ 231955 w 362313"/>
                <a:gd name="connsiteY103" fmla="*/ 167260 h 361971"/>
                <a:gd name="connsiteX104" fmla="*/ 241540 w 362313"/>
                <a:gd name="connsiteY104" fmla="*/ 164068 h 361971"/>
                <a:gd name="connsiteX105" fmla="*/ 253681 w 362313"/>
                <a:gd name="connsiteY105" fmla="*/ 167899 h 361971"/>
                <a:gd name="connsiteX106" fmla="*/ 259431 w 362313"/>
                <a:gd name="connsiteY106" fmla="*/ 176198 h 361971"/>
                <a:gd name="connsiteX107" fmla="*/ 259431 w 362313"/>
                <a:gd name="connsiteY107" fmla="*/ 183220 h 361971"/>
                <a:gd name="connsiteX108" fmla="*/ 263904 w 362313"/>
                <a:gd name="connsiteY108" fmla="*/ 186412 h 361971"/>
                <a:gd name="connsiteX109" fmla="*/ 270933 w 362313"/>
                <a:gd name="connsiteY109" fmla="*/ 185135 h 361971"/>
                <a:gd name="connsiteX110" fmla="*/ 280518 w 362313"/>
                <a:gd name="connsiteY110" fmla="*/ 188966 h 361971"/>
                <a:gd name="connsiteX111" fmla="*/ 286908 w 362313"/>
                <a:gd name="connsiteY111" fmla="*/ 199819 h 361971"/>
                <a:gd name="connsiteX112" fmla="*/ 286269 w 362313"/>
                <a:gd name="connsiteY112" fmla="*/ 210033 h 361971"/>
                <a:gd name="connsiteX113" fmla="*/ 281796 w 362313"/>
                <a:gd name="connsiteY113" fmla="*/ 215779 h 361971"/>
                <a:gd name="connsiteX114" fmla="*/ 283074 w 362313"/>
                <a:gd name="connsiteY114" fmla="*/ 221524 h 361971"/>
                <a:gd name="connsiteX115" fmla="*/ 289464 w 362313"/>
                <a:gd name="connsiteY115" fmla="*/ 224716 h 361971"/>
                <a:gd name="connsiteX116" fmla="*/ 293937 w 362313"/>
                <a:gd name="connsiteY116" fmla="*/ 233654 h 361971"/>
                <a:gd name="connsiteX117" fmla="*/ 292020 w 362313"/>
                <a:gd name="connsiteY117" fmla="*/ 24514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close/>
                  <a:moveTo>
                    <a:pt x="152719" y="192158"/>
                  </a:moveTo>
                  <a:cubicBezTo>
                    <a:pt x="151442" y="195988"/>
                    <a:pt x="148247" y="198542"/>
                    <a:pt x="145052" y="198542"/>
                  </a:cubicBezTo>
                  <a:lnTo>
                    <a:pt x="132272" y="199180"/>
                  </a:lnTo>
                  <a:lnTo>
                    <a:pt x="132272" y="199180"/>
                  </a:lnTo>
                  <a:cubicBezTo>
                    <a:pt x="128438" y="199180"/>
                    <a:pt x="125243" y="197265"/>
                    <a:pt x="124604" y="193435"/>
                  </a:cubicBezTo>
                  <a:lnTo>
                    <a:pt x="122048" y="186412"/>
                  </a:lnTo>
                  <a:lnTo>
                    <a:pt x="116297" y="184497"/>
                  </a:lnTo>
                  <a:lnTo>
                    <a:pt x="109907" y="188327"/>
                  </a:lnTo>
                  <a:cubicBezTo>
                    <a:pt x="106712" y="190243"/>
                    <a:pt x="102878" y="190243"/>
                    <a:pt x="99683" y="187689"/>
                  </a:cubicBezTo>
                  <a:lnTo>
                    <a:pt x="89459" y="180028"/>
                  </a:lnTo>
                  <a:cubicBezTo>
                    <a:pt x="86264" y="177475"/>
                    <a:pt x="85625" y="173644"/>
                    <a:pt x="86903" y="170452"/>
                  </a:cubicBezTo>
                  <a:lnTo>
                    <a:pt x="89459" y="163430"/>
                  </a:lnTo>
                  <a:lnTo>
                    <a:pt x="86264" y="158323"/>
                  </a:lnTo>
                  <a:lnTo>
                    <a:pt x="79235" y="157684"/>
                  </a:lnTo>
                  <a:cubicBezTo>
                    <a:pt x="75401" y="157046"/>
                    <a:pt x="72845" y="154492"/>
                    <a:pt x="72206" y="150662"/>
                  </a:cubicBezTo>
                  <a:lnTo>
                    <a:pt x="69650" y="138533"/>
                  </a:lnTo>
                  <a:cubicBezTo>
                    <a:pt x="69011" y="134702"/>
                    <a:pt x="70289" y="131510"/>
                    <a:pt x="73484" y="129595"/>
                  </a:cubicBezTo>
                  <a:lnTo>
                    <a:pt x="79874" y="125765"/>
                  </a:lnTo>
                  <a:lnTo>
                    <a:pt x="80513" y="120019"/>
                  </a:lnTo>
                  <a:lnTo>
                    <a:pt x="75401" y="114912"/>
                  </a:lnTo>
                  <a:cubicBezTo>
                    <a:pt x="72845" y="112358"/>
                    <a:pt x="72206" y="108528"/>
                    <a:pt x="74123" y="105336"/>
                  </a:cubicBezTo>
                  <a:lnTo>
                    <a:pt x="79874" y="93845"/>
                  </a:lnTo>
                  <a:cubicBezTo>
                    <a:pt x="81791" y="90653"/>
                    <a:pt x="84986" y="88738"/>
                    <a:pt x="88820" y="89376"/>
                  </a:cubicBezTo>
                  <a:lnTo>
                    <a:pt x="95849" y="90653"/>
                  </a:lnTo>
                  <a:lnTo>
                    <a:pt x="100322" y="86822"/>
                  </a:lnTo>
                  <a:lnTo>
                    <a:pt x="99683" y="79800"/>
                  </a:lnTo>
                  <a:cubicBezTo>
                    <a:pt x="99044" y="75970"/>
                    <a:pt x="101600" y="72778"/>
                    <a:pt x="104795" y="70862"/>
                  </a:cubicBezTo>
                  <a:lnTo>
                    <a:pt x="116297" y="66394"/>
                  </a:lnTo>
                  <a:cubicBezTo>
                    <a:pt x="119492" y="65117"/>
                    <a:pt x="123326" y="65755"/>
                    <a:pt x="125882" y="68947"/>
                  </a:cubicBezTo>
                  <a:lnTo>
                    <a:pt x="130355" y="74693"/>
                  </a:lnTo>
                  <a:lnTo>
                    <a:pt x="136106" y="74693"/>
                  </a:lnTo>
                  <a:lnTo>
                    <a:pt x="140579" y="68947"/>
                  </a:lnTo>
                  <a:cubicBezTo>
                    <a:pt x="142496" y="65755"/>
                    <a:pt x="146969" y="64478"/>
                    <a:pt x="150164" y="65755"/>
                  </a:cubicBezTo>
                  <a:lnTo>
                    <a:pt x="162304" y="69586"/>
                  </a:lnTo>
                  <a:cubicBezTo>
                    <a:pt x="166138" y="70862"/>
                    <a:pt x="168694" y="74054"/>
                    <a:pt x="168694" y="77885"/>
                  </a:cubicBezTo>
                  <a:lnTo>
                    <a:pt x="168694" y="84907"/>
                  </a:lnTo>
                  <a:lnTo>
                    <a:pt x="173167" y="88099"/>
                  </a:lnTo>
                  <a:lnTo>
                    <a:pt x="180196" y="86184"/>
                  </a:lnTo>
                  <a:cubicBezTo>
                    <a:pt x="184030" y="85546"/>
                    <a:pt x="187225" y="86822"/>
                    <a:pt x="189781" y="90014"/>
                  </a:cubicBezTo>
                  <a:lnTo>
                    <a:pt x="196171" y="100867"/>
                  </a:lnTo>
                  <a:cubicBezTo>
                    <a:pt x="198088" y="104059"/>
                    <a:pt x="198088" y="107889"/>
                    <a:pt x="195532" y="111081"/>
                  </a:cubicBezTo>
                  <a:lnTo>
                    <a:pt x="191059" y="116827"/>
                  </a:lnTo>
                  <a:lnTo>
                    <a:pt x="192337" y="122573"/>
                  </a:lnTo>
                  <a:lnTo>
                    <a:pt x="198727" y="125765"/>
                  </a:lnTo>
                  <a:cubicBezTo>
                    <a:pt x="201922" y="127680"/>
                    <a:pt x="203839" y="130872"/>
                    <a:pt x="203200" y="134702"/>
                  </a:cubicBezTo>
                  <a:lnTo>
                    <a:pt x="201283" y="147470"/>
                  </a:lnTo>
                  <a:cubicBezTo>
                    <a:pt x="200644" y="150662"/>
                    <a:pt x="198088" y="153854"/>
                    <a:pt x="194254" y="154492"/>
                  </a:cubicBezTo>
                  <a:lnTo>
                    <a:pt x="187225" y="155769"/>
                  </a:lnTo>
                  <a:lnTo>
                    <a:pt x="184669" y="160876"/>
                  </a:lnTo>
                  <a:lnTo>
                    <a:pt x="187225" y="167260"/>
                  </a:lnTo>
                  <a:cubicBezTo>
                    <a:pt x="188503" y="170452"/>
                    <a:pt x="187864" y="174283"/>
                    <a:pt x="185308" y="176836"/>
                  </a:cubicBezTo>
                  <a:lnTo>
                    <a:pt x="175723" y="185135"/>
                  </a:lnTo>
                  <a:cubicBezTo>
                    <a:pt x="173167" y="187689"/>
                    <a:pt x="168694" y="188327"/>
                    <a:pt x="165499" y="186412"/>
                  </a:cubicBezTo>
                  <a:lnTo>
                    <a:pt x="159109" y="183220"/>
                  </a:lnTo>
                  <a:lnTo>
                    <a:pt x="153998" y="185135"/>
                  </a:lnTo>
                  <a:lnTo>
                    <a:pt x="152719" y="192158"/>
                  </a:lnTo>
                  <a:close/>
                  <a:moveTo>
                    <a:pt x="292020" y="245145"/>
                  </a:moveTo>
                  <a:cubicBezTo>
                    <a:pt x="291381" y="248975"/>
                    <a:pt x="288825" y="251529"/>
                    <a:pt x="284991" y="252167"/>
                  </a:cubicBezTo>
                  <a:lnTo>
                    <a:pt x="277962" y="253444"/>
                  </a:lnTo>
                  <a:lnTo>
                    <a:pt x="275406" y="258551"/>
                  </a:lnTo>
                  <a:lnTo>
                    <a:pt x="278601" y="264935"/>
                  </a:lnTo>
                  <a:cubicBezTo>
                    <a:pt x="279879" y="268127"/>
                    <a:pt x="279240" y="271958"/>
                    <a:pt x="276684" y="274511"/>
                  </a:cubicBezTo>
                  <a:lnTo>
                    <a:pt x="267099" y="282811"/>
                  </a:lnTo>
                  <a:cubicBezTo>
                    <a:pt x="264543" y="285364"/>
                    <a:pt x="260071" y="286003"/>
                    <a:pt x="256876" y="284087"/>
                  </a:cubicBezTo>
                  <a:lnTo>
                    <a:pt x="250486" y="280257"/>
                  </a:lnTo>
                  <a:lnTo>
                    <a:pt x="245374" y="282172"/>
                  </a:lnTo>
                  <a:lnTo>
                    <a:pt x="243457" y="289195"/>
                  </a:lnTo>
                  <a:cubicBezTo>
                    <a:pt x="242179" y="292387"/>
                    <a:pt x="238984" y="294940"/>
                    <a:pt x="235789" y="295579"/>
                  </a:cubicBezTo>
                  <a:lnTo>
                    <a:pt x="223009" y="296217"/>
                  </a:lnTo>
                  <a:lnTo>
                    <a:pt x="223009" y="296217"/>
                  </a:lnTo>
                  <a:cubicBezTo>
                    <a:pt x="219175" y="296217"/>
                    <a:pt x="215980" y="293663"/>
                    <a:pt x="215341" y="290471"/>
                  </a:cubicBezTo>
                  <a:lnTo>
                    <a:pt x="212785" y="284087"/>
                  </a:lnTo>
                  <a:lnTo>
                    <a:pt x="207673" y="282172"/>
                  </a:lnTo>
                  <a:lnTo>
                    <a:pt x="201283" y="286003"/>
                  </a:lnTo>
                  <a:cubicBezTo>
                    <a:pt x="198088" y="287918"/>
                    <a:pt x="194254" y="287918"/>
                    <a:pt x="191059" y="285364"/>
                  </a:cubicBezTo>
                  <a:lnTo>
                    <a:pt x="180835" y="277703"/>
                  </a:lnTo>
                  <a:cubicBezTo>
                    <a:pt x="177640" y="275150"/>
                    <a:pt x="177001" y="271319"/>
                    <a:pt x="178279" y="268127"/>
                  </a:cubicBezTo>
                  <a:lnTo>
                    <a:pt x="180835" y="261105"/>
                  </a:lnTo>
                  <a:lnTo>
                    <a:pt x="177640" y="255998"/>
                  </a:lnTo>
                  <a:lnTo>
                    <a:pt x="170611" y="255359"/>
                  </a:lnTo>
                  <a:cubicBezTo>
                    <a:pt x="166777" y="254721"/>
                    <a:pt x="164221" y="252167"/>
                    <a:pt x="163582" y="248337"/>
                  </a:cubicBezTo>
                  <a:lnTo>
                    <a:pt x="161027" y="236207"/>
                  </a:lnTo>
                  <a:cubicBezTo>
                    <a:pt x="160387" y="232377"/>
                    <a:pt x="161665" y="229185"/>
                    <a:pt x="164860" y="227270"/>
                  </a:cubicBezTo>
                  <a:lnTo>
                    <a:pt x="171250" y="223439"/>
                  </a:lnTo>
                  <a:lnTo>
                    <a:pt x="171889" y="217694"/>
                  </a:lnTo>
                  <a:lnTo>
                    <a:pt x="166777" y="212587"/>
                  </a:lnTo>
                  <a:cubicBezTo>
                    <a:pt x="164221" y="210033"/>
                    <a:pt x="163582" y="206203"/>
                    <a:pt x="165499" y="203011"/>
                  </a:cubicBezTo>
                  <a:lnTo>
                    <a:pt x="171250" y="191519"/>
                  </a:lnTo>
                  <a:cubicBezTo>
                    <a:pt x="173167" y="188327"/>
                    <a:pt x="176362" y="186412"/>
                    <a:pt x="180196" y="187051"/>
                  </a:cubicBezTo>
                  <a:lnTo>
                    <a:pt x="187225" y="188327"/>
                  </a:lnTo>
                  <a:lnTo>
                    <a:pt x="191698" y="184497"/>
                  </a:lnTo>
                  <a:lnTo>
                    <a:pt x="191059" y="177475"/>
                  </a:lnTo>
                  <a:cubicBezTo>
                    <a:pt x="191059" y="173644"/>
                    <a:pt x="192976" y="170452"/>
                    <a:pt x="196171" y="169176"/>
                  </a:cubicBezTo>
                  <a:lnTo>
                    <a:pt x="207673" y="164707"/>
                  </a:lnTo>
                  <a:cubicBezTo>
                    <a:pt x="210868" y="163430"/>
                    <a:pt x="214702" y="164068"/>
                    <a:pt x="217258" y="167260"/>
                  </a:cubicBezTo>
                  <a:lnTo>
                    <a:pt x="221731" y="173006"/>
                  </a:lnTo>
                  <a:lnTo>
                    <a:pt x="227482" y="173006"/>
                  </a:lnTo>
                  <a:lnTo>
                    <a:pt x="231955" y="167260"/>
                  </a:lnTo>
                  <a:cubicBezTo>
                    <a:pt x="233872" y="164068"/>
                    <a:pt x="238345" y="163430"/>
                    <a:pt x="241540" y="164068"/>
                  </a:cubicBezTo>
                  <a:lnTo>
                    <a:pt x="253681" y="167899"/>
                  </a:lnTo>
                  <a:cubicBezTo>
                    <a:pt x="256876" y="169176"/>
                    <a:pt x="259431" y="172368"/>
                    <a:pt x="259431" y="176198"/>
                  </a:cubicBezTo>
                  <a:lnTo>
                    <a:pt x="259431" y="183220"/>
                  </a:lnTo>
                  <a:lnTo>
                    <a:pt x="263904" y="186412"/>
                  </a:lnTo>
                  <a:lnTo>
                    <a:pt x="270933" y="185135"/>
                  </a:lnTo>
                  <a:cubicBezTo>
                    <a:pt x="274767" y="184497"/>
                    <a:pt x="277962" y="185774"/>
                    <a:pt x="280518" y="188966"/>
                  </a:cubicBezTo>
                  <a:lnTo>
                    <a:pt x="286908" y="199819"/>
                  </a:lnTo>
                  <a:cubicBezTo>
                    <a:pt x="288825" y="203011"/>
                    <a:pt x="288825" y="206841"/>
                    <a:pt x="286269" y="210033"/>
                  </a:cubicBezTo>
                  <a:lnTo>
                    <a:pt x="281796" y="215779"/>
                  </a:lnTo>
                  <a:lnTo>
                    <a:pt x="283074" y="221524"/>
                  </a:lnTo>
                  <a:lnTo>
                    <a:pt x="289464" y="224716"/>
                  </a:lnTo>
                  <a:cubicBezTo>
                    <a:pt x="292659" y="226631"/>
                    <a:pt x="294576" y="229823"/>
                    <a:pt x="293937" y="233654"/>
                  </a:cubicBezTo>
                  <a:lnTo>
                    <a:pt x="292020" y="245145"/>
                  </a:ln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6" name="Graphic 4">
              <a:extLst>
                <a:ext uri="{FF2B5EF4-FFF2-40B4-BE49-F238E27FC236}">
                  <a16:creationId xmlns:a16="http://schemas.microsoft.com/office/drawing/2014/main" id="{1FCF7715-9F47-ABCF-6867-FF39EFEEE3C5}"/>
                </a:ext>
              </a:extLst>
            </p:cNvPr>
            <p:cNvSpPr/>
            <p:nvPr/>
          </p:nvSpPr>
          <p:spPr>
            <a:xfrm>
              <a:off x="2058482" y="2473317"/>
              <a:ext cx="60110" cy="59726"/>
            </a:xfrm>
            <a:custGeom>
              <a:avLst/>
              <a:gdLst>
                <a:gd name="connsiteX0" fmla="*/ 54031 w 60110"/>
                <a:gd name="connsiteY0" fmla="*/ 11491 h 59726"/>
                <a:gd name="connsiteX1" fmla="*/ 34222 w 60110"/>
                <a:gd name="connsiteY1" fmla="*/ 0 h 59726"/>
                <a:gd name="connsiteX2" fmla="*/ 29749 w 60110"/>
                <a:gd name="connsiteY2" fmla="*/ 0 h 59726"/>
                <a:gd name="connsiteX3" fmla="*/ 356 w 60110"/>
                <a:gd name="connsiteY3" fmla="*/ 25536 h 59726"/>
                <a:gd name="connsiteX4" fmla="*/ 25915 w 60110"/>
                <a:gd name="connsiteY4" fmla="*/ 59371 h 59726"/>
                <a:gd name="connsiteX5" fmla="*/ 59782 w 60110"/>
                <a:gd name="connsiteY5" fmla="*/ 33835 h 59726"/>
                <a:gd name="connsiteX6" fmla="*/ 54031 w 60110"/>
                <a:gd name="connsiteY6" fmla="*/ 11491 h 59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110" h="59726">
                  <a:moveTo>
                    <a:pt x="54031" y="11491"/>
                  </a:moveTo>
                  <a:cubicBezTo>
                    <a:pt x="49558" y="5107"/>
                    <a:pt x="42529" y="638"/>
                    <a:pt x="34222" y="0"/>
                  </a:cubicBezTo>
                  <a:cubicBezTo>
                    <a:pt x="32944" y="0"/>
                    <a:pt x="31666" y="0"/>
                    <a:pt x="29749" y="0"/>
                  </a:cubicBezTo>
                  <a:cubicBezTo>
                    <a:pt x="15052" y="0"/>
                    <a:pt x="2273" y="10853"/>
                    <a:pt x="356" y="25536"/>
                  </a:cubicBezTo>
                  <a:cubicBezTo>
                    <a:pt x="-2201" y="41496"/>
                    <a:pt x="9301" y="56818"/>
                    <a:pt x="25915" y="59371"/>
                  </a:cubicBezTo>
                  <a:cubicBezTo>
                    <a:pt x="41890" y="61925"/>
                    <a:pt x="57226" y="50434"/>
                    <a:pt x="59782" y="33835"/>
                  </a:cubicBezTo>
                  <a:cubicBezTo>
                    <a:pt x="61060" y="26174"/>
                    <a:pt x="58504" y="17875"/>
                    <a:pt x="54031" y="11491"/>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7" name="Graphic 4">
              <a:extLst>
                <a:ext uri="{FF2B5EF4-FFF2-40B4-BE49-F238E27FC236}">
                  <a16:creationId xmlns:a16="http://schemas.microsoft.com/office/drawing/2014/main" id="{C7A4B93F-B8D0-7865-641B-460DF10D1DF7}"/>
                </a:ext>
              </a:extLst>
            </p:cNvPr>
            <p:cNvSpPr/>
            <p:nvPr/>
          </p:nvSpPr>
          <p:spPr>
            <a:xfrm>
              <a:off x="2124015" y="2548648"/>
              <a:ext cx="106712" cy="105974"/>
            </a:xfrm>
            <a:custGeom>
              <a:avLst/>
              <a:gdLst>
                <a:gd name="connsiteX0" fmla="*/ 99044 w 106712"/>
                <a:gd name="connsiteY0" fmla="*/ 48518 h 105974"/>
                <a:gd name="connsiteX1" fmla="*/ 96488 w 106712"/>
                <a:gd name="connsiteY1" fmla="*/ 37027 h 105974"/>
                <a:gd name="connsiteX2" fmla="*/ 97766 w 106712"/>
                <a:gd name="connsiteY2" fmla="*/ 31920 h 105974"/>
                <a:gd name="connsiteX3" fmla="*/ 102239 w 106712"/>
                <a:gd name="connsiteY3" fmla="*/ 26174 h 105974"/>
                <a:gd name="connsiteX4" fmla="*/ 99044 w 106712"/>
                <a:gd name="connsiteY4" fmla="*/ 20429 h 105974"/>
                <a:gd name="connsiteX5" fmla="*/ 92015 w 106712"/>
                <a:gd name="connsiteY5" fmla="*/ 22344 h 105974"/>
                <a:gd name="connsiteX6" fmla="*/ 86903 w 106712"/>
                <a:gd name="connsiteY6" fmla="*/ 21067 h 105974"/>
                <a:gd name="connsiteX7" fmla="*/ 77318 w 106712"/>
                <a:gd name="connsiteY7" fmla="*/ 14045 h 105974"/>
                <a:gd name="connsiteX8" fmla="*/ 74762 w 106712"/>
                <a:gd name="connsiteY8" fmla="*/ 8938 h 105974"/>
                <a:gd name="connsiteX9" fmla="*/ 74762 w 106712"/>
                <a:gd name="connsiteY9" fmla="*/ 1915 h 105974"/>
                <a:gd name="connsiteX10" fmla="*/ 68372 w 106712"/>
                <a:gd name="connsiteY10" fmla="*/ 0 h 105974"/>
                <a:gd name="connsiteX11" fmla="*/ 63899 w 106712"/>
                <a:gd name="connsiteY11" fmla="*/ 5746 h 105974"/>
                <a:gd name="connsiteX12" fmla="*/ 58788 w 106712"/>
                <a:gd name="connsiteY12" fmla="*/ 8299 h 105974"/>
                <a:gd name="connsiteX13" fmla="*/ 46647 w 106712"/>
                <a:gd name="connsiteY13" fmla="*/ 8938 h 105974"/>
                <a:gd name="connsiteX14" fmla="*/ 41535 w 106712"/>
                <a:gd name="connsiteY14" fmla="*/ 7022 h 105974"/>
                <a:gd name="connsiteX15" fmla="*/ 36423 w 106712"/>
                <a:gd name="connsiteY15" fmla="*/ 1277 h 105974"/>
                <a:gd name="connsiteX16" fmla="*/ 30033 w 106712"/>
                <a:gd name="connsiteY16" fmla="*/ 3830 h 105974"/>
                <a:gd name="connsiteX17" fmla="*/ 30672 w 106712"/>
                <a:gd name="connsiteY17" fmla="*/ 10853 h 105974"/>
                <a:gd name="connsiteX18" fmla="*/ 28755 w 106712"/>
                <a:gd name="connsiteY18" fmla="*/ 15960 h 105974"/>
                <a:gd name="connsiteX19" fmla="*/ 19809 w 106712"/>
                <a:gd name="connsiteY19" fmla="*/ 23621 h 105974"/>
                <a:gd name="connsiteX20" fmla="*/ 14697 w 106712"/>
                <a:gd name="connsiteY20" fmla="*/ 24897 h 105974"/>
                <a:gd name="connsiteX21" fmla="*/ 7668 w 106712"/>
                <a:gd name="connsiteY21" fmla="*/ 23621 h 105974"/>
                <a:gd name="connsiteX22" fmla="*/ 4473 w 106712"/>
                <a:gd name="connsiteY22" fmla="*/ 29366 h 105974"/>
                <a:gd name="connsiteX23" fmla="*/ 9585 w 106712"/>
                <a:gd name="connsiteY23" fmla="*/ 34473 h 105974"/>
                <a:gd name="connsiteX24" fmla="*/ 11502 w 106712"/>
                <a:gd name="connsiteY24" fmla="*/ 39581 h 105974"/>
                <a:gd name="connsiteX25" fmla="*/ 9585 w 106712"/>
                <a:gd name="connsiteY25" fmla="*/ 51072 h 105974"/>
                <a:gd name="connsiteX26" fmla="*/ 6390 w 106712"/>
                <a:gd name="connsiteY26" fmla="*/ 55541 h 105974"/>
                <a:gd name="connsiteX27" fmla="*/ 0 w 106712"/>
                <a:gd name="connsiteY27" fmla="*/ 59371 h 105974"/>
                <a:gd name="connsiteX28" fmla="*/ 1278 w 106712"/>
                <a:gd name="connsiteY28" fmla="*/ 65755 h 105974"/>
                <a:gd name="connsiteX29" fmla="*/ 8307 w 106712"/>
                <a:gd name="connsiteY29" fmla="*/ 66393 h 105974"/>
                <a:gd name="connsiteX30" fmla="*/ 12780 w 106712"/>
                <a:gd name="connsiteY30" fmla="*/ 69585 h 105974"/>
                <a:gd name="connsiteX31" fmla="*/ 19170 w 106712"/>
                <a:gd name="connsiteY31" fmla="*/ 79800 h 105974"/>
                <a:gd name="connsiteX32" fmla="*/ 19809 w 106712"/>
                <a:gd name="connsiteY32" fmla="*/ 85545 h 105974"/>
                <a:gd name="connsiteX33" fmla="*/ 17253 w 106712"/>
                <a:gd name="connsiteY33" fmla="*/ 92568 h 105974"/>
                <a:gd name="connsiteX34" fmla="*/ 22365 w 106712"/>
                <a:gd name="connsiteY34" fmla="*/ 96398 h 105974"/>
                <a:gd name="connsiteX35" fmla="*/ 28755 w 106712"/>
                <a:gd name="connsiteY35" fmla="*/ 92568 h 105974"/>
                <a:gd name="connsiteX36" fmla="*/ 31950 w 106712"/>
                <a:gd name="connsiteY36" fmla="*/ 91291 h 105974"/>
                <a:gd name="connsiteX37" fmla="*/ 33867 w 106712"/>
                <a:gd name="connsiteY37" fmla="*/ 91291 h 105974"/>
                <a:gd name="connsiteX38" fmla="*/ 45369 w 106712"/>
                <a:gd name="connsiteY38" fmla="*/ 95121 h 105974"/>
                <a:gd name="connsiteX39" fmla="*/ 49203 w 106712"/>
                <a:gd name="connsiteY39" fmla="*/ 98952 h 105974"/>
                <a:gd name="connsiteX40" fmla="*/ 51759 w 106712"/>
                <a:gd name="connsiteY40" fmla="*/ 105974 h 105974"/>
                <a:gd name="connsiteX41" fmla="*/ 58148 w 106712"/>
                <a:gd name="connsiteY41" fmla="*/ 105974 h 105974"/>
                <a:gd name="connsiteX42" fmla="*/ 60065 w 106712"/>
                <a:gd name="connsiteY42" fmla="*/ 98952 h 105974"/>
                <a:gd name="connsiteX43" fmla="*/ 63899 w 106712"/>
                <a:gd name="connsiteY43" fmla="*/ 95121 h 105974"/>
                <a:gd name="connsiteX44" fmla="*/ 74762 w 106712"/>
                <a:gd name="connsiteY44" fmla="*/ 90652 h 105974"/>
                <a:gd name="connsiteX45" fmla="*/ 80513 w 106712"/>
                <a:gd name="connsiteY45" fmla="*/ 90652 h 105974"/>
                <a:gd name="connsiteX46" fmla="*/ 86903 w 106712"/>
                <a:gd name="connsiteY46" fmla="*/ 94483 h 105974"/>
                <a:gd name="connsiteX47" fmla="*/ 92015 w 106712"/>
                <a:gd name="connsiteY47" fmla="*/ 90014 h 105974"/>
                <a:gd name="connsiteX48" fmla="*/ 88820 w 106712"/>
                <a:gd name="connsiteY48" fmla="*/ 82992 h 105974"/>
                <a:gd name="connsiteX49" fmla="*/ 88820 w 106712"/>
                <a:gd name="connsiteY49" fmla="*/ 77246 h 105974"/>
                <a:gd name="connsiteX50" fmla="*/ 94571 w 106712"/>
                <a:gd name="connsiteY50" fmla="*/ 67032 h 105974"/>
                <a:gd name="connsiteX51" fmla="*/ 99044 w 106712"/>
                <a:gd name="connsiteY51" fmla="*/ 63840 h 105974"/>
                <a:gd name="connsiteX52" fmla="*/ 106073 w 106712"/>
                <a:gd name="connsiteY52" fmla="*/ 62563 h 105974"/>
                <a:gd name="connsiteX53" fmla="*/ 106712 w 106712"/>
                <a:gd name="connsiteY53" fmla="*/ 56179 h 105974"/>
                <a:gd name="connsiteX54" fmla="*/ 100322 w 106712"/>
                <a:gd name="connsiteY54" fmla="*/ 52987 h 105974"/>
                <a:gd name="connsiteX55" fmla="*/ 99044 w 106712"/>
                <a:gd name="connsiteY55" fmla="*/ 48518 h 105974"/>
                <a:gd name="connsiteX56" fmla="*/ 97127 w 106712"/>
                <a:gd name="connsiteY56" fmla="*/ 57456 h 105974"/>
                <a:gd name="connsiteX57" fmla="*/ 54954 w 106712"/>
                <a:gd name="connsiteY57" fmla="*/ 93844 h 105974"/>
                <a:gd name="connsiteX58" fmla="*/ 49203 w 106712"/>
                <a:gd name="connsiteY58" fmla="*/ 93206 h 105974"/>
                <a:gd name="connsiteX59" fmla="*/ 12780 w 106712"/>
                <a:gd name="connsiteY59" fmla="*/ 45326 h 105974"/>
                <a:gd name="connsiteX60" fmla="*/ 60704 w 106712"/>
                <a:gd name="connsiteY60" fmla="*/ 8938 h 105974"/>
                <a:gd name="connsiteX61" fmla="*/ 97127 w 106712"/>
                <a:gd name="connsiteY61" fmla="*/ 57456 h 10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06712" h="105974">
                  <a:moveTo>
                    <a:pt x="99044" y="48518"/>
                  </a:moveTo>
                  <a:lnTo>
                    <a:pt x="96488" y="37027"/>
                  </a:lnTo>
                  <a:cubicBezTo>
                    <a:pt x="95849" y="35112"/>
                    <a:pt x="96488" y="33197"/>
                    <a:pt x="97766" y="31920"/>
                  </a:cubicBezTo>
                  <a:lnTo>
                    <a:pt x="102239" y="26174"/>
                  </a:lnTo>
                  <a:lnTo>
                    <a:pt x="99044" y="20429"/>
                  </a:lnTo>
                  <a:lnTo>
                    <a:pt x="92015" y="22344"/>
                  </a:lnTo>
                  <a:cubicBezTo>
                    <a:pt x="90098" y="22982"/>
                    <a:pt x="88181" y="22344"/>
                    <a:pt x="86903" y="21067"/>
                  </a:cubicBezTo>
                  <a:lnTo>
                    <a:pt x="77318" y="14045"/>
                  </a:lnTo>
                  <a:cubicBezTo>
                    <a:pt x="76040" y="12768"/>
                    <a:pt x="74762" y="10853"/>
                    <a:pt x="74762" y="8938"/>
                  </a:cubicBezTo>
                  <a:lnTo>
                    <a:pt x="74762" y="1915"/>
                  </a:lnTo>
                  <a:lnTo>
                    <a:pt x="68372" y="0"/>
                  </a:lnTo>
                  <a:lnTo>
                    <a:pt x="63899" y="5746"/>
                  </a:lnTo>
                  <a:cubicBezTo>
                    <a:pt x="62622" y="7022"/>
                    <a:pt x="60704" y="8299"/>
                    <a:pt x="58788" y="8299"/>
                  </a:cubicBezTo>
                  <a:lnTo>
                    <a:pt x="46647" y="8938"/>
                  </a:lnTo>
                  <a:cubicBezTo>
                    <a:pt x="44730" y="8938"/>
                    <a:pt x="42813" y="8299"/>
                    <a:pt x="41535" y="7022"/>
                  </a:cubicBezTo>
                  <a:lnTo>
                    <a:pt x="36423" y="1277"/>
                  </a:lnTo>
                  <a:lnTo>
                    <a:pt x="30033" y="3830"/>
                  </a:lnTo>
                  <a:lnTo>
                    <a:pt x="30672" y="10853"/>
                  </a:lnTo>
                  <a:cubicBezTo>
                    <a:pt x="30672" y="12768"/>
                    <a:pt x="30033" y="14683"/>
                    <a:pt x="28755" y="15960"/>
                  </a:cubicBezTo>
                  <a:lnTo>
                    <a:pt x="19809" y="23621"/>
                  </a:lnTo>
                  <a:cubicBezTo>
                    <a:pt x="18531" y="24897"/>
                    <a:pt x="16614" y="25536"/>
                    <a:pt x="14697" y="24897"/>
                  </a:cubicBezTo>
                  <a:lnTo>
                    <a:pt x="7668" y="23621"/>
                  </a:lnTo>
                  <a:lnTo>
                    <a:pt x="4473" y="29366"/>
                  </a:lnTo>
                  <a:lnTo>
                    <a:pt x="9585" y="34473"/>
                  </a:lnTo>
                  <a:cubicBezTo>
                    <a:pt x="10863" y="35750"/>
                    <a:pt x="11502" y="37665"/>
                    <a:pt x="11502" y="39581"/>
                  </a:cubicBezTo>
                  <a:lnTo>
                    <a:pt x="9585" y="51072"/>
                  </a:lnTo>
                  <a:cubicBezTo>
                    <a:pt x="9585" y="52987"/>
                    <a:pt x="8307" y="54902"/>
                    <a:pt x="6390" y="55541"/>
                  </a:cubicBezTo>
                  <a:lnTo>
                    <a:pt x="0" y="59371"/>
                  </a:lnTo>
                  <a:lnTo>
                    <a:pt x="1278" y="65755"/>
                  </a:lnTo>
                  <a:lnTo>
                    <a:pt x="8307" y="66393"/>
                  </a:lnTo>
                  <a:cubicBezTo>
                    <a:pt x="10224" y="66393"/>
                    <a:pt x="12141" y="67670"/>
                    <a:pt x="12780" y="69585"/>
                  </a:cubicBezTo>
                  <a:lnTo>
                    <a:pt x="19170" y="79800"/>
                  </a:lnTo>
                  <a:cubicBezTo>
                    <a:pt x="20448" y="81715"/>
                    <a:pt x="20448" y="83630"/>
                    <a:pt x="19809" y="85545"/>
                  </a:cubicBezTo>
                  <a:lnTo>
                    <a:pt x="17253" y="92568"/>
                  </a:lnTo>
                  <a:lnTo>
                    <a:pt x="22365" y="96398"/>
                  </a:lnTo>
                  <a:lnTo>
                    <a:pt x="28755" y="92568"/>
                  </a:lnTo>
                  <a:cubicBezTo>
                    <a:pt x="30033" y="91929"/>
                    <a:pt x="31311" y="91291"/>
                    <a:pt x="31950" y="91291"/>
                  </a:cubicBezTo>
                  <a:cubicBezTo>
                    <a:pt x="32589" y="91291"/>
                    <a:pt x="33228" y="91291"/>
                    <a:pt x="33867" y="91291"/>
                  </a:cubicBezTo>
                  <a:lnTo>
                    <a:pt x="45369" y="95121"/>
                  </a:lnTo>
                  <a:cubicBezTo>
                    <a:pt x="47285" y="95760"/>
                    <a:pt x="48564" y="97036"/>
                    <a:pt x="49203" y="98952"/>
                  </a:cubicBezTo>
                  <a:lnTo>
                    <a:pt x="51759" y="105974"/>
                  </a:lnTo>
                  <a:lnTo>
                    <a:pt x="58148" y="105974"/>
                  </a:lnTo>
                  <a:lnTo>
                    <a:pt x="60065" y="98952"/>
                  </a:lnTo>
                  <a:cubicBezTo>
                    <a:pt x="60704" y="97036"/>
                    <a:pt x="61982" y="95760"/>
                    <a:pt x="63899" y="95121"/>
                  </a:cubicBezTo>
                  <a:lnTo>
                    <a:pt x="74762" y="90652"/>
                  </a:lnTo>
                  <a:cubicBezTo>
                    <a:pt x="76679" y="90014"/>
                    <a:pt x="78596" y="90014"/>
                    <a:pt x="80513" y="90652"/>
                  </a:cubicBezTo>
                  <a:lnTo>
                    <a:pt x="86903" y="94483"/>
                  </a:lnTo>
                  <a:lnTo>
                    <a:pt x="92015" y="90014"/>
                  </a:lnTo>
                  <a:lnTo>
                    <a:pt x="88820" y="82992"/>
                  </a:lnTo>
                  <a:cubicBezTo>
                    <a:pt x="88181" y="81076"/>
                    <a:pt x="88181" y="79161"/>
                    <a:pt x="88820" y="77246"/>
                  </a:cubicBezTo>
                  <a:lnTo>
                    <a:pt x="94571" y="67032"/>
                  </a:lnTo>
                  <a:cubicBezTo>
                    <a:pt x="95210" y="65117"/>
                    <a:pt x="97127" y="63840"/>
                    <a:pt x="99044" y="63840"/>
                  </a:cubicBezTo>
                  <a:lnTo>
                    <a:pt x="106073" y="62563"/>
                  </a:lnTo>
                  <a:lnTo>
                    <a:pt x="106712" y="56179"/>
                  </a:lnTo>
                  <a:lnTo>
                    <a:pt x="100322" y="52987"/>
                  </a:lnTo>
                  <a:cubicBezTo>
                    <a:pt x="100322" y="52349"/>
                    <a:pt x="99683" y="50433"/>
                    <a:pt x="99044" y="48518"/>
                  </a:cubicBezTo>
                  <a:close/>
                  <a:moveTo>
                    <a:pt x="97127" y="57456"/>
                  </a:moveTo>
                  <a:cubicBezTo>
                    <a:pt x="93932" y="78523"/>
                    <a:pt x="76040" y="93844"/>
                    <a:pt x="54954" y="93844"/>
                  </a:cubicBezTo>
                  <a:cubicBezTo>
                    <a:pt x="53037" y="93844"/>
                    <a:pt x="51119" y="93844"/>
                    <a:pt x="49203" y="93206"/>
                  </a:cubicBezTo>
                  <a:cubicBezTo>
                    <a:pt x="26199" y="90014"/>
                    <a:pt x="9585" y="68308"/>
                    <a:pt x="12780" y="45326"/>
                  </a:cubicBezTo>
                  <a:cubicBezTo>
                    <a:pt x="15975" y="22344"/>
                    <a:pt x="37701" y="5746"/>
                    <a:pt x="60704" y="8938"/>
                  </a:cubicBezTo>
                  <a:cubicBezTo>
                    <a:pt x="84347" y="12768"/>
                    <a:pt x="100322" y="34473"/>
                    <a:pt x="97127" y="57456"/>
                  </a:cubicBezTo>
                  <a:close/>
                </a:path>
              </a:pathLst>
            </a:custGeom>
            <a:grp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19" name="TextBox 18">
            <a:extLst>
              <a:ext uri="{FF2B5EF4-FFF2-40B4-BE49-F238E27FC236}">
                <a16:creationId xmlns:a16="http://schemas.microsoft.com/office/drawing/2014/main" id="{B85CCB84-EADA-56AE-82A8-96581BADB437}"/>
              </a:ext>
            </a:extLst>
          </p:cNvPr>
          <p:cNvSpPr txBox="1"/>
          <p:nvPr/>
        </p:nvSpPr>
        <p:spPr>
          <a:xfrm>
            <a:off x="349943" y="3483328"/>
            <a:ext cx="2446296" cy="1429622"/>
          </a:xfrm>
          <a:prstGeom prst="rect">
            <a:avLst/>
          </a:prstGeom>
          <a:noFill/>
        </p:spPr>
        <p:txBody>
          <a:bodyPr wrap="square">
            <a:spAutoFit/>
          </a:bodyPr>
          <a:lstStyle/>
          <a:p>
            <a:pPr marL="0" marR="0" lvl="0" indent="0" algn="l" defTabSz="60963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a:ea typeface="+mn-ea"/>
                <a:cs typeface="+mn-cs"/>
              </a:rPr>
              <a:t>Le </a:t>
            </a:r>
            <a:r>
              <a:rPr kumimoji="0" lang="en-US" sz="2000" b="0" i="0" u="none" strike="noStrike" kern="1200" cap="none" spc="0" normalizeH="0" baseline="0" noProof="0" err="1">
                <a:ln>
                  <a:noFill/>
                </a:ln>
                <a:solidFill>
                  <a:srgbClr val="FFFFFF"/>
                </a:solidFill>
                <a:effectLst/>
                <a:uLnTx/>
                <a:uFillTx/>
                <a:latin typeface="Calibri"/>
                <a:ea typeface="+mn-ea"/>
                <a:cs typeface="+mn-cs"/>
              </a:rPr>
              <a:t>hacemo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una</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pregunta</a:t>
            </a:r>
            <a:r>
              <a:rPr kumimoji="0" lang="en-US" sz="2000" b="0" i="0" u="none" strike="noStrike" kern="1200" cap="none" spc="0" normalizeH="0" baseline="0" noProof="0">
                <a:ln>
                  <a:noFill/>
                </a:ln>
                <a:solidFill>
                  <a:srgbClr val="FFFFFF"/>
                </a:solidFill>
                <a:effectLst/>
                <a:uLnTx/>
                <a:uFillTx/>
                <a:latin typeface="Calibri"/>
                <a:ea typeface="+mn-ea"/>
                <a:cs typeface="+mn-cs"/>
              </a:rPr>
              <a:t> o le </a:t>
            </a:r>
            <a:r>
              <a:rPr kumimoji="0" lang="en-US" sz="2000" b="0" i="0" u="none" strike="noStrike" kern="1200" cap="none" spc="0" normalizeH="0" baseline="0" noProof="0" err="1">
                <a:ln>
                  <a:noFill/>
                </a:ln>
                <a:solidFill>
                  <a:srgbClr val="FFFFFF"/>
                </a:solidFill>
                <a:effectLst/>
                <a:uLnTx/>
                <a:uFillTx/>
                <a:latin typeface="Calibri"/>
                <a:ea typeface="+mn-ea"/>
                <a:cs typeface="+mn-cs"/>
              </a:rPr>
              <a:t>escribimo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una</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frase</a:t>
            </a: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DE86940E-8A24-3485-FBDC-70FEA4D00736}"/>
              </a:ext>
            </a:extLst>
          </p:cNvPr>
          <p:cNvSpPr txBox="1"/>
          <p:nvPr/>
        </p:nvSpPr>
        <p:spPr>
          <a:xfrm>
            <a:off x="3009580" y="3414102"/>
            <a:ext cx="3299132" cy="2352952"/>
          </a:xfrm>
          <a:prstGeom prst="rect">
            <a:avLst/>
          </a:prstGeom>
          <a:noFill/>
        </p:spPr>
        <p:txBody>
          <a:bodyPr wrap="square">
            <a:spAutoFit/>
          </a:bodyPr>
          <a:lstStyle/>
          <a:p>
            <a:pPr marL="244698" marR="0" lvl="1" indent="0" algn="l" defTabSz="60963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alibri"/>
                <a:ea typeface="+mn-ea"/>
                <a:cs typeface="+mn-cs"/>
              </a:rPr>
              <a:t>GPT </a:t>
            </a:r>
            <a:r>
              <a:rPr kumimoji="0" lang="en-US" sz="2000" b="0" i="0" u="none" strike="noStrike" kern="1200" cap="none" spc="0" normalizeH="0" baseline="0" noProof="0" err="1">
                <a:ln>
                  <a:noFill/>
                </a:ln>
                <a:solidFill>
                  <a:srgbClr val="FFFFFF"/>
                </a:solidFill>
                <a:effectLst/>
                <a:uLnTx/>
                <a:uFillTx/>
                <a:latin typeface="Calibri"/>
                <a:ea typeface="+mn-ea"/>
                <a:cs typeface="+mn-cs"/>
              </a:rPr>
              <a:t>busca</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en</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el</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1" u="none" strike="noStrike" kern="1200" cap="none" spc="0" normalizeH="0" baseline="0" noProof="0">
                <a:ln>
                  <a:noFill/>
                </a:ln>
                <a:solidFill>
                  <a:srgbClr val="FFFFFF"/>
                </a:solidFill>
                <a:effectLst/>
                <a:uLnTx/>
                <a:uFillTx/>
                <a:latin typeface="Calibri"/>
                <a:ea typeface="+mn-ea"/>
                <a:cs typeface="+mn-cs"/>
              </a:rPr>
              <a:t>embedding</a:t>
            </a:r>
            <a:r>
              <a:rPr kumimoji="0" lang="en-US" sz="2000" b="0" i="0" u="none" strike="noStrike" kern="1200" cap="none" spc="0" normalizeH="0" baseline="0" noProof="0">
                <a:ln>
                  <a:noFill/>
                </a:ln>
                <a:solidFill>
                  <a:srgbClr val="FFFFFF"/>
                </a:solidFill>
                <a:effectLst/>
                <a:uLnTx/>
                <a:uFillTx/>
                <a:latin typeface="Calibri"/>
                <a:ea typeface="+mn-ea"/>
                <a:cs typeface="+mn-cs"/>
              </a:rPr>
              <a:t> un conjunto de </a:t>
            </a:r>
            <a:r>
              <a:rPr kumimoji="0" lang="en-US" sz="2000" b="0" i="0" u="none" strike="noStrike" kern="1200" cap="none" spc="0" normalizeH="0" baseline="0" noProof="0" err="1">
                <a:ln>
                  <a:noFill/>
                </a:ln>
                <a:solidFill>
                  <a:srgbClr val="FFFFFF"/>
                </a:solidFill>
                <a:effectLst/>
                <a:uLnTx/>
                <a:uFillTx/>
                <a:latin typeface="Calibri"/>
                <a:ea typeface="+mn-ea"/>
                <a:cs typeface="+mn-cs"/>
              </a:rPr>
              <a:t>respuesta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posible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dependiendo</a:t>
            </a:r>
            <a:r>
              <a:rPr kumimoji="0" lang="en-US" sz="2000" b="0" i="0" u="none" strike="noStrike" kern="1200" cap="none" spc="0" normalizeH="0" baseline="0" noProof="0">
                <a:ln>
                  <a:noFill/>
                </a:ln>
                <a:solidFill>
                  <a:srgbClr val="FFFFFF"/>
                </a:solidFill>
                <a:effectLst/>
                <a:uLnTx/>
                <a:uFillTx/>
                <a:latin typeface="Calibri"/>
                <a:ea typeface="+mn-ea"/>
                <a:cs typeface="+mn-cs"/>
              </a:rPr>
              <a:t> de </a:t>
            </a:r>
            <a:r>
              <a:rPr kumimoji="0" lang="en-US" sz="2000" b="0" i="0" u="none" strike="noStrike" kern="1200" cap="none" spc="0" normalizeH="0" baseline="0" noProof="0" err="1">
                <a:ln>
                  <a:noFill/>
                </a:ln>
                <a:solidFill>
                  <a:srgbClr val="FFFFFF"/>
                </a:solidFill>
                <a:effectLst/>
                <a:uLnTx/>
                <a:uFillTx/>
                <a:latin typeface="Calibri"/>
                <a:ea typeface="+mn-ea"/>
                <a:cs typeface="+mn-cs"/>
              </a:rPr>
              <a:t>qué</a:t>
            </a:r>
            <a:r>
              <a:rPr kumimoji="0" lang="en-US" sz="2000" b="0" i="0" u="none" strike="noStrike" kern="1200" cap="none" spc="0" normalizeH="0" baseline="0" noProof="0">
                <a:ln>
                  <a:noFill/>
                </a:ln>
                <a:solidFill>
                  <a:srgbClr val="FFFFFF"/>
                </a:solidFill>
                <a:effectLst/>
                <a:uLnTx/>
                <a:uFillTx/>
                <a:latin typeface="Calibri"/>
                <a:ea typeface="+mn-ea"/>
                <a:cs typeface="+mn-cs"/>
              </a:rPr>
              <a:t> tantos </a:t>
            </a:r>
            <a:r>
              <a:rPr kumimoji="0" lang="en-US" sz="2000" b="0" i="0" u="none" strike="noStrike" kern="1200" cap="none" spc="0" normalizeH="0" baseline="0" noProof="0" err="1">
                <a:ln>
                  <a:noFill/>
                </a:ln>
                <a:solidFill>
                  <a:srgbClr val="FFFFFF"/>
                </a:solidFill>
                <a:effectLst/>
                <a:uLnTx/>
                <a:uFillTx/>
                <a:latin typeface="Calibri"/>
                <a:ea typeface="+mn-ea"/>
                <a:cs typeface="+mn-cs"/>
              </a:rPr>
              <a:t>marcadore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tengan</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en</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común</a:t>
            </a:r>
            <a:r>
              <a:rPr kumimoji="0" lang="en-US" sz="2000" b="0" i="0" u="none" strike="noStrike" kern="1200" cap="none" spc="0" normalizeH="0" baseline="0" noProof="0">
                <a:ln>
                  <a:noFill/>
                </a:ln>
                <a:solidFill>
                  <a:srgbClr val="FFFFFF"/>
                </a:solidFill>
                <a:effectLst/>
                <a:uLnTx/>
                <a:uFillTx/>
                <a:latin typeface="Calibri"/>
                <a:ea typeface="+mn-ea"/>
                <a:cs typeface="+mn-cs"/>
              </a:rPr>
              <a:t>.</a:t>
            </a:r>
          </a:p>
        </p:txBody>
      </p:sp>
      <p:sp>
        <p:nvSpPr>
          <p:cNvPr id="23" name="TextBox 22">
            <a:extLst>
              <a:ext uri="{FF2B5EF4-FFF2-40B4-BE49-F238E27FC236}">
                <a16:creationId xmlns:a16="http://schemas.microsoft.com/office/drawing/2014/main" id="{2C38AB2A-3328-B3BF-C55F-54002762C517}"/>
              </a:ext>
            </a:extLst>
          </p:cNvPr>
          <p:cNvSpPr txBox="1"/>
          <p:nvPr/>
        </p:nvSpPr>
        <p:spPr>
          <a:xfrm>
            <a:off x="6238772" y="3410881"/>
            <a:ext cx="2832375" cy="1429622"/>
          </a:xfrm>
          <a:prstGeom prst="rect">
            <a:avLst/>
          </a:prstGeom>
          <a:noFill/>
        </p:spPr>
        <p:txBody>
          <a:bodyPr wrap="square">
            <a:spAutoFit/>
          </a:bodyPr>
          <a:lstStyle/>
          <a:p>
            <a:pPr marL="244698" marR="0" lvl="1" indent="0" algn="l" defTabSz="60963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err="1">
                <a:ln>
                  <a:noFill/>
                </a:ln>
                <a:solidFill>
                  <a:srgbClr val="FFFFFF"/>
                </a:solidFill>
                <a:effectLst/>
                <a:uLnTx/>
                <a:uFillTx/>
                <a:latin typeface="Calibri"/>
                <a:ea typeface="+mn-ea"/>
                <a:cs typeface="+mn-cs"/>
              </a:rPr>
              <a:t>Elige</a:t>
            </a:r>
            <a:r>
              <a:rPr kumimoji="0" lang="en-US" sz="2000" b="0" i="0" u="none" strike="noStrike" kern="1200" cap="none" spc="0" normalizeH="0" baseline="0" noProof="0">
                <a:ln>
                  <a:noFill/>
                </a:ln>
                <a:solidFill>
                  <a:srgbClr val="FFFFFF"/>
                </a:solidFill>
                <a:effectLst/>
                <a:uLnTx/>
                <a:uFillTx/>
                <a:latin typeface="Calibri"/>
                <a:ea typeface="+mn-ea"/>
                <a:cs typeface="+mn-cs"/>
              </a:rPr>
              <a:t> al azar </a:t>
            </a:r>
            <a:r>
              <a:rPr kumimoji="0" lang="en-US" sz="2000" b="0" i="0" u="none" strike="noStrike" kern="1200" cap="none" spc="0" normalizeH="0" baseline="0" noProof="0" err="1">
                <a:ln>
                  <a:noFill/>
                </a:ln>
                <a:solidFill>
                  <a:srgbClr val="FFFFFF"/>
                </a:solidFill>
                <a:effectLst/>
                <a:uLnTx/>
                <a:uFillTx/>
                <a:latin typeface="Calibri"/>
                <a:ea typeface="+mn-ea"/>
                <a:cs typeface="+mn-cs"/>
              </a:rPr>
              <a:t>una</a:t>
            </a:r>
            <a:r>
              <a:rPr kumimoji="0" lang="en-US" sz="2000" b="0" i="0" u="none" strike="noStrike" kern="1200" cap="none" spc="0" normalizeH="0" baseline="0" noProof="0">
                <a:ln>
                  <a:noFill/>
                </a:ln>
                <a:solidFill>
                  <a:srgbClr val="FFFFFF"/>
                </a:solidFill>
                <a:effectLst/>
                <a:uLnTx/>
                <a:uFillTx/>
                <a:latin typeface="Calibri"/>
                <a:ea typeface="+mn-ea"/>
                <a:cs typeface="+mn-cs"/>
              </a:rPr>
              <a:t> de </a:t>
            </a:r>
            <a:r>
              <a:rPr kumimoji="0" lang="en-US" sz="2000" b="0" i="0" u="none" strike="noStrike" kern="1200" cap="none" spc="0" normalizeH="0" baseline="0" noProof="0" err="1">
                <a:ln>
                  <a:noFill/>
                </a:ln>
                <a:solidFill>
                  <a:srgbClr val="FFFFFF"/>
                </a:solidFill>
                <a:effectLst/>
                <a:uLnTx/>
                <a:uFillTx/>
                <a:latin typeface="Calibri"/>
                <a:ea typeface="+mn-ea"/>
                <a:cs typeface="+mn-cs"/>
              </a:rPr>
              <a:t>esas</a:t>
            </a:r>
            <a:r>
              <a:rPr kumimoji="0" lang="en-US" sz="2000" b="0" i="0" u="none" strike="noStrike" kern="1200" cap="none" spc="0" normalizeH="0" baseline="0" noProof="0">
                <a:ln>
                  <a:noFill/>
                </a:ln>
                <a:solidFill>
                  <a:srgbClr val="FFFFFF"/>
                </a:solidFill>
                <a:effectLst/>
                <a:uLnTx/>
                <a:uFillTx/>
                <a:latin typeface="Calibri"/>
                <a:ea typeface="+mn-ea"/>
                <a:cs typeface="+mn-cs"/>
              </a:rPr>
              <a:t> </a:t>
            </a:r>
            <a:r>
              <a:rPr kumimoji="0" lang="en-US" sz="2000" b="0" i="0" u="none" strike="noStrike" kern="1200" cap="none" spc="0" normalizeH="0" baseline="0" noProof="0" err="1">
                <a:ln>
                  <a:noFill/>
                </a:ln>
                <a:solidFill>
                  <a:srgbClr val="FFFFFF"/>
                </a:solidFill>
                <a:effectLst/>
                <a:uLnTx/>
                <a:uFillTx/>
                <a:latin typeface="Calibri"/>
                <a:ea typeface="+mn-ea"/>
                <a:cs typeface="+mn-cs"/>
              </a:rPr>
              <a:t>frases</a:t>
            </a:r>
            <a:r>
              <a:rPr kumimoji="0" lang="en-US" sz="2000" b="0" i="0" u="none" strike="noStrike" kern="1200" cap="none" spc="0" normalizeH="0" baseline="0" noProof="0">
                <a:ln>
                  <a:noFill/>
                </a:ln>
                <a:solidFill>
                  <a:srgbClr val="FFFFFF"/>
                </a:solidFill>
                <a:effectLst/>
                <a:uLnTx/>
                <a:uFillTx/>
                <a:latin typeface="Calibri"/>
                <a:ea typeface="+mn-ea"/>
                <a:cs typeface="+mn-cs"/>
              </a:rPr>
              <a:t> o conjuntos de </a:t>
            </a:r>
            <a:r>
              <a:rPr kumimoji="0" lang="en-US" sz="2000" b="0" i="1" u="none" strike="noStrike" kern="1200" cap="none" spc="0" normalizeH="0" baseline="0" noProof="0">
                <a:ln>
                  <a:noFill/>
                </a:ln>
                <a:solidFill>
                  <a:srgbClr val="FFFFFF"/>
                </a:solidFill>
                <a:effectLst/>
                <a:uLnTx/>
                <a:uFillTx/>
                <a:latin typeface="Calibri"/>
                <a:ea typeface="+mn-ea"/>
                <a:cs typeface="+mn-cs"/>
              </a:rPr>
              <a:t>tokens</a:t>
            </a:r>
            <a:r>
              <a:rPr kumimoji="0" lang="en-US" sz="2000" b="0" i="0" u="none" strike="noStrike" kern="1200" cap="none" spc="0" normalizeH="0" baseline="0" noProof="0">
                <a:ln>
                  <a:noFill/>
                </a:ln>
                <a:solidFill>
                  <a:srgbClr val="FFFFFF"/>
                </a:solidFill>
                <a:effectLst/>
                <a:uLnTx/>
                <a:uFillTx/>
                <a:latin typeface="Calibri"/>
                <a:ea typeface="+mn-ea"/>
                <a:cs typeface="+mn-cs"/>
              </a:rPr>
              <a:t>.</a:t>
            </a:r>
          </a:p>
        </p:txBody>
      </p:sp>
      <p:sp>
        <p:nvSpPr>
          <p:cNvPr id="24" name="Graphic 4">
            <a:extLst>
              <a:ext uri="{FF2B5EF4-FFF2-40B4-BE49-F238E27FC236}">
                <a16:creationId xmlns:a16="http://schemas.microsoft.com/office/drawing/2014/main" id="{139AEAED-0F21-A9B3-3BCF-A742B8FFFD3E}"/>
              </a:ext>
            </a:extLst>
          </p:cNvPr>
          <p:cNvSpPr>
            <a:spLocks noChangeAspect="1"/>
          </p:cNvSpPr>
          <p:nvPr/>
        </p:nvSpPr>
        <p:spPr>
          <a:xfrm>
            <a:off x="10150776" y="1990810"/>
            <a:ext cx="1342850" cy="1341600"/>
          </a:xfrm>
          <a:custGeom>
            <a:avLst/>
            <a:gdLst>
              <a:gd name="connsiteX0" fmla="*/ 154636 w 362948"/>
              <a:gd name="connsiteY0" fmla="*/ 199180 h 362610"/>
              <a:gd name="connsiteX1" fmla="*/ 127799 w 362948"/>
              <a:gd name="connsiteY1" fmla="*/ 116827 h 362610"/>
              <a:gd name="connsiteX2" fmla="*/ 99683 w 362948"/>
              <a:gd name="connsiteY2" fmla="*/ 199180 h 362610"/>
              <a:gd name="connsiteX3" fmla="*/ 154636 w 362948"/>
              <a:gd name="connsiteY3" fmla="*/ 199180 h 362610"/>
              <a:gd name="connsiteX4" fmla="*/ 286269 w 362948"/>
              <a:gd name="connsiteY4" fmla="*/ 218332 h 362610"/>
              <a:gd name="connsiteX5" fmla="*/ 286269 w 362948"/>
              <a:gd name="connsiteY5" fmla="*/ 217694 h 362610"/>
              <a:gd name="connsiteX6" fmla="*/ 286269 w 362948"/>
              <a:gd name="connsiteY6" fmla="*/ 203649 h 362610"/>
              <a:gd name="connsiteX7" fmla="*/ 267738 w 362948"/>
              <a:gd name="connsiteY7" fmla="*/ 203011 h 362610"/>
              <a:gd name="connsiteX8" fmla="*/ 258792 w 362948"/>
              <a:gd name="connsiteY8" fmla="*/ 203011 h 362610"/>
              <a:gd name="connsiteX9" fmla="*/ 221092 w 362948"/>
              <a:gd name="connsiteY9" fmla="*/ 229185 h 362610"/>
              <a:gd name="connsiteX10" fmla="*/ 238984 w 362948"/>
              <a:gd name="connsiteY10" fmla="*/ 255359 h 362610"/>
              <a:gd name="connsiteX11" fmla="*/ 274767 w 362948"/>
              <a:gd name="connsiteY11" fmla="*/ 245783 h 362610"/>
              <a:gd name="connsiteX12" fmla="*/ 285630 w 362948"/>
              <a:gd name="connsiteY12" fmla="*/ 218971 h 362610"/>
              <a:gd name="connsiteX13" fmla="*/ 286269 w 362948"/>
              <a:gd name="connsiteY13" fmla="*/ 218332 h 362610"/>
              <a:gd name="connsiteX14" fmla="*/ 299049 w 362948"/>
              <a:gd name="connsiteY14" fmla="*/ 264297 h 362610"/>
              <a:gd name="connsiteX15" fmla="*/ 292659 w 362948"/>
              <a:gd name="connsiteY15" fmla="*/ 270681 h 362610"/>
              <a:gd name="connsiteX16" fmla="*/ 286269 w 362948"/>
              <a:gd name="connsiteY16" fmla="*/ 264297 h 362610"/>
              <a:gd name="connsiteX17" fmla="*/ 286269 w 362948"/>
              <a:gd name="connsiteY17" fmla="*/ 252806 h 362610"/>
              <a:gd name="connsiteX18" fmla="*/ 284352 w 362948"/>
              <a:gd name="connsiteY18" fmla="*/ 254721 h 362610"/>
              <a:gd name="connsiteX19" fmla="*/ 238345 w 362948"/>
              <a:gd name="connsiteY19" fmla="*/ 267489 h 362610"/>
              <a:gd name="connsiteX20" fmla="*/ 208951 w 362948"/>
              <a:gd name="connsiteY20" fmla="*/ 227908 h 362610"/>
              <a:gd name="connsiteX21" fmla="*/ 257514 w 362948"/>
              <a:gd name="connsiteY21" fmla="*/ 190243 h 362610"/>
              <a:gd name="connsiteX22" fmla="*/ 285630 w 362948"/>
              <a:gd name="connsiteY22" fmla="*/ 190243 h 362610"/>
              <a:gd name="connsiteX23" fmla="*/ 271572 w 362948"/>
              <a:gd name="connsiteY23" fmla="*/ 160238 h 362610"/>
              <a:gd name="connsiteX24" fmla="*/ 270933 w 362948"/>
              <a:gd name="connsiteY24" fmla="*/ 160238 h 362610"/>
              <a:gd name="connsiteX25" fmla="*/ 219175 w 362948"/>
              <a:gd name="connsiteY25" fmla="*/ 164068 h 362610"/>
              <a:gd name="connsiteX26" fmla="*/ 210229 w 362948"/>
              <a:gd name="connsiteY26" fmla="*/ 161515 h 362610"/>
              <a:gd name="connsiteX27" fmla="*/ 212785 w 362948"/>
              <a:gd name="connsiteY27" fmla="*/ 152577 h 362610"/>
              <a:gd name="connsiteX28" fmla="*/ 278601 w 362948"/>
              <a:gd name="connsiteY28" fmla="*/ 149385 h 362610"/>
              <a:gd name="connsiteX29" fmla="*/ 299049 w 362948"/>
              <a:gd name="connsiteY29" fmla="*/ 192796 h 362610"/>
              <a:gd name="connsiteX30" fmla="*/ 299049 w 362948"/>
              <a:gd name="connsiteY30" fmla="*/ 264297 h 362610"/>
              <a:gd name="connsiteX31" fmla="*/ 185308 w 362948"/>
              <a:gd name="connsiteY31" fmla="*/ 272596 h 362610"/>
              <a:gd name="connsiteX32" fmla="*/ 183391 w 362948"/>
              <a:gd name="connsiteY32" fmla="*/ 272596 h 362610"/>
              <a:gd name="connsiteX33" fmla="*/ 177001 w 362948"/>
              <a:gd name="connsiteY33" fmla="*/ 268127 h 362610"/>
              <a:gd name="connsiteX34" fmla="*/ 158470 w 362948"/>
              <a:gd name="connsiteY34" fmla="*/ 210671 h 362610"/>
              <a:gd name="connsiteX35" fmla="*/ 95210 w 362948"/>
              <a:gd name="connsiteY35" fmla="*/ 210671 h 362610"/>
              <a:gd name="connsiteX36" fmla="*/ 76040 w 362948"/>
              <a:gd name="connsiteY36" fmla="*/ 268127 h 362610"/>
              <a:gd name="connsiteX37" fmla="*/ 68372 w 362948"/>
              <a:gd name="connsiteY37" fmla="*/ 272596 h 362610"/>
              <a:gd name="connsiteX38" fmla="*/ 63899 w 362948"/>
              <a:gd name="connsiteY38" fmla="*/ 264935 h 362610"/>
              <a:gd name="connsiteX39" fmla="*/ 63899 w 362948"/>
              <a:gd name="connsiteY39" fmla="*/ 264297 h 362610"/>
              <a:gd name="connsiteX40" fmla="*/ 121409 w 362948"/>
              <a:gd name="connsiteY40" fmla="*/ 93844 h 362610"/>
              <a:gd name="connsiteX41" fmla="*/ 127799 w 362948"/>
              <a:gd name="connsiteY41" fmla="*/ 89376 h 362610"/>
              <a:gd name="connsiteX42" fmla="*/ 134189 w 362948"/>
              <a:gd name="connsiteY42" fmla="*/ 93844 h 362610"/>
              <a:gd name="connsiteX43" fmla="*/ 189781 w 362948"/>
              <a:gd name="connsiteY43" fmla="*/ 264297 h 362610"/>
              <a:gd name="connsiteX44" fmla="*/ 185308 w 362948"/>
              <a:gd name="connsiteY44" fmla="*/ 272596 h 362610"/>
              <a:gd name="connsiteX45" fmla="*/ 362948 w 362948"/>
              <a:gd name="connsiteY45" fmla="*/ 181305 h 362610"/>
              <a:gd name="connsiteX46" fmla="*/ 181474 w 362948"/>
              <a:gd name="connsiteY46" fmla="*/ 0 h 362610"/>
              <a:gd name="connsiteX47" fmla="*/ 0 w 362948"/>
              <a:gd name="connsiteY47" fmla="*/ 181305 h 362610"/>
              <a:gd name="connsiteX48" fmla="*/ 181474 w 362948"/>
              <a:gd name="connsiteY48" fmla="*/ 362610 h 362610"/>
              <a:gd name="connsiteX49" fmla="*/ 181474 w 362948"/>
              <a:gd name="connsiteY49" fmla="*/ 362610 h 362610"/>
              <a:gd name="connsiteX50" fmla="*/ 362948 w 362948"/>
              <a:gd name="connsiteY50" fmla="*/ 181305 h 362610"/>
              <a:gd name="connsiteX51" fmla="*/ 362948 w 362948"/>
              <a:gd name="connsiteY51" fmla="*/ 181305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2948" h="362610">
                <a:moveTo>
                  <a:pt x="154636" y="199180"/>
                </a:moveTo>
                <a:lnTo>
                  <a:pt x="127799" y="116827"/>
                </a:lnTo>
                <a:lnTo>
                  <a:pt x="99683" y="199180"/>
                </a:lnTo>
                <a:lnTo>
                  <a:pt x="154636" y="199180"/>
                </a:lnTo>
                <a:close/>
                <a:moveTo>
                  <a:pt x="286269" y="218332"/>
                </a:moveTo>
                <a:cubicBezTo>
                  <a:pt x="286269" y="218332"/>
                  <a:pt x="286269" y="217694"/>
                  <a:pt x="286269" y="217694"/>
                </a:cubicBezTo>
                <a:lnTo>
                  <a:pt x="286269" y="203649"/>
                </a:lnTo>
                <a:cubicBezTo>
                  <a:pt x="282435" y="203649"/>
                  <a:pt x="274767" y="203011"/>
                  <a:pt x="267738" y="203011"/>
                </a:cubicBezTo>
                <a:cubicBezTo>
                  <a:pt x="263904" y="203011"/>
                  <a:pt x="260709" y="203011"/>
                  <a:pt x="258792" y="203011"/>
                </a:cubicBezTo>
                <a:cubicBezTo>
                  <a:pt x="234511" y="204287"/>
                  <a:pt x="222370" y="213225"/>
                  <a:pt x="221092" y="229185"/>
                </a:cubicBezTo>
                <a:cubicBezTo>
                  <a:pt x="219814" y="252806"/>
                  <a:pt x="237706" y="255359"/>
                  <a:pt x="238984" y="255359"/>
                </a:cubicBezTo>
                <a:cubicBezTo>
                  <a:pt x="254958" y="256636"/>
                  <a:pt x="267099" y="253444"/>
                  <a:pt x="274767" y="245783"/>
                </a:cubicBezTo>
                <a:cubicBezTo>
                  <a:pt x="281796" y="238761"/>
                  <a:pt x="285630" y="229185"/>
                  <a:pt x="285630" y="218971"/>
                </a:cubicBezTo>
                <a:lnTo>
                  <a:pt x="286269" y="218332"/>
                </a:lnTo>
                <a:close/>
                <a:moveTo>
                  <a:pt x="299049" y="264297"/>
                </a:moveTo>
                <a:cubicBezTo>
                  <a:pt x="299049" y="268127"/>
                  <a:pt x="296493" y="270681"/>
                  <a:pt x="292659" y="270681"/>
                </a:cubicBezTo>
                <a:cubicBezTo>
                  <a:pt x="288825" y="270681"/>
                  <a:pt x="286269" y="268127"/>
                  <a:pt x="286269" y="264297"/>
                </a:cubicBezTo>
                <a:lnTo>
                  <a:pt x="286269" y="252806"/>
                </a:lnTo>
                <a:lnTo>
                  <a:pt x="284352" y="254721"/>
                </a:lnTo>
                <a:cubicBezTo>
                  <a:pt x="273489" y="264935"/>
                  <a:pt x="258153" y="269404"/>
                  <a:pt x="238345" y="267489"/>
                </a:cubicBezTo>
                <a:cubicBezTo>
                  <a:pt x="227482" y="266212"/>
                  <a:pt x="207034" y="255998"/>
                  <a:pt x="208951" y="227908"/>
                </a:cubicBezTo>
                <a:cubicBezTo>
                  <a:pt x="209590" y="215140"/>
                  <a:pt x="217258" y="192796"/>
                  <a:pt x="257514" y="190243"/>
                </a:cubicBezTo>
                <a:cubicBezTo>
                  <a:pt x="267099" y="189604"/>
                  <a:pt x="276684" y="190243"/>
                  <a:pt x="285630" y="190243"/>
                </a:cubicBezTo>
                <a:cubicBezTo>
                  <a:pt x="284352" y="168537"/>
                  <a:pt x="272211" y="160876"/>
                  <a:pt x="271572" y="160238"/>
                </a:cubicBezTo>
                <a:lnTo>
                  <a:pt x="270933" y="160238"/>
                </a:lnTo>
                <a:cubicBezTo>
                  <a:pt x="251124" y="146193"/>
                  <a:pt x="219175" y="164068"/>
                  <a:pt x="219175" y="164068"/>
                </a:cubicBezTo>
                <a:cubicBezTo>
                  <a:pt x="215980" y="165984"/>
                  <a:pt x="212146" y="164707"/>
                  <a:pt x="210229" y="161515"/>
                </a:cubicBezTo>
                <a:cubicBezTo>
                  <a:pt x="208312" y="158323"/>
                  <a:pt x="209590" y="154492"/>
                  <a:pt x="212785" y="152577"/>
                </a:cubicBezTo>
                <a:cubicBezTo>
                  <a:pt x="214063" y="151939"/>
                  <a:pt x="251763" y="130233"/>
                  <a:pt x="278601" y="149385"/>
                </a:cubicBezTo>
                <a:cubicBezTo>
                  <a:pt x="281796" y="151300"/>
                  <a:pt x="299049" y="163430"/>
                  <a:pt x="299049" y="192796"/>
                </a:cubicBezTo>
                <a:lnTo>
                  <a:pt x="299049" y="264297"/>
                </a:lnTo>
                <a:close/>
                <a:moveTo>
                  <a:pt x="185308" y="272596"/>
                </a:moveTo>
                <a:cubicBezTo>
                  <a:pt x="184669" y="272596"/>
                  <a:pt x="184030" y="273234"/>
                  <a:pt x="183391" y="272596"/>
                </a:cubicBezTo>
                <a:cubicBezTo>
                  <a:pt x="180835" y="272596"/>
                  <a:pt x="178279" y="270681"/>
                  <a:pt x="177001" y="268127"/>
                </a:cubicBezTo>
                <a:lnTo>
                  <a:pt x="158470" y="210671"/>
                </a:lnTo>
                <a:lnTo>
                  <a:pt x="95210" y="210671"/>
                </a:lnTo>
                <a:lnTo>
                  <a:pt x="76040" y="268127"/>
                </a:lnTo>
                <a:cubicBezTo>
                  <a:pt x="75401" y="271319"/>
                  <a:pt x="71567" y="273873"/>
                  <a:pt x="68372" y="272596"/>
                </a:cubicBezTo>
                <a:cubicBezTo>
                  <a:pt x="65177" y="271958"/>
                  <a:pt x="62621" y="268127"/>
                  <a:pt x="63899" y="264935"/>
                </a:cubicBezTo>
                <a:cubicBezTo>
                  <a:pt x="63899" y="264935"/>
                  <a:pt x="63899" y="264297"/>
                  <a:pt x="63899" y="264297"/>
                </a:cubicBezTo>
                <a:lnTo>
                  <a:pt x="121409" y="93844"/>
                </a:lnTo>
                <a:cubicBezTo>
                  <a:pt x="122048" y="91291"/>
                  <a:pt x="124604" y="89376"/>
                  <a:pt x="127799" y="89376"/>
                </a:cubicBezTo>
                <a:cubicBezTo>
                  <a:pt x="130355" y="89376"/>
                  <a:pt x="132911" y="91291"/>
                  <a:pt x="134189" y="93844"/>
                </a:cubicBezTo>
                <a:lnTo>
                  <a:pt x="189781" y="264297"/>
                </a:lnTo>
                <a:cubicBezTo>
                  <a:pt x="191059" y="268127"/>
                  <a:pt x="189142" y="271958"/>
                  <a:pt x="185308" y="272596"/>
                </a:cubicBezTo>
                <a:moveTo>
                  <a:pt x="362948" y="181305"/>
                </a:moveTo>
                <a:cubicBezTo>
                  <a:pt x="362948" y="81076"/>
                  <a:pt x="281796" y="0"/>
                  <a:pt x="181474" y="0"/>
                </a:cubicBezTo>
                <a:cubicBezTo>
                  <a:pt x="81152" y="0"/>
                  <a:pt x="0" y="81076"/>
                  <a:pt x="0" y="181305"/>
                </a:cubicBezTo>
                <a:cubicBezTo>
                  <a:pt x="0" y="281533"/>
                  <a:pt x="81152" y="362610"/>
                  <a:pt x="181474" y="362610"/>
                </a:cubicBezTo>
                <a:cubicBezTo>
                  <a:pt x="181474" y="362610"/>
                  <a:pt x="181474" y="362610"/>
                  <a:pt x="181474" y="362610"/>
                </a:cubicBezTo>
                <a:cubicBezTo>
                  <a:pt x="281796" y="362610"/>
                  <a:pt x="362948" y="281533"/>
                  <a:pt x="362948" y="181305"/>
                </a:cubicBezTo>
                <a:cubicBezTo>
                  <a:pt x="362948" y="181305"/>
                  <a:pt x="362948" y="181305"/>
                  <a:pt x="362948" y="181305"/>
                </a:cubicBezTo>
              </a:path>
            </a:pathLst>
          </a:custGeom>
          <a:solidFill>
            <a:srgbClr val="6FC2B4"/>
          </a:solidFill>
          <a:ln w="6390" cap="flat">
            <a:noFill/>
            <a:prstDash val="solid"/>
            <a:miter/>
          </a:ln>
        </p:spPr>
        <p:txBody>
          <a:bodyPr rtlCol="0" anchor="ctr"/>
          <a:lstStyle/>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cxnSp>
        <p:nvCxnSpPr>
          <p:cNvPr id="26" name="Straight Arrow Connector 25">
            <a:extLst>
              <a:ext uri="{FF2B5EF4-FFF2-40B4-BE49-F238E27FC236}">
                <a16:creationId xmlns:a16="http://schemas.microsoft.com/office/drawing/2014/main" id="{954DEF09-D859-CDB1-99A5-1DC5DEE52E45}"/>
              </a:ext>
            </a:extLst>
          </p:cNvPr>
          <p:cNvCxnSpPr>
            <a:cxnSpLocks/>
          </p:cNvCxnSpPr>
          <p:nvPr/>
        </p:nvCxnSpPr>
        <p:spPr>
          <a:xfrm>
            <a:off x="2559334" y="2687447"/>
            <a:ext cx="508037" cy="0"/>
          </a:xfrm>
          <a:prstGeom prst="straightConnector1">
            <a:avLst/>
          </a:prstGeom>
          <a:ln w="76200">
            <a:solidFill>
              <a:srgbClr val="DDEFE8"/>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E1166DEB-ACEF-38BF-9C91-DC566E0583CA}"/>
              </a:ext>
            </a:extLst>
          </p:cNvPr>
          <p:cNvCxnSpPr>
            <a:cxnSpLocks/>
          </p:cNvCxnSpPr>
          <p:nvPr/>
        </p:nvCxnSpPr>
        <p:spPr>
          <a:xfrm>
            <a:off x="5840453" y="2687447"/>
            <a:ext cx="508037" cy="0"/>
          </a:xfrm>
          <a:prstGeom prst="straightConnector1">
            <a:avLst/>
          </a:prstGeom>
          <a:ln w="76200">
            <a:solidFill>
              <a:srgbClr val="DDEFE8"/>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C2CAA92-4041-A9D5-171E-71751DF78757}"/>
              </a:ext>
            </a:extLst>
          </p:cNvPr>
          <p:cNvCxnSpPr>
            <a:cxnSpLocks/>
          </p:cNvCxnSpPr>
          <p:nvPr/>
        </p:nvCxnSpPr>
        <p:spPr>
          <a:xfrm>
            <a:off x="8945186" y="2687447"/>
            <a:ext cx="508037" cy="0"/>
          </a:xfrm>
          <a:prstGeom prst="straightConnector1">
            <a:avLst/>
          </a:prstGeom>
          <a:ln w="76200">
            <a:solidFill>
              <a:srgbClr val="DDEFE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19434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A25AA-B572-C75F-4D12-8BF3D6EE778E}"/>
              </a:ext>
            </a:extLst>
          </p:cNvPr>
          <p:cNvSpPr>
            <a:spLocks noGrp="1"/>
          </p:cNvSpPr>
          <p:nvPr>
            <p:ph type="title"/>
          </p:nvPr>
        </p:nvSpPr>
        <p:spPr>
          <a:xfrm>
            <a:off x="238848" y="1485837"/>
            <a:ext cx="6163733" cy="3886327"/>
          </a:xfrm>
        </p:spPr>
        <p:txBody>
          <a:bodyPr>
            <a:normAutofit/>
          </a:bodyPr>
          <a:lstStyle/>
          <a:p>
            <a:r>
              <a:rPr lang="es-MX" sz="3200" b="1">
                <a:solidFill>
                  <a:schemeClr val="bg1"/>
                </a:solidFill>
              </a:rPr>
              <a:t>La Revolución Tecnológica de la IA</a:t>
            </a:r>
            <a:endParaRPr lang="en-US" sz="3200" b="1">
              <a:solidFill>
                <a:schemeClr val="bg1"/>
              </a:solidFill>
            </a:endParaRPr>
          </a:p>
        </p:txBody>
      </p:sp>
      <p:pic>
        <p:nvPicPr>
          <p:cNvPr id="2050" name="Picture 2" descr="Trabajos que hace por ti la inteligencia artificial y que te permitirán  desarrollar tu creatividad | Euronews">
            <a:extLst>
              <a:ext uri="{FF2B5EF4-FFF2-40B4-BE49-F238E27FC236}">
                <a16:creationId xmlns:a16="http://schemas.microsoft.com/office/drawing/2014/main" id="{E37BD7BB-CF60-9733-EC13-08ACC7792B1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9167" r="17639"/>
          <a:stretch/>
        </p:blipFill>
        <p:spPr bwMode="auto">
          <a:xfrm>
            <a:off x="6908800" y="-1"/>
            <a:ext cx="5266267" cy="685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37426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p:cNvGrpSpPr/>
        <p:nvPr/>
      </p:nvGrpSpPr>
      <p:grpSpPr>
        <a:xfrm>
          <a:off x="0" y="0"/>
          <a:ext cx="0" cy="0"/>
          <a:chOff x="0" y="0"/>
          <a:chExt cx="0" cy="0"/>
        </a:xfrm>
      </p:grpSpPr>
      <p:pic>
        <p:nvPicPr>
          <p:cNvPr id="1026" name="Picture 2" descr="Why OpenAI Cofounder Says He's Still Optimistic About Generative AI">
            <a:extLst>
              <a:ext uri="{FF2B5EF4-FFF2-40B4-BE49-F238E27FC236}">
                <a16:creationId xmlns:a16="http://schemas.microsoft.com/office/drawing/2014/main" id="{F7479F26-BC4F-22EC-7B75-8D2E64BF4A79}"/>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9371" r="22893"/>
          <a:stretch/>
        </p:blipFill>
        <p:spPr bwMode="auto">
          <a:xfrm flipH="1">
            <a:off x="6905684" y="0"/>
            <a:ext cx="5279366"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D0AB88A0-17B2-D093-02AF-FF2AA0FA488D}"/>
              </a:ext>
            </a:extLst>
          </p:cNvPr>
          <p:cNvSpPr>
            <a:spLocks noGrp="1"/>
          </p:cNvSpPr>
          <p:nvPr>
            <p:ph idx="4294967295"/>
          </p:nvPr>
        </p:nvSpPr>
        <p:spPr>
          <a:xfrm>
            <a:off x="717550" y="1951072"/>
            <a:ext cx="5279366" cy="3876605"/>
          </a:xfrm>
        </p:spPr>
        <p:txBody>
          <a:bodyPr>
            <a:normAutofit/>
          </a:bodyPr>
          <a:lstStyle/>
          <a:p>
            <a:pPr marL="0" indent="0">
              <a:buNone/>
            </a:pPr>
            <a:r>
              <a:rPr lang="es-MX" sz="2400" i="1">
                <a:solidFill>
                  <a:schemeClr val="bg1"/>
                </a:solidFill>
                <a:latin typeface="+mj-lt"/>
                <a:cs typeface="Gautami" panose="020B0502040204020203" pitchFamily="34" charset="0"/>
              </a:rPr>
              <a:t>“Artificial </a:t>
            </a:r>
            <a:r>
              <a:rPr lang="es-MX" sz="2400" i="1" err="1">
                <a:solidFill>
                  <a:schemeClr val="bg1"/>
                </a:solidFill>
                <a:latin typeface="+mj-lt"/>
                <a:cs typeface="Gautami" panose="020B0502040204020203" pitchFamily="34" charset="0"/>
              </a:rPr>
              <a:t>Intelligence</a:t>
            </a:r>
            <a:r>
              <a:rPr lang="es-MX" sz="2400" i="1">
                <a:solidFill>
                  <a:schemeClr val="bg1"/>
                </a:solidFill>
                <a:latin typeface="+mj-lt"/>
                <a:cs typeface="Gautami" panose="020B0502040204020203" pitchFamily="34" charset="0"/>
              </a:rPr>
              <a:t> </a:t>
            </a:r>
            <a:r>
              <a:rPr lang="es-MX" sz="2400" i="1" err="1">
                <a:solidFill>
                  <a:schemeClr val="bg1"/>
                </a:solidFill>
                <a:latin typeface="+mj-lt"/>
                <a:cs typeface="Gautami" panose="020B0502040204020203" pitchFamily="34" charset="0"/>
              </a:rPr>
              <a:t>is</a:t>
            </a:r>
            <a:r>
              <a:rPr lang="es-MX" sz="2400" i="1">
                <a:solidFill>
                  <a:schemeClr val="bg1"/>
                </a:solidFill>
                <a:latin typeface="+mj-lt"/>
                <a:cs typeface="Gautami" panose="020B0502040204020203" pitchFamily="34" charset="0"/>
              </a:rPr>
              <a:t> </a:t>
            </a:r>
            <a:r>
              <a:rPr lang="es-MX" sz="2400" i="1" err="1">
                <a:solidFill>
                  <a:schemeClr val="bg1"/>
                </a:solidFill>
                <a:latin typeface="+mj-lt"/>
                <a:cs typeface="Gautami" panose="020B0502040204020203" pitchFamily="34" charset="0"/>
              </a:rPr>
              <a:t>the</a:t>
            </a:r>
            <a:r>
              <a:rPr lang="es-MX" sz="2400" i="1">
                <a:solidFill>
                  <a:schemeClr val="bg1"/>
                </a:solidFill>
                <a:latin typeface="+mj-lt"/>
                <a:cs typeface="Gautami" panose="020B0502040204020203" pitchFamily="34" charset="0"/>
              </a:rPr>
              <a:t> future, and </a:t>
            </a:r>
            <a:r>
              <a:rPr lang="es-MX" sz="2400" i="1" err="1">
                <a:solidFill>
                  <a:schemeClr val="bg1"/>
                </a:solidFill>
                <a:latin typeface="+mj-lt"/>
                <a:cs typeface="Gautami" panose="020B0502040204020203" pitchFamily="34" charset="0"/>
              </a:rPr>
              <a:t>we</a:t>
            </a:r>
            <a:r>
              <a:rPr lang="es-MX" sz="2400" i="1">
                <a:solidFill>
                  <a:schemeClr val="bg1"/>
                </a:solidFill>
                <a:latin typeface="+mj-lt"/>
                <a:cs typeface="Gautami" panose="020B0502040204020203" pitchFamily="34" charset="0"/>
              </a:rPr>
              <a:t> </a:t>
            </a:r>
            <a:r>
              <a:rPr lang="es-MX" sz="2400" i="1" err="1">
                <a:solidFill>
                  <a:schemeClr val="bg1"/>
                </a:solidFill>
                <a:latin typeface="+mj-lt"/>
                <a:cs typeface="Gautami" panose="020B0502040204020203" pitchFamily="34" charset="0"/>
              </a:rPr>
              <a:t>need</a:t>
            </a:r>
            <a:r>
              <a:rPr lang="es-MX" sz="2400" i="1">
                <a:solidFill>
                  <a:schemeClr val="bg1"/>
                </a:solidFill>
                <a:latin typeface="+mj-lt"/>
                <a:cs typeface="Gautami" panose="020B0502040204020203" pitchFamily="34" charset="0"/>
              </a:rPr>
              <a:t> </a:t>
            </a:r>
            <a:r>
              <a:rPr lang="es-MX" sz="2400" i="1" err="1">
                <a:solidFill>
                  <a:schemeClr val="bg1"/>
                </a:solidFill>
                <a:latin typeface="+mj-lt"/>
                <a:cs typeface="Gautami" panose="020B0502040204020203" pitchFamily="34" charset="0"/>
              </a:rPr>
              <a:t>to</a:t>
            </a:r>
            <a:r>
              <a:rPr lang="es-MX" sz="2400" i="1">
                <a:solidFill>
                  <a:schemeClr val="bg1"/>
                </a:solidFill>
                <a:latin typeface="+mj-lt"/>
                <a:cs typeface="Gautami" panose="020B0502040204020203" pitchFamily="34" charset="0"/>
              </a:rPr>
              <a:t> </a:t>
            </a:r>
            <a:r>
              <a:rPr lang="es-MX" sz="2400" i="1" err="1">
                <a:solidFill>
                  <a:schemeClr val="bg1"/>
                </a:solidFill>
                <a:latin typeface="+mj-lt"/>
                <a:cs typeface="Gautami" panose="020B0502040204020203" pitchFamily="34" charset="0"/>
              </a:rPr>
              <a:t>make</a:t>
            </a:r>
            <a:r>
              <a:rPr lang="es-MX" sz="2400" i="1">
                <a:solidFill>
                  <a:schemeClr val="bg1"/>
                </a:solidFill>
                <a:latin typeface="+mj-lt"/>
                <a:cs typeface="Gautami" panose="020B0502040204020203" pitchFamily="34" charset="0"/>
              </a:rPr>
              <a:t> </a:t>
            </a:r>
            <a:r>
              <a:rPr lang="es-MX" sz="2400" i="1" err="1">
                <a:solidFill>
                  <a:schemeClr val="bg1"/>
                </a:solidFill>
                <a:latin typeface="+mj-lt"/>
                <a:cs typeface="Gautami" panose="020B0502040204020203" pitchFamily="34" charset="0"/>
              </a:rPr>
              <a:t>sure</a:t>
            </a:r>
            <a:r>
              <a:rPr lang="es-MX" sz="2400" i="1">
                <a:solidFill>
                  <a:schemeClr val="bg1"/>
                </a:solidFill>
                <a:latin typeface="+mj-lt"/>
                <a:cs typeface="Gautami" panose="020B0502040204020203" pitchFamily="34" charset="0"/>
              </a:rPr>
              <a:t> </a:t>
            </a:r>
            <a:r>
              <a:rPr lang="es-MX" sz="2400" i="1" err="1">
                <a:solidFill>
                  <a:schemeClr val="bg1"/>
                </a:solidFill>
                <a:latin typeface="+mj-lt"/>
                <a:cs typeface="Gautami" panose="020B0502040204020203" pitchFamily="34" charset="0"/>
              </a:rPr>
              <a:t>we</a:t>
            </a:r>
            <a:r>
              <a:rPr lang="es-MX" sz="2400" i="1">
                <a:solidFill>
                  <a:schemeClr val="bg1"/>
                </a:solidFill>
                <a:latin typeface="+mj-lt"/>
                <a:cs typeface="Gautami" panose="020B0502040204020203" pitchFamily="34" charset="0"/>
              </a:rPr>
              <a:t> are”</a:t>
            </a:r>
          </a:p>
          <a:p>
            <a:pPr marL="0" indent="0">
              <a:buNone/>
            </a:pPr>
            <a:endParaRPr lang="es-MX" sz="2400" i="1">
              <a:solidFill>
                <a:schemeClr val="bg1"/>
              </a:solidFill>
              <a:latin typeface="+mj-lt"/>
              <a:cs typeface="Gautami" panose="020B0502040204020203" pitchFamily="34" charset="0"/>
            </a:endParaRPr>
          </a:p>
          <a:p>
            <a:pPr marL="0" indent="0">
              <a:buNone/>
            </a:pPr>
            <a:r>
              <a:rPr lang="es-MX" sz="2400" i="1">
                <a:solidFill>
                  <a:schemeClr val="bg1"/>
                </a:solidFill>
                <a:latin typeface="+mj-lt"/>
                <a:cs typeface="Gautami" panose="020B0502040204020203" pitchFamily="34" charset="0"/>
              </a:rPr>
              <a:t>“La inteligencia artificial es el futuro, y debemos asegurarnos de que estemos en el”</a:t>
            </a:r>
          </a:p>
          <a:p>
            <a:pPr marL="0" indent="0">
              <a:buNone/>
            </a:pPr>
            <a:endParaRPr lang="es-MX" sz="2667" i="1">
              <a:solidFill>
                <a:schemeClr val="bg1"/>
              </a:solidFill>
              <a:latin typeface="+mj-lt"/>
              <a:cs typeface="Gautami" panose="020B0502040204020203" pitchFamily="34" charset="0"/>
            </a:endParaRPr>
          </a:p>
          <a:p>
            <a:pPr marL="0" indent="0" algn="r">
              <a:buNone/>
            </a:pPr>
            <a:r>
              <a:rPr lang="es-MX" sz="1867" i="1">
                <a:solidFill>
                  <a:schemeClr val="bg1"/>
                </a:solidFill>
                <a:latin typeface="+mj-lt"/>
                <a:cs typeface="Gautami" panose="020B0502040204020203" pitchFamily="34" charset="0"/>
              </a:rPr>
              <a:t>Greg Brockman. </a:t>
            </a:r>
          </a:p>
          <a:p>
            <a:pPr marL="0" indent="0" algn="r">
              <a:buNone/>
            </a:pPr>
            <a:r>
              <a:rPr lang="es-MX" sz="1867" i="1" err="1">
                <a:solidFill>
                  <a:schemeClr val="bg1"/>
                </a:solidFill>
                <a:latin typeface="+mj-lt"/>
                <a:cs typeface="Gautami" panose="020B0502040204020203" pitchFamily="34" charset="0"/>
              </a:rPr>
              <a:t>Co-founder</a:t>
            </a:r>
            <a:r>
              <a:rPr lang="es-MX" sz="1867" i="1">
                <a:solidFill>
                  <a:schemeClr val="bg1"/>
                </a:solidFill>
                <a:latin typeface="+mj-lt"/>
                <a:cs typeface="Gautami" panose="020B0502040204020203" pitchFamily="34" charset="0"/>
              </a:rPr>
              <a:t> </a:t>
            </a:r>
            <a:r>
              <a:rPr lang="es-MX" sz="1867" i="1" err="1">
                <a:solidFill>
                  <a:schemeClr val="bg1"/>
                </a:solidFill>
                <a:latin typeface="+mj-lt"/>
                <a:cs typeface="Gautami" panose="020B0502040204020203" pitchFamily="34" charset="0"/>
              </a:rPr>
              <a:t>of</a:t>
            </a:r>
            <a:r>
              <a:rPr lang="es-MX" sz="1867" i="1">
                <a:solidFill>
                  <a:schemeClr val="bg1"/>
                </a:solidFill>
                <a:latin typeface="+mj-lt"/>
                <a:cs typeface="Gautami" panose="020B0502040204020203" pitchFamily="34" charset="0"/>
              </a:rPr>
              <a:t> </a:t>
            </a:r>
            <a:r>
              <a:rPr lang="es-MX" sz="1867" i="1" err="1">
                <a:solidFill>
                  <a:schemeClr val="bg1"/>
                </a:solidFill>
                <a:latin typeface="+mj-lt"/>
                <a:cs typeface="Gautami" panose="020B0502040204020203" pitchFamily="34" charset="0"/>
              </a:rPr>
              <a:t>OpenAI</a:t>
            </a:r>
            <a:endParaRPr lang="es-MX" sz="1867" i="1">
              <a:solidFill>
                <a:schemeClr val="bg1"/>
              </a:solidFill>
              <a:latin typeface="+mj-lt"/>
              <a:cs typeface="Gautami" panose="020B0502040204020203" pitchFamily="34" charset="0"/>
            </a:endParaRPr>
          </a:p>
          <a:p>
            <a:pPr marL="0" indent="0">
              <a:buNone/>
            </a:pPr>
            <a:endParaRPr lang="es-MX" sz="2667" i="1">
              <a:solidFill>
                <a:srgbClr val="CCFF33"/>
              </a:solidFill>
              <a:latin typeface="+mj-lt"/>
              <a:cs typeface="Gautami" panose="020B0502040204020203" pitchFamily="34" charset="0"/>
            </a:endParaRPr>
          </a:p>
        </p:txBody>
      </p:sp>
    </p:spTree>
    <p:extLst>
      <p:ext uri="{BB962C8B-B14F-4D97-AF65-F5344CB8AC3E}">
        <p14:creationId xmlns:p14="http://schemas.microsoft.com/office/powerpoint/2010/main" val="16107281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useBgFill="1">
        <p:nvSpPr>
          <p:cNvPr id="10" name="Rectangle 9" descr="&quot;&quot;">
            <a:extLst>
              <a:ext uri="{FF2B5EF4-FFF2-40B4-BE49-F238E27FC236}">
                <a16:creationId xmlns:a16="http://schemas.microsoft.com/office/drawing/2014/main" id="{F093B491-3164-3521-9221-0B27335EBE87}"/>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D88BB4D1-FC06-B675-3AAA-833D67E84140}"/>
              </a:ext>
            </a:extLst>
          </p:cNvPr>
          <p:cNvSpPr>
            <a:spLocks noGrp="1" noRot="1" noChangeAspect="1" noMove="1" noResize="1" noEditPoints="1" noAdjustHandles="1" noChangeArrowheads="1" noChangeShapeType="1" noTextEdit="1"/>
          </p:cNvSpPr>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384" name="Title 1">
            <a:extLst>
              <a:ext uri="{FF2B5EF4-FFF2-40B4-BE49-F238E27FC236}">
                <a16:creationId xmlns:a16="http://schemas.microsoft.com/office/drawing/2014/main" id="{7B746431-8F64-9326-C315-83DA590AB400}"/>
              </a:ext>
            </a:extLst>
          </p:cNvPr>
          <p:cNvSpPr>
            <a:spLocks noGrp="1" noChangeArrowheads="1"/>
          </p:cNvSpPr>
          <p:nvPr>
            <p:ph type="title"/>
          </p:nvPr>
        </p:nvSpPr>
        <p:spPr>
          <a:xfrm>
            <a:off x="477838" y="1122363"/>
            <a:ext cx="5659437" cy="3203575"/>
          </a:xfrm>
        </p:spPr>
        <p:txBody>
          <a:bodyPr anchor="b"/>
          <a:lstStyle/>
          <a:p>
            <a:pPr eaLnBrk="1" hangingPunct="1"/>
            <a:r>
              <a:rPr lang="es-MX" altLang="en-US" sz="4800"/>
              <a:t>Bienvenidos FY24</a:t>
            </a:r>
          </a:p>
        </p:txBody>
      </p:sp>
      <p:sp>
        <p:nvSpPr>
          <p:cNvPr id="14" name="Rectangle 13" descr="&quot;&quot;">
            <a:extLst>
              <a:ext uri="{FF2B5EF4-FFF2-40B4-BE49-F238E27FC236}">
                <a16:creationId xmlns:a16="http://schemas.microsoft.com/office/drawing/2014/main" id="{33FD6F14-B086-9744-D534-0857B1C00640}"/>
              </a:ext>
            </a:extLst>
          </p:cNvPr>
          <p:cNvSpPr>
            <a:spLocks noGrp="1" noRot="1" noChangeAspect="1" noMove="1" noResize="1" noEditPoints="1" noAdjustHandles="1" noChangeArrowheads="1" noChangeShapeType="1" noTextEdit="1"/>
          </p:cNvSpPr>
          <p:nvPr/>
        </p:nvSpPr>
        <p:spPr>
          <a:xfrm rot="5400000">
            <a:off x="760413" y="346075"/>
            <a:ext cx="146050" cy="704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descr="&quot;&quot;">
            <a:extLst>
              <a:ext uri="{FF2B5EF4-FFF2-40B4-BE49-F238E27FC236}">
                <a16:creationId xmlns:a16="http://schemas.microsoft.com/office/drawing/2014/main" id="{1EE954DA-C39C-8D7A-8DA5-4C3D3FCC5C6D}"/>
              </a:ext>
            </a:extLst>
          </p:cNvPr>
          <p:cNvSpPr>
            <a:spLocks noGrp="1" noRot="1" noChangeAspect="1" noMove="1" noResize="1" noEditPoints="1" noAdjustHandles="1" noChangeArrowheads="1" noChangeShapeType="1" noTextEdit="1"/>
          </p:cNvSpPr>
          <p:nvPr/>
        </p:nvSpPr>
        <p:spPr>
          <a:xfrm>
            <a:off x="481013" y="4546600"/>
            <a:ext cx="3978275" cy="19050"/>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62A06DD6-F70A-FB7C-2474-D76ED7C8775B}"/>
              </a:ext>
            </a:extLst>
          </p:cNvPr>
          <p:cNvSpPr/>
          <p:nvPr/>
        </p:nvSpPr>
        <p:spPr>
          <a:xfrm>
            <a:off x="392113" y="531813"/>
            <a:ext cx="882650" cy="404812"/>
          </a:xfrm>
          <a:prstGeom prst="ellipse">
            <a:avLst/>
          </a:prstGeom>
        </p:spPr>
        <p:style>
          <a:lnRef idx="2">
            <a:schemeClr val="dk1">
              <a:shade val="50000"/>
            </a:schemeClr>
          </a:lnRef>
          <a:fillRef idx="1">
            <a:schemeClr val="dk1"/>
          </a:fillRef>
          <a:effectRef idx="0">
            <a:schemeClr val="dk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CFFE52E3-161C-3A25-A7FF-EC28E3F151B0}"/>
              </a:ext>
            </a:extLst>
          </p:cNvPr>
          <p:cNvSpPr/>
          <p:nvPr/>
        </p:nvSpPr>
        <p:spPr>
          <a:xfrm>
            <a:off x="5913163" y="705778"/>
            <a:ext cx="5310164" cy="511897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handshake in front of a city&#10;&#10;Description automatically generated">
            <a:extLst>
              <a:ext uri="{FF2B5EF4-FFF2-40B4-BE49-F238E27FC236}">
                <a16:creationId xmlns:a16="http://schemas.microsoft.com/office/drawing/2014/main" id="{329486F4-8288-AA7E-3384-ABEF63DF5883}"/>
              </a:ext>
            </a:extLst>
          </p:cNvPr>
          <p:cNvPicPr>
            <a:picLocks noChangeAspect="1"/>
          </p:cNvPicPr>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2500" r="12500"/>
          <a:stretch/>
        </p:blipFill>
        <p:spPr>
          <a:xfrm>
            <a:off x="6076750" y="809024"/>
            <a:ext cx="5021552" cy="4907363"/>
          </a:xfrm>
          <a:prstGeom prst="ellipse">
            <a:avLst/>
          </a:prstGeom>
        </p:spPr>
      </p:pic>
    </p:spTree>
    <p:extLst>
      <p:ext uri="{BB962C8B-B14F-4D97-AF65-F5344CB8AC3E}">
        <p14:creationId xmlns:p14="http://schemas.microsoft.com/office/powerpoint/2010/main" val="4252919442"/>
      </p:ext>
    </p:extLst>
  </p:cSld>
  <p:clrMapOvr>
    <a:overrideClrMapping bg1="dk1" tx1="lt1" bg2="dk2" tx2="lt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74BFDBC-64D9-A7A6-EFC6-CA2CC621F7E9}"/>
              </a:ext>
            </a:extLst>
          </p:cNvPr>
          <p:cNvGrpSpPr/>
          <p:nvPr/>
        </p:nvGrpSpPr>
        <p:grpSpPr>
          <a:xfrm>
            <a:off x="0" y="1131032"/>
            <a:ext cx="2274636" cy="2169589"/>
            <a:chOff x="0" y="1131032"/>
            <a:chExt cx="2274636" cy="2169589"/>
          </a:xfrm>
        </p:grpSpPr>
        <p:sp>
          <p:nvSpPr>
            <p:cNvPr id="4098" name="TextBox 1">
              <a:extLst>
                <a:ext uri="{FF2B5EF4-FFF2-40B4-BE49-F238E27FC236}">
                  <a16:creationId xmlns:a16="http://schemas.microsoft.com/office/drawing/2014/main" id="{397F6F15-BB3C-2884-9CF4-91BE99E38BEB}"/>
                </a:ext>
              </a:extLst>
            </p:cNvPr>
            <p:cNvSpPr txBox="1">
              <a:spLocks noChangeArrowheads="1"/>
            </p:cNvSpPr>
            <p:nvPr/>
          </p:nvSpPr>
          <p:spPr bwMode="auto">
            <a:xfrm>
              <a:off x="0" y="2623513"/>
              <a:ext cx="2274636"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oemí Díaz</a:t>
              </a:r>
              <a:endParaRPr kumimoji="0" lang="es-MX" altLang="en-US"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Aplicaciones de Negocio</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éxico</a:t>
              </a:r>
            </a:p>
          </p:txBody>
        </p:sp>
        <p:pic>
          <p:nvPicPr>
            <p:cNvPr id="4099" name="Picture 2">
              <a:extLst>
                <a:ext uri="{FF2B5EF4-FFF2-40B4-BE49-F238E27FC236}">
                  <a16:creationId xmlns:a16="http://schemas.microsoft.com/office/drawing/2014/main" id="{3B8E97C6-75ED-6340-3B23-3DBDBA3BF9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6826" y="1131032"/>
              <a:ext cx="1440000"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a:extLst>
              <a:ext uri="{FF2B5EF4-FFF2-40B4-BE49-F238E27FC236}">
                <a16:creationId xmlns:a16="http://schemas.microsoft.com/office/drawing/2014/main" id="{7C1F1879-81F5-FF96-78E2-29B489436731}"/>
              </a:ext>
            </a:extLst>
          </p:cNvPr>
          <p:cNvGrpSpPr/>
          <p:nvPr/>
        </p:nvGrpSpPr>
        <p:grpSpPr>
          <a:xfrm>
            <a:off x="1994290" y="1124681"/>
            <a:ext cx="2117725" cy="2175940"/>
            <a:chOff x="1922233" y="1124681"/>
            <a:chExt cx="2117725" cy="2175940"/>
          </a:xfrm>
        </p:grpSpPr>
        <p:pic>
          <p:nvPicPr>
            <p:cNvPr id="4100" name="Picture 3" descr="A person with long hair&#10;&#10;Description automatically generated">
              <a:extLst>
                <a:ext uri="{FF2B5EF4-FFF2-40B4-BE49-F238E27FC236}">
                  <a16:creationId xmlns:a16="http://schemas.microsoft.com/office/drawing/2014/main" id="{68856D23-C2CB-B583-1130-D0B55C25A3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142" t="16154" r="9625" b="19847"/>
            <a:stretch>
              <a:fillRect/>
            </a:stretch>
          </p:blipFill>
          <p:spPr bwMode="auto">
            <a:xfrm>
              <a:off x="2369680" y="1124681"/>
              <a:ext cx="1421538"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 name="TextBox 4">
              <a:extLst>
                <a:ext uri="{FF2B5EF4-FFF2-40B4-BE49-F238E27FC236}">
                  <a16:creationId xmlns:a16="http://schemas.microsoft.com/office/drawing/2014/main" id="{4D85E3BD-D0AB-5A52-C3A8-5695A4DB0922}"/>
                </a:ext>
              </a:extLst>
            </p:cNvPr>
            <p:cNvSpPr txBox="1">
              <a:spLocks noChangeArrowheads="1"/>
            </p:cNvSpPr>
            <p:nvPr/>
          </p:nvSpPr>
          <p:spPr bwMode="auto">
            <a:xfrm>
              <a:off x="1922233" y="2623513"/>
              <a:ext cx="2117725"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Valeria Franco</a:t>
              </a:r>
              <a:endParaRPr kumimoji="0" lang="es-MX" altLang="en-US"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Implementación</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éxico</a:t>
              </a:r>
            </a:p>
          </p:txBody>
        </p:sp>
      </p:grpSp>
      <p:grpSp>
        <p:nvGrpSpPr>
          <p:cNvPr id="7" name="Group 6">
            <a:extLst>
              <a:ext uri="{FF2B5EF4-FFF2-40B4-BE49-F238E27FC236}">
                <a16:creationId xmlns:a16="http://schemas.microsoft.com/office/drawing/2014/main" id="{511B7DFA-D5B1-E80E-9E2B-46310C87C537}"/>
              </a:ext>
            </a:extLst>
          </p:cNvPr>
          <p:cNvGrpSpPr/>
          <p:nvPr/>
        </p:nvGrpSpPr>
        <p:grpSpPr>
          <a:xfrm>
            <a:off x="4038494" y="1131032"/>
            <a:ext cx="2016125" cy="2169589"/>
            <a:chOff x="4066263" y="1131032"/>
            <a:chExt cx="2016125" cy="2169589"/>
          </a:xfrm>
        </p:grpSpPr>
        <p:pic>
          <p:nvPicPr>
            <p:cNvPr id="4102" name="Picture 5" descr="A person wearing glasses and a blue sweater&#10;&#10;Description automatically generated">
              <a:extLst>
                <a:ext uri="{FF2B5EF4-FFF2-40B4-BE49-F238E27FC236}">
                  <a16:creationId xmlns:a16="http://schemas.microsoft.com/office/drawing/2014/main" id="{ADEE3BC7-3907-3BEB-93A6-691EDD543C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81" t="7248" b="5679"/>
            <a:stretch>
              <a:fillRect/>
            </a:stretch>
          </p:blipFill>
          <p:spPr bwMode="auto">
            <a:xfrm>
              <a:off x="4383535" y="1131032"/>
              <a:ext cx="1393679"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3" name="TextBox 6">
              <a:extLst>
                <a:ext uri="{FF2B5EF4-FFF2-40B4-BE49-F238E27FC236}">
                  <a16:creationId xmlns:a16="http://schemas.microsoft.com/office/drawing/2014/main" id="{9D0F3EBB-0E44-5966-8425-BDD0F4CBEA9B}"/>
                </a:ext>
              </a:extLst>
            </p:cNvPr>
            <p:cNvSpPr txBox="1">
              <a:spLocks noChangeArrowheads="1"/>
            </p:cNvSpPr>
            <p:nvPr/>
          </p:nvSpPr>
          <p:spPr bwMode="auto">
            <a:xfrm>
              <a:off x="4066263" y="2623513"/>
              <a:ext cx="2016125"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dgar Soriano</a:t>
              </a:r>
              <a:endParaRPr kumimoji="0" lang="es-MX" altLang="en-US"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Infraestructura</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éxico</a:t>
              </a:r>
            </a:p>
          </p:txBody>
        </p:sp>
      </p:grpSp>
      <p:grpSp>
        <p:nvGrpSpPr>
          <p:cNvPr id="6" name="Group 5">
            <a:extLst>
              <a:ext uri="{FF2B5EF4-FFF2-40B4-BE49-F238E27FC236}">
                <a16:creationId xmlns:a16="http://schemas.microsoft.com/office/drawing/2014/main" id="{3C82F525-7F17-39EA-2363-E4B78C7EB588}"/>
              </a:ext>
            </a:extLst>
          </p:cNvPr>
          <p:cNvGrpSpPr/>
          <p:nvPr/>
        </p:nvGrpSpPr>
        <p:grpSpPr>
          <a:xfrm>
            <a:off x="6057299" y="1131696"/>
            <a:ext cx="1955800" cy="2170571"/>
            <a:chOff x="6155642" y="1131696"/>
            <a:chExt cx="1955800" cy="2170571"/>
          </a:xfrm>
        </p:grpSpPr>
        <p:pic>
          <p:nvPicPr>
            <p:cNvPr id="4122" name="Picture 8" descr="A person wearing glasses and a suit&#10;&#10;Description automatically generated">
              <a:extLst>
                <a:ext uri="{FF2B5EF4-FFF2-40B4-BE49-F238E27FC236}">
                  <a16:creationId xmlns:a16="http://schemas.microsoft.com/office/drawing/2014/main" id="{5234A2B5-98E7-179A-755A-177343A309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r="8203"/>
            <a:stretch>
              <a:fillRect/>
            </a:stretch>
          </p:blipFill>
          <p:spPr bwMode="auto">
            <a:xfrm>
              <a:off x="6401546" y="1131696"/>
              <a:ext cx="1363835"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23" name="TextBox 9">
              <a:extLst>
                <a:ext uri="{FF2B5EF4-FFF2-40B4-BE49-F238E27FC236}">
                  <a16:creationId xmlns:a16="http://schemas.microsoft.com/office/drawing/2014/main" id="{D94202D2-D425-D3F5-1334-27995C3257C3}"/>
                </a:ext>
              </a:extLst>
            </p:cNvPr>
            <p:cNvSpPr txBox="1">
              <a:spLocks noChangeArrowheads="1"/>
            </p:cNvSpPr>
            <p:nvPr/>
          </p:nvSpPr>
          <p:spPr bwMode="auto">
            <a:xfrm>
              <a:off x="6155642" y="2655936"/>
              <a:ext cx="19558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arush Caselin</a:t>
              </a:r>
              <a:endParaRPr kumimoji="0" lang="es-MX" altLang="en-US"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1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Arquitectura</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1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éxico</a:t>
              </a:r>
            </a:p>
          </p:txBody>
        </p:sp>
      </p:grpSp>
      <p:grpSp>
        <p:nvGrpSpPr>
          <p:cNvPr id="5" name="Group 4">
            <a:extLst>
              <a:ext uri="{FF2B5EF4-FFF2-40B4-BE49-F238E27FC236}">
                <a16:creationId xmlns:a16="http://schemas.microsoft.com/office/drawing/2014/main" id="{342ED1C7-5AA7-29C8-946B-C10265AE2442}"/>
              </a:ext>
            </a:extLst>
          </p:cNvPr>
          <p:cNvGrpSpPr/>
          <p:nvPr/>
        </p:nvGrpSpPr>
        <p:grpSpPr>
          <a:xfrm>
            <a:off x="7721866" y="1134930"/>
            <a:ext cx="2411413" cy="2158477"/>
            <a:chOff x="8015058" y="1134930"/>
            <a:chExt cx="2411413" cy="2158477"/>
          </a:xfrm>
        </p:grpSpPr>
        <p:sp>
          <p:nvSpPr>
            <p:cNvPr id="4105" name="TextBox 10">
              <a:extLst>
                <a:ext uri="{FF2B5EF4-FFF2-40B4-BE49-F238E27FC236}">
                  <a16:creationId xmlns:a16="http://schemas.microsoft.com/office/drawing/2014/main" id="{87AA606C-2BC7-29B2-FF4B-68B302952F89}"/>
                </a:ext>
              </a:extLst>
            </p:cNvPr>
            <p:cNvSpPr txBox="1">
              <a:spLocks noChangeArrowheads="1"/>
            </p:cNvSpPr>
            <p:nvPr/>
          </p:nvSpPr>
          <p:spPr bwMode="auto">
            <a:xfrm>
              <a:off x="8015058" y="2616299"/>
              <a:ext cx="241141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ustavo Ávila</a:t>
              </a:r>
              <a:endParaRPr kumimoji="0" lang="es-MX" altLang="en-US"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Aplicaciones de Gestión</a:t>
              </a:r>
              <a:endParaRPr kumimoji="0" lang="es-MX" altLang="en-US" sz="14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éxico</a:t>
              </a:r>
            </a:p>
          </p:txBody>
        </p:sp>
        <p:pic>
          <p:nvPicPr>
            <p:cNvPr id="4106" name="Picture 11">
              <a:extLst>
                <a:ext uri="{FF2B5EF4-FFF2-40B4-BE49-F238E27FC236}">
                  <a16:creationId xmlns:a16="http://schemas.microsoft.com/office/drawing/2014/main" id="{63046419-7324-7D54-9995-4F6DE69D9B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09223" y="1134930"/>
              <a:ext cx="1442080"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 name="Group 3">
            <a:extLst>
              <a:ext uri="{FF2B5EF4-FFF2-40B4-BE49-F238E27FC236}">
                <a16:creationId xmlns:a16="http://schemas.microsoft.com/office/drawing/2014/main" id="{F2A5088D-B4EA-BB22-8118-5AE35B5175A8}"/>
              </a:ext>
            </a:extLst>
          </p:cNvPr>
          <p:cNvGrpSpPr/>
          <p:nvPr/>
        </p:nvGrpSpPr>
        <p:grpSpPr>
          <a:xfrm>
            <a:off x="9972672" y="1127672"/>
            <a:ext cx="1841500" cy="2164827"/>
            <a:chOff x="9972672" y="1127672"/>
            <a:chExt cx="1841500" cy="2164827"/>
          </a:xfrm>
        </p:grpSpPr>
        <p:sp>
          <p:nvSpPr>
            <p:cNvPr id="4107" name="TextBox 12">
              <a:extLst>
                <a:ext uri="{FF2B5EF4-FFF2-40B4-BE49-F238E27FC236}">
                  <a16:creationId xmlns:a16="http://schemas.microsoft.com/office/drawing/2014/main" id="{C77342FF-EE00-EA95-EDDC-2D8786789589}"/>
                </a:ext>
              </a:extLst>
            </p:cNvPr>
            <p:cNvSpPr txBox="1">
              <a:spLocks noChangeArrowheads="1"/>
            </p:cNvSpPr>
            <p:nvPr/>
          </p:nvSpPr>
          <p:spPr bwMode="auto">
            <a:xfrm>
              <a:off x="9972672" y="2615391"/>
              <a:ext cx="18415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tías Cimmino</a:t>
              </a:r>
              <a:endParaRPr kumimoji="0" lang="es-MX" altLang="en-US"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Operaciones</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rgentina</a:t>
              </a:r>
            </a:p>
          </p:txBody>
        </p:sp>
        <p:pic>
          <p:nvPicPr>
            <p:cNvPr id="4108" name="Picture 13">
              <a:extLst>
                <a:ext uri="{FF2B5EF4-FFF2-40B4-BE49-F238E27FC236}">
                  <a16:creationId xmlns:a16="http://schemas.microsoft.com/office/drawing/2014/main" id="{B42DF7DC-7801-7E0F-E42B-6115EC4899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9295" y="1127672"/>
              <a:ext cx="1549027"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a:extLst>
              <a:ext uri="{FF2B5EF4-FFF2-40B4-BE49-F238E27FC236}">
                <a16:creationId xmlns:a16="http://schemas.microsoft.com/office/drawing/2014/main" id="{7A1E56CC-1F0D-F390-AE28-7A05C2F2EEAC}"/>
              </a:ext>
            </a:extLst>
          </p:cNvPr>
          <p:cNvGrpSpPr/>
          <p:nvPr/>
        </p:nvGrpSpPr>
        <p:grpSpPr>
          <a:xfrm>
            <a:off x="1125213" y="3596001"/>
            <a:ext cx="2211388" cy="2349574"/>
            <a:chOff x="646239" y="3596001"/>
            <a:chExt cx="2211388" cy="2349574"/>
          </a:xfrm>
        </p:grpSpPr>
        <p:sp>
          <p:nvSpPr>
            <p:cNvPr id="4120" name="TextBox 15">
              <a:extLst>
                <a:ext uri="{FF2B5EF4-FFF2-40B4-BE49-F238E27FC236}">
                  <a16:creationId xmlns:a16="http://schemas.microsoft.com/office/drawing/2014/main" id="{93EC8509-C619-53F1-486F-B9BDABCCE7D9}"/>
                </a:ext>
              </a:extLst>
            </p:cNvPr>
            <p:cNvSpPr txBox="1">
              <a:spLocks noChangeArrowheads="1"/>
            </p:cNvSpPr>
            <p:nvPr/>
          </p:nvSpPr>
          <p:spPr bwMode="auto">
            <a:xfrm>
              <a:off x="646239" y="5268467"/>
              <a:ext cx="2211388"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acundo Gordillo</a:t>
              </a:r>
              <a:endParaRPr kumimoji="0" lang="es-MX" altLang="en-US"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Servicio</a:t>
              </a:r>
              <a:endParaRPr kumimoji="0" lang="es-MX" altLang="en-US" sz="14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rgentina</a:t>
              </a:r>
            </a:p>
          </p:txBody>
        </p:sp>
        <p:pic>
          <p:nvPicPr>
            <p:cNvPr id="4121" name="Picture 16" descr="A person smiling for a selfie&#10;&#10;Description automatically generated">
              <a:extLst>
                <a:ext uri="{FF2B5EF4-FFF2-40B4-BE49-F238E27FC236}">
                  <a16:creationId xmlns:a16="http://schemas.microsoft.com/office/drawing/2014/main" id="{E6F85F63-939C-377C-3EE8-4CCB9F72168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8597" r="7474"/>
            <a:stretch>
              <a:fillRect/>
            </a:stretch>
          </p:blipFill>
          <p:spPr bwMode="auto">
            <a:xfrm>
              <a:off x="1053746" y="3596001"/>
              <a:ext cx="1368599"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10">
            <a:extLst>
              <a:ext uri="{FF2B5EF4-FFF2-40B4-BE49-F238E27FC236}">
                <a16:creationId xmlns:a16="http://schemas.microsoft.com/office/drawing/2014/main" id="{83D9B2A6-969C-5FFC-BCC3-E77589019008}"/>
              </a:ext>
            </a:extLst>
          </p:cNvPr>
          <p:cNvGrpSpPr/>
          <p:nvPr/>
        </p:nvGrpSpPr>
        <p:grpSpPr>
          <a:xfrm>
            <a:off x="2777481" y="3608387"/>
            <a:ext cx="2540000" cy="2354603"/>
            <a:chOff x="2739342" y="3608387"/>
            <a:chExt cx="2540000" cy="2354603"/>
          </a:xfrm>
        </p:grpSpPr>
        <p:sp>
          <p:nvSpPr>
            <p:cNvPr id="4118" name="TextBox 18">
              <a:extLst>
                <a:ext uri="{FF2B5EF4-FFF2-40B4-BE49-F238E27FC236}">
                  <a16:creationId xmlns:a16="http://schemas.microsoft.com/office/drawing/2014/main" id="{1BFE3FE0-3243-B006-3A91-317DD5C9E758}"/>
                </a:ext>
              </a:extLst>
            </p:cNvPr>
            <p:cNvSpPr txBox="1">
              <a:spLocks noChangeArrowheads="1"/>
            </p:cNvSpPr>
            <p:nvPr/>
          </p:nvSpPr>
          <p:spPr bwMode="auto">
            <a:xfrm>
              <a:off x="2739342" y="5285882"/>
              <a:ext cx="25400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Rosa Jiménez</a:t>
              </a:r>
              <a:endParaRPr kumimoji="0" lang="es-MX" altLang="en-US"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Segurida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éxico</a:t>
              </a:r>
            </a:p>
          </p:txBody>
        </p:sp>
        <p:pic>
          <p:nvPicPr>
            <p:cNvPr id="4119" name="Picture 19" descr="A person wearing glasses and a suit&#10;&#10;Description automatically generated">
              <a:extLst>
                <a:ext uri="{FF2B5EF4-FFF2-40B4-BE49-F238E27FC236}">
                  <a16:creationId xmlns:a16="http://schemas.microsoft.com/office/drawing/2014/main" id="{83EF60E9-3B95-D19C-C025-74D3D8BCE6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t="7590" b="31181"/>
            <a:stretch>
              <a:fillRect/>
            </a:stretch>
          </p:blipFill>
          <p:spPr bwMode="auto">
            <a:xfrm>
              <a:off x="3382950" y="3608387"/>
              <a:ext cx="1191634"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 name="Group 11">
            <a:extLst>
              <a:ext uri="{FF2B5EF4-FFF2-40B4-BE49-F238E27FC236}">
                <a16:creationId xmlns:a16="http://schemas.microsoft.com/office/drawing/2014/main" id="{BB4C4E8F-E67D-575D-A9C4-E8C7C7618925}"/>
              </a:ext>
            </a:extLst>
          </p:cNvPr>
          <p:cNvGrpSpPr/>
          <p:nvPr/>
        </p:nvGrpSpPr>
        <p:grpSpPr>
          <a:xfrm>
            <a:off x="4812795" y="3612619"/>
            <a:ext cx="2200275" cy="2363574"/>
            <a:chOff x="4961615" y="3612619"/>
            <a:chExt cx="2200275" cy="2363574"/>
          </a:xfrm>
        </p:grpSpPr>
        <p:sp>
          <p:nvSpPr>
            <p:cNvPr id="4116" name="TextBox 21">
              <a:extLst>
                <a:ext uri="{FF2B5EF4-FFF2-40B4-BE49-F238E27FC236}">
                  <a16:creationId xmlns:a16="http://schemas.microsoft.com/office/drawing/2014/main" id="{7414F0AB-3FC0-B5FB-5001-C16A60AFE0AE}"/>
                </a:ext>
              </a:extLst>
            </p:cNvPr>
            <p:cNvSpPr txBox="1">
              <a:spLocks noChangeArrowheads="1"/>
            </p:cNvSpPr>
            <p:nvPr/>
          </p:nvSpPr>
          <p:spPr bwMode="auto">
            <a:xfrm>
              <a:off x="4961615" y="5299085"/>
              <a:ext cx="2200275"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na Paula González</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Implementación</a:t>
              </a:r>
              <a:r>
                <a:rPr kumimoji="0" lang="es-MX" altLang="en-US" sz="1200" b="1" i="0" u="none" strike="noStrike" kern="1200" cap="none" spc="0" normalizeH="0" baseline="0" noProof="0">
                  <a:ln>
                    <a:noFill/>
                  </a:ln>
                  <a:solidFill>
                    <a:srgbClr val="00ABAB"/>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s-MX" altLang="en-US" sz="12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éxico</a:t>
              </a:r>
            </a:p>
          </p:txBody>
        </p:sp>
        <p:pic>
          <p:nvPicPr>
            <p:cNvPr id="4117" name="Picture 22" descr="A person with long hair smiling&#10;&#10;Description automatically generated">
              <a:extLst>
                <a:ext uri="{FF2B5EF4-FFF2-40B4-BE49-F238E27FC236}">
                  <a16:creationId xmlns:a16="http://schemas.microsoft.com/office/drawing/2014/main" id="{41DD1B04-E12B-C946-C3DE-18C8D3F5279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r="9206" b="16653"/>
            <a:stretch>
              <a:fillRect/>
            </a:stretch>
          </p:blipFill>
          <p:spPr bwMode="auto">
            <a:xfrm>
              <a:off x="5393548" y="3612619"/>
              <a:ext cx="1549487"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2">
            <a:extLst>
              <a:ext uri="{FF2B5EF4-FFF2-40B4-BE49-F238E27FC236}">
                <a16:creationId xmlns:a16="http://schemas.microsoft.com/office/drawing/2014/main" id="{A14EA0B5-D021-3ADE-D202-9BE5289D3838}"/>
              </a:ext>
            </a:extLst>
          </p:cNvPr>
          <p:cNvGrpSpPr/>
          <p:nvPr/>
        </p:nvGrpSpPr>
        <p:grpSpPr>
          <a:xfrm>
            <a:off x="7009126" y="3613302"/>
            <a:ext cx="2065338" cy="2332273"/>
            <a:chOff x="7234234" y="3613302"/>
            <a:chExt cx="2065338" cy="2332273"/>
          </a:xfrm>
        </p:grpSpPr>
        <p:sp>
          <p:nvSpPr>
            <p:cNvPr id="4112" name="TextBox 23">
              <a:extLst>
                <a:ext uri="{FF2B5EF4-FFF2-40B4-BE49-F238E27FC236}">
                  <a16:creationId xmlns:a16="http://schemas.microsoft.com/office/drawing/2014/main" id="{A9B7884C-C179-1CB9-E9A1-0910734146E1}"/>
                </a:ext>
              </a:extLst>
            </p:cNvPr>
            <p:cNvSpPr txBox="1">
              <a:spLocks noChangeArrowheads="1"/>
            </p:cNvSpPr>
            <p:nvPr/>
          </p:nvSpPr>
          <p:spPr bwMode="auto">
            <a:xfrm>
              <a:off x="7234234" y="5268467"/>
              <a:ext cx="2065338"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rmando Hernández</a:t>
              </a:r>
              <a:endParaRPr kumimoji="0" lang="es-MX" altLang="en-US"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Seguridad</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éxico</a:t>
              </a:r>
            </a:p>
          </p:txBody>
        </p:sp>
        <p:pic>
          <p:nvPicPr>
            <p:cNvPr id="4113" name="Picture 24">
              <a:extLst>
                <a:ext uri="{FF2B5EF4-FFF2-40B4-BE49-F238E27FC236}">
                  <a16:creationId xmlns:a16="http://schemas.microsoft.com/office/drawing/2014/main" id="{E93A0E86-9A91-E969-5A2D-C6526134024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64207" y="3613302"/>
              <a:ext cx="1438046"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13">
            <a:extLst>
              <a:ext uri="{FF2B5EF4-FFF2-40B4-BE49-F238E27FC236}">
                <a16:creationId xmlns:a16="http://schemas.microsoft.com/office/drawing/2014/main" id="{B825B0F6-2708-A0AC-36B5-8B7E41DB2B61}"/>
              </a:ext>
            </a:extLst>
          </p:cNvPr>
          <p:cNvGrpSpPr/>
          <p:nvPr/>
        </p:nvGrpSpPr>
        <p:grpSpPr>
          <a:xfrm>
            <a:off x="9059636" y="3617486"/>
            <a:ext cx="1887537" cy="2332196"/>
            <a:chOff x="9538605" y="3618065"/>
            <a:chExt cx="1887537" cy="2332196"/>
          </a:xfrm>
        </p:grpSpPr>
        <p:sp>
          <p:nvSpPr>
            <p:cNvPr id="4114" name="TextBox 25">
              <a:extLst>
                <a:ext uri="{FF2B5EF4-FFF2-40B4-BE49-F238E27FC236}">
                  <a16:creationId xmlns:a16="http://schemas.microsoft.com/office/drawing/2014/main" id="{78A7AE52-68DB-4D76-40CF-AA3F15AC6D97}"/>
                </a:ext>
              </a:extLst>
            </p:cNvPr>
            <p:cNvSpPr txBox="1">
              <a:spLocks noChangeArrowheads="1"/>
            </p:cNvSpPr>
            <p:nvPr/>
          </p:nvSpPr>
          <p:spPr bwMode="auto">
            <a:xfrm>
              <a:off x="9538605" y="5273153"/>
              <a:ext cx="1887537"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Robinson Toro</a:t>
              </a:r>
              <a:endParaRPr kumimoji="0" lang="es-MX" altLang="en-US"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Servicio</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MX" altLang="en-US" sz="12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olombia</a:t>
              </a:r>
            </a:p>
          </p:txBody>
        </p:sp>
        <p:pic>
          <p:nvPicPr>
            <p:cNvPr id="4115" name="Picture 26">
              <a:extLst>
                <a:ext uri="{FF2B5EF4-FFF2-40B4-BE49-F238E27FC236}">
                  <a16:creationId xmlns:a16="http://schemas.microsoft.com/office/drawing/2014/main" id="{B19CD57C-7E6C-005A-31EB-68059E9B012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803490" y="3618065"/>
              <a:ext cx="1440000"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useBgFill="1">
        <p:nvSpPr>
          <p:cNvPr id="10" name="Rectangle 9" descr="&quot;&quot;">
            <a:extLst>
              <a:ext uri="{FF2B5EF4-FFF2-40B4-BE49-F238E27FC236}">
                <a16:creationId xmlns:a16="http://schemas.microsoft.com/office/drawing/2014/main" id="{B5355716-A5EB-817D-DE1F-FA1656F02484}"/>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0D1907C-764A-23E6-27BB-1A4B2444CAE5}"/>
              </a:ext>
            </a:extLst>
          </p:cNvPr>
          <p:cNvSpPr>
            <a:spLocks noGrp="1" noRot="1" noChangeAspect="1" noMove="1" noResize="1" noEditPoints="1" noAdjustHandles="1" noChangeArrowheads="1" noChangeShapeType="1" noTextEdit="1"/>
          </p:cNvSpPr>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28" name="Title 1">
            <a:extLst>
              <a:ext uri="{FF2B5EF4-FFF2-40B4-BE49-F238E27FC236}">
                <a16:creationId xmlns:a16="http://schemas.microsoft.com/office/drawing/2014/main" id="{FA61EF79-4883-0DC9-9810-0F6E00966299}"/>
              </a:ext>
            </a:extLst>
          </p:cNvPr>
          <p:cNvSpPr>
            <a:spLocks noGrp="1" noChangeArrowheads="1"/>
          </p:cNvSpPr>
          <p:nvPr>
            <p:ph type="title"/>
          </p:nvPr>
        </p:nvSpPr>
        <p:spPr>
          <a:xfrm>
            <a:off x="477838" y="1122363"/>
            <a:ext cx="4022725" cy="3203575"/>
          </a:xfrm>
        </p:spPr>
        <p:txBody>
          <a:bodyPr anchor="b"/>
          <a:lstStyle/>
          <a:p>
            <a:pPr eaLnBrk="1" hangingPunct="1"/>
            <a:r>
              <a:rPr lang="es-MX" altLang="en-US" sz="4800"/>
              <a:t>Dinámica de reflexión</a:t>
            </a:r>
          </a:p>
        </p:txBody>
      </p:sp>
      <p:sp>
        <p:nvSpPr>
          <p:cNvPr id="14" name="Rectangle 13" descr="&quot;&quot;">
            <a:extLst>
              <a:ext uri="{FF2B5EF4-FFF2-40B4-BE49-F238E27FC236}">
                <a16:creationId xmlns:a16="http://schemas.microsoft.com/office/drawing/2014/main" id="{60E1AECD-C764-CAF3-E7A5-20EFDD21696F}"/>
              </a:ext>
            </a:extLst>
          </p:cNvPr>
          <p:cNvSpPr>
            <a:spLocks noGrp="1" noRot="1" noChangeAspect="1" noMove="1" noResize="1" noEditPoints="1" noAdjustHandles="1" noChangeArrowheads="1" noChangeShapeType="1" noTextEdit="1"/>
          </p:cNvSpPr>
          <p:nvPr/>
        </p:nvSpPr>
        <p:spPr>
          <a:xfrm rot="5400000">
            <a:off x="760413" y="346075"/>
            <a:ext cx="146050" cy="704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descr="&quot;&quot;">
            <a:extLst>
              <a:ext uri="{FF2B5EF4-FFF2-40B4-BE49-F238E27FC236}">
                <a16:creationId xmlns:a16="http://schemas.microsoft.com/office/drawing/2014/main" id="{7F80706C-8253-6867-CAD3-E73B89594CAE}"/>
              </a:ext>
            </a:extLst>
          </p:cNvPr>
          <p:cNvSpPr>
            <a:spLocks noGrp="1" noRot="1" noChangeAspect="1" noMove="1" noResize="1" noEditPoints="1" noAdjustHandles="1" noChangeArrowheads="1" noChangeShapeType="1" noTextEdit="1"/>
          </p:cNvSpPr>
          <p:nvPr/>
        </p:nvSpPr>
        <p:spPr>
          <a:xfrm>
            <a:off x="481013" y="4546600"/>
            <a:ext cx="3978275" cy="19050"/>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1B62EBC2-F3DC-2C4B-C3B1-3449AB40CD27}"/>
              </a:ext>
            </a:extLst>
          </p:cNvPr>
          <p:cNvSpPr/>
          <p:nvPr/>
        </p:nvSpPr>
        <p:spPr>
          <a:xfrm>
            <a:off x="392113" y="531813"/>
            <a:ext cx="882650" cy="404812"/>
          </a:xfrm>
          <a:prstGeom prst="ellipse">
            <a:avLst/>
          </a:prstGeom>
        </p:spPr>
        <p:style>
          <a:lnRef idx="2">
            <a:schemeClr val="dk1">
              <a:shade val="50000"/>
            </a:schemeClr>
          </a:lnRef>
          <a:fillRef idx="1">
            <a:schemeClr val="dk1"/>
          </a:fillRef>
          <a:effectRef idx="0">
            <a:schemeClr val="dk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4693EB25-54A4-A6B5-5835-0E637E3E9F68}"/>
              </a:ext>
            </a:extLst>
          </p:cNvPr>
          <p:cNvSpPr txBox="1"/>
          <p:nvPr/>
        </p:nvSpPr>
        <p:spPr>
          <a:xfrm>
            <a:off x="1344584" y="6858000"/>
            <a:ext cx="9502831" cy="230832"/>
          </a:xfrm>
          <a:prstGeom prst="rect">
            <a:avLst/>
          </a:prstGeom>
          <a:noFill/>
        </p:spPr>
        <p:txBody>
          <a:bodyPr wrap="square" rtlCol="0">
            <a:spAutoFit/>
          </a:bodyPr>
          <a:lstStyle/>
          <a:p>
            <a:r>
              <a:rPr lang="en-US" sz="900">
                <a:hlinkClick r:id="rId2" tooltip="https://culturacientifica.com/2019/03/12/reflexion-y-refraccion-de-la-luz/"/>
              </a:rPr>
              <a:t>This Photo</a:t>
            </a:r>
            <a:r>
              <a:rPr lang="en-US" sz="900"/>
              <a:t> by Unknown Author is licensed under </a:t>
            </a:r>
            <a:r>
              <a:rPr lang="en-US" sz="900">
                <a:hlinkClick r:id="rId3" tooltip="https://creativecommons.org/licenses/by-nc-nd/3.0/"/>
              </a:rPr>
              <a:t>CC BY-NC-ND</a:t>
            </a:r>
            <a:endParaRPr lang="en-US" sz="900"/>
          </a:p>
        </p:txBody>
      </p:sp>
      <p:grpSp>
        <p:nvGrpSpPr>
          <p:cNvPr id="23" name="Group 22">
            <a:extLst>
              <a:ext uri="{FF2B5EF4-FFF2-40B4-BE49-F238E27FC236}">
                <a16:creationId xmlns:a16="http://schemas.microsoft.com/office/drawing/2014/main" id="{5B74D6FA-F831-564C-F4E6-446D003CB7A8}"/>
              </a:ext>
            </a:extLst>
          </p:cNvPr>
          <p:cNvGrpSpPr/>
          <p:nvPr/>
        </p:nvGrpSpPr>
        <p:grpSpPr>
          <a:xfrm>
            <a:off x="5843709" y="741088"/>
            <a:ext cx="5295600" cy="5302800"/>
            <a:chOff x="6655327" y="1103525"/>
            <a:chExt cx="4602162" cy="4641850"/>
          </a:xfrm>
        </p:grpSpPr>
        <p:sp>
          <p:nvSpPr>
            <p:cNvPr id="15" name="Oval 14">
              <a:extLst>
                <a:ext uri="{FF2B5EF4-FFF2-40B4-BE49-F238E27FC236}">
                  <a16:creationId xmlns:a16="http://schemas.microsoft.com/office/drawing/2014/main" id="{C0C59DF8-2F28-E7DC-AA0E-619006779D3D}"/>
                </a:ext>
              </a:extLst>
            </p:cNvPr>
            <p:cNvSpPr/>
            <p:nvPr/>
          </p:nvSpPr>
          <p:spPr>
            <a:xfrm>
              <a:off x="6655327" y="1103525"/>
              <a:ext cx="4602162" cy="464185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glass ball on a surface&#10;&#10;Description automatically generated">
              <a:extLst>
                <a:ext uri="{FF2B5EF4-FFF2-40B4-BE49-F238E27FC236}">
                  <a16:creationId xmlns:a16="http://schemas.microsoft.com/office/drawing/2014/main" id="{9BFD85D2-2D2A-CC8E-6B3D-F07B7DF2764F}"/>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l="13916" r="13916"/>
            <a:stretch/>
          </p:blipFill>
          <p:spPr>
            <a:xfrm>
              <a:off x="6759613" y="1227655"/>
              <a:ext cx="4393589" cy="4393589"/>
            </a:xfrm>
            <a:prstGeom prst="ellipse">
              <a:avLst/>
            </a:prstGeom>
          </p:spPr>
        </p:pic>
      </p:grpSp>
    </p:spTree>
    <p:extLst>
      <p:ext uri="{BB962C8B-B14F-4D97-AF65-F5344CB8AC3E}">
        <p14:creationId xmlns:p14="http://schemas.microsoft.com/office/powerpoint/2010/main" val="3491134131"/>
      </p:ext>
    </p:extLst>
  </p:cSld>
  <p:clrMapOvr>
    <a:overrideClrMapping bg1="dk1" tx1="lt1" bg2="dk2" tx2="lt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6" descr="Hormiga clipart. Dibujos animados descargar gratis. | Creazilla">
            <a:extLst>
              <a:ext uri="{FF2B5EF4-FFF2-40B4-BE49-F238E27FC236}">
                <a16:creationId xmlns:a16="http://schemas.microsoft.com/office/drawing/2014/main" id="{016D8647-5DFA-55A7-88AB-3717EDEA71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34942" y="1949069"/>
            <a:ext cx="3864429" cy="38644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Hormiga clipart. Dibujos animados descargar gratis. | Creazilla">
            <a:extLst>
              <a:ext uri="{FF2B5EF4-FFF2-40B4-BE49-F238E27FC236}">
                <a16:creationId xmlns:a16="http://schemas.microsoft.com/office/drawing/2014/main" id="{79B69E45-CAAC-8BB7-D6D5-969CB8FD97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219200" y="1949068"/>
            <a:ext cx="3864429" cy="3864429"/>
          </a:xfrm>
          <a:prstGeom prst="rect">
            <a:avLst/>
          </a:prstGeom>
          <a:noFill/>
          <a:extLst>
            <a:ext uri="{909E8E84-426E-40DD-AFC4-6F175D3DCCD1}">
              <a14:hiddenFill xmlns:a14="http://schemas.microsoft.com/office/drawing/2010/main">
                <a:solidFill>
                  <a:srgbClr val="FFFFFF"/>
                </a:solidFill>
              </a14:hiddenFill>
            </a:ext>
          </a:extLst>
        </p:spPr>
      </p:pic>
      <p:sp>
        <p:nvSpPr>
          <p:cNvPr id="6" name="Title 6">
            <a:extLst>
              <a:ext uri="{FF2B5EF4-FFF2-40B4-BE49-F238E27FC236}">
                <a16:creationId xmlns:a16="http://schemas.microsoft.com/office/drawing/2014/main" id="{0DAB46D7-C509-E8B2-888D-14157E7F00FF}"/>
              </a:ext>
            </a:extLst>
          </p:cNvPr>
          <p:cNvSpPr>
            <a:spLocks noGrp="1"/>
          </p:cNvSpPr>
          <p:nvPr>
            <p:ph type="title"/>
          </p:nvPr>
        </p:nvSpPr>
        <p:spPr>
          <a:xfrm>
            <a:off x="502920" y="320040"/>
            <a:ext cx="11252200" cy="334102"/>
          </a:xfrm>
        </p:spPr>
        <p:txBody>
          <a:bodyPr/>
          <a:lstStyle/>
          <a:p>
            <a:r>
              <a:rPr lang="en-US" sz="2100" noProof="0">
                <a:solidFill>
                  <a:schemeClr val="bg1"/>
                </a:solidFill>
              </a:rPr>
              <a:t>Las dos </a:t>
            </a:r>
            <a:r>
              <a:rPr lang="en-US" sz="2100" noProof="0" err="1">
                <a:solidFill>
                  <a:schemeClr val="bg1"/>
                </a:solidFill>
              </a:rPr>
              <a:t>hormigas</a:t>
            </a:r>
            <a:r>
              <a:rPr lang="en-US" sz="2100" noProof="0">
                <a:solidFill>
                  <a:schemeClr val="bg1"/>
                </a:solidFill>
              </a:rPr>
              <a:t>… </a:t>
            </a:r>
          </a:p>
        </p:txBody>
      </p:sp>
      <p:pic>
        <p:nvPicPr>
          <p:cNvPr id="7" name="Picture 6" descr="A pink bow on a black background&#10;&#10;Description automatically generated">
            <a:extLst>
              <a:ext uri="{FF2B5EF4-FFF2-40B4-BE49-F238E27FC236}">
                <a16:creationId xmlns:a16="http://schemas.microsoft.com/office/drawing/2014/main" id="{CEFFE290-2828-4D96-9EDB-9400897AD15C}"/>
              </a:ext>
            </a:extLst>
          </p:cNvPr>
          <p:cNvPicPr>
            <a:picLocks noChangeAspect="1"/>
          </p:cNvPicPr>
          <p:nvPr/>
        </p:nvPicPr>
        <p:blipFill>
          <a:blip r:embed="rId3"/>
          <a:stretch>
            <a:fillRect/>
          </a:stretch>
        </p:blipFill>
        <p:spPr>
          <a:xfrm>
            <a:off x="3304640" y="2827888"/>
            <a:ext cx="792698" cy="781050"/>
          </a:xfrm>
          <a:prstGeom prst="rect">
            <a:avLst/>
          </a:prstGeom>
        </p:spPr>
      </p:pic>
      <p:pic>
        <p:nvPicPr>
          <p:cNvPr id="8" name="Picture 7" descr="A green grass on a black background&#10;&#10;Description automatically generated">
            <a:extLst>
              <a:ext uri="{FF2B5EF4-FFF2-40B4-BE49-F238E27FC236}">
                <a16:creationId xmlns:a16="http://schemas.microsoft.com/office/drawing/2014/main" id="{3B9BF6AE-260A-B67A-EFC5-C5EA356E51A7}"/>
              </a:ext>
            </a:extLst>
          </p:cNvPr>
          <p:cNvPicPr>
            <a:picLocks noChangeAspect="1"/>
          </p:cNvPicPr>
          <p:nvPr/>
        </p:nvPicPr>
        <p:blipFill>
          <a:blip r:embed="rId4"/>
          <a:stretch>
            <a:fillRect/>
          </a:stretch>
        </p:blipFill>
        <p:spPr>
          <a:xfrm>
            <a:off x="0" y="5299998"/>
            <a:ext cx="2146307" cy="1356141"/>
          </a:xfrm>
          <a:prstGeom prst="rect">
            <a:avLst/>
          </a:prstGeom>
        </p:spPr>
      </p:pic>
      <p:pic>
        <p:nvPicPr>
          <p:cNvPr id="9" name="Picture 8" descr="A green grass on a black background&#10;&#10;Description automatically generated">
            <a:extLst>
              <a:ext uri="{FF2B5EF4-FFF2-40B4-BE49-F238E27FC236}">
                <a16:creationId xmlns:a16="http://schemas.microsoft.com/office/drawing/2014/main" id="{DF3313AA-3271-6557-8338-0FED54ADE3A8}"/>
              </a:ext>
            </a:extLst>
          </p:cNvPr>
          <p:cNvPicPr>
            <a:picLocks noChangeAspect="1"/>
          </p:cNvPicPr>
          <p:nvPr/>
        </p:nvPicPr>
        <p:blipFill>
          <a:blip r:embed="rId4"/>
          <a:stretch>
            <a:fillRect/>
          </a:stretch>
        </p:blipFill>
        <p:spPr>
          <a:xfrm>
            <a:off x="9367156" y="1104506"/>
            <a:ext cx="2146307" cy="1356141"/>
          </a:xfrm>
          <a:prstGeom prst="rect">
            <a:avLst/>
          </a:prstGeom>
        </p:spPr>
      </p:pic>
    </p:spTree>
    <p:extLst>
      <p:ext uri="{BB962C8B-B14F-4D97-AF65-F5344CB8AC3E}">
        <p14:creationId xmlns:p14="http://schemas.microsoft.com/office/powerpoint/2010/main" val="10313907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6" descr="Hormiga clipart. Dibujos animados descargar gratis. | Creazilla">
            <a:extLst>
              <a:ext uri="{FF2B5EF4-FFF2-40B4-BE49-F238E27FC236}">
                <a16:creationId xmlns:a16="http://schemas.microsoft.com/office/drawing/2014/main" id="{50E5EBF4-5B63-BBEF-9C56-585CDD6F9D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391886" y="1870180"/>
            <a:ext cx="3864429" cy="386442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6">
            <a:extLst>
              <a:ext uri="{FF2B5EF4-FFF2-40B4-BE49-F238E27FC236}">
                <a16:creationId xmlns:a16="http://schemas.microsoft.com/office/drawing/2014/main" id="{8F415CA3-A37A-4F11-C273-6685F85B4B5E}"/>
              </a:ext>
            </a:extLst>
          </p:cNvPr>
          <p:cNvSpPr txBox="1">
            <a:spLocks/>
          </p:cNvSpPr>
          <p:nvPr/>
        </p:nvSpPr>
        <p:spPr bwMode="gray">
          <a:xfrm>
            <a:off x="502920" y="320040"/>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Pepita vivía a lado de un montículo de azúcar</a:t>
            </a:r>
          </a:p>
        </p:txBody>
      </p:sp>
      <p:pic>
        <p:nvPicPr>
          <p:cNvPr id="4" name="Picture 2" descr="Pila de Cubos de Azúcar PNG transparente - StickPNG">
            <a:extLst>
              <a:ext uri="{FF2B5EF4-FFF2-40B4-BE49-F238E27FC236}">
                <a16:creationId xmlns:a16="http://schemas.microsoft.com/office/drawing/2014/main" id="{E99E9083-E659-F8A7-3ADE-D627BA2DE8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2007" y="1421144"/>
            <a:ext cx="4762500" cy="4762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pink bow on a black background&#10;&#10;Description automatically generated">
            <a:extLst>
              <a:ext uri="{FF2B5EF4-FFF2-40B4-BE49-F238E27FC236}">
                <a16:creationId xmlns:a16="http://schemas.microsoft.com/office/drawing/2014/main" id="{D5100CB6-A23E-2A05-B98D-DFC6D4AE018C}"/>
              </a:ext>
            </a:extLst>
          </p:cNvPr>
          <p:cNvPicPr>
            <a:picLocks noChangeAspect="1"/>
          </p:cNvPicPr>
          <p:nvPr/>
        </p:nvPicPr>
        <p:blipFill>
          <a:blip r:embed="rId4"/>
          <a:stretch>
            <a:fillRect/>
          </a:stretch>
        </p:blipFill>
        <p:spPr>
          <a:xfrm>
            <a:off x="2374900" y="2923374"/>
            <a:ext cx="792698" cy="781050"/>
          </a:xfrm>
          <a:prstGeom prst="rect">
            <a:avLst/>
          </a:prstGeom>
        </p:spPr>
      </p:pic>
      <p:pic>
        <p:nvPicPr>
          <p:cNvPr id="6" name="Picture 5" descr="A green grass on a black background&#10;&#10;Description automatically generated">
            <a:extLst>
              <a:ext uri="{FF2B5EF4-FFF2-40B4-BE49-F238E27FC236}">
                <a16:creationId xmlns:a16="http://schemas.microsoft.com/office/drawing/2014/main" id="{EF549A16-035B-7C7B-F5E2-99F7D3F0A184}"/>
              </a:ext>
            </a:extLst>
          </p:cNvPr>
          <p:cNvPicPr>
            <a:picLocks noChangeAspect="1"/>
          </p:cNvPicPr>
          <p:nvPr/>
        </p:nvPicPr>
        <p:blipFill>
          <a:blip r:embed="rId5"/>
          <a:stretch>
            <a:fillRect/>
          </a:stretch>
        </p:blipFill>
        <p:spPr>
          <a:xfrm>
            <a:off x="3019044" y="4334302"/>
            <a:ext cx="2588981" cy="1635844"/>
          </a:xfrm>
          <a:prstGeom prst="rect">
            <a:avLst/>
          </a:prstGeom>
        </p:spPr>
      </p:pic>
    </p:spTree>
    <p:extLst>
      <p:ext uri="{BB962C8B-B14F-4D97-AF65-F5344CB8AC3E}">
        <p14:creationId xmlns:p14="http://schemas.microsoft.com/office/powerpoint/2010/main" val="22612017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62262C89-763B-D280-6114-2AF74A9F062F}"/>
              </a:ext>
            </a:extLst>
          </p:cNvPr>
          <p:cNvSpPr txBox="1">
            <a:spLocks/>
          </p:cNvSpPr>
          <p:nvPr/>
        </p:nvSpPr>
        <p:spPr bwMode="gray">
          <a:xfrm>
            <a:off x="502920" y="320040"/>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Lolita vivía a lado de un montículo de sal</a:t>
            </a:r>
          </a:p>
        </p:txBody>
      </p:sp>
      <p:pic>
        <p:nvPicPr>
          <p:cNvPr id="3" name="Picture 6" descr="Hormiga clipart. Dibujos animados descargar gratis. | Creazilla">
            <a:extLst>
              <a:ext uri="{FF2B5EF4-FFF2-40B4-BE49-F238E27FC236}">
                <a16:creationId xmlns:a16="http://schemas.microsoft.com/office/drawing/2014/main" id="{A5C33A3D-739D-1D5C-4E14-8F135A214B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7599" y="2061789"/>
            <a:ext cx="3864429" cy="386442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6 mitos sobre el consumo de sal (y cuál es la cantidad recomendada al día)  - BBC News Mundo">
            <a:extLst>
              <a:ext uri="{FF2B5EF4-FFF2-40B4-BE49-F238E27FC236}">
                <a16:creationId xmlns:a16="http://schemas.microsoft.com/office/drawing/2014/main" id="{19B06FC0-8E65-FE7D-D5B6-C26FC9284C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0" y="2497218"/>
            <a:ext cx="6096000" cy="3429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green grass on a black background&#10;&#10;Description automatically generated">
            <a:extLst>
              <a:ext uri="{FF2B5EF4-FFF2-40B4-BE49-F238E27FC236}">
                <a16:creationId xmlns:a16="http://schemas.microsoft.com/office/drawing/2014/main" id="{F02A7DFC-D0D1-4321-0A65-5A2BA2B06243}"/>
              </a:ext>
            </a:extLst>
          </p:cNvPr>
          <p:cNvPicPr>
            <a:picLocks noChangeAspect="1"/>
          </p:cNvPicPr>
          <p:nvPr/>
        </p:nvPicPr>
        <p:blipFill>
          <a:blip r:embed="rId4"/>
          <a:stretch>
            <a:fillRect/>
          </a:stretch>
        </p:blipFill>
        <p:spPr>
          <a:xfrm>
            <a:off x="-95024" y="1928401"/>
            <a:ext cx="2588981" cy="1635844"/>
          </a:xfrm>
          <a:prstGeom prst="rect">
            <a:avLst/>
          </a:prstGeom>
        </p:spPr>
      </p:pic>
    </p:spTree>
    <p:extLst>
      <p:ext uri="{BB962C8B-B14F-4D97-AF65-F5344CB8AC3E}">
        <p14:creationId xmlns:p14="http://schemas.microsoft.com/office/powerpoint/2010/main" val="20380163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955DB690-6CFC-A9CF-042C-B6D772111677}"/>
              </a:ext>
            </a:extLst>
          </p:cNvPr>
          <p:cNvSpPr txBox="1">
            <a:spLocks/>
          </p:cNvSpPr>
          <p:nvPr/>
        </p:nvSpPr>
        <p:spPr bwMode="gray">
          <a:xfrm>
            <a:off x="469900" y="330926"/>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Un día, Pepita paseaba y se encontró con la casa de Lolita…</a:t>
            </a:r>
          </a:p>
        </p:txBody>
      </p:sp>
      <p:pic>
        <p:nvPicPr>
          <p:cNvPr id="3" name="Picture 2" descr="6 mitos sobre el consumo de sal (y cuál es la cantidad recomendada al día)  - BBC News Mundo">
            <a:extLst>
              <a:ext uri="{FF2B5EF4-FFF2-40B4-BE49-F238E27FC236}">
                <a16:creationId xmlns:a16="http://schemas.microsoft.com/office/drawing/2014/main" id="{9D83F85C-2EC4-F023-2CA2-AC26FD37CE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8200" y="1819956"/>
            <a:ext cx="4844143" cy="272483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Hormiga clipart. Dibujos animados descargar gratis. | Creazilla">
            <a:extLst>
              <a:ext uri="{FF2B5EF4-FFF2-40B4-BE49-F238E27FC236}">
                <a16:creationId xmlns:a16="http://schemas.microsoft.com/office/drawing/2014/main" id="{D14C0DB0-7A27-E22F-31D7-DEA117B182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8472" y="1970313"/>
            <a:ext cx="1796143" cy="179614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Hormiga clipart. Dibujos animados descargar gratis. | Creazilla">
            <a:extLst>
              <a:ext uri="{FF2B5EF4-FFF2-40B4-BE49-F238E27FC236}">
                <a16:creationId xmlns:a16="http://schemas.microsoft.com/office/drawing/2014/main" id="{2A0906AA-ECD6-BE6D-5DF0-C4A37670BE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174171" y="3129643"/>
            <a:ext cx="3145971" cy="314597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6">
            <a:extLst>
              <a:ext uri="{FF2B5EF4-FFF2-40B4-BE49-F238E27FC236}">
                <a16:creationId xmlns:a16="http://schemas.microsoft.com/office/drawing/2014/main" id="{5EDB19E5-2008-0440-E5D9-90F6B5A67F4B}"/>
              </a:ext>
            </a:extLst>
          </p:cNvPr>
          <p:cNvSpPr txBox="1">
            <a:spLocks/>
          </p:cNvSpPr>
          <p:nvPr/>
        </p:nvSpPr>
        <p:spPr bwMode="gray">
          <a:xfrm>
            <a:off x="7099300" y="6032636"/>
            <a:ext cx="5023874" cy="42998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fontAlgn="auto">
              <a:spcAft>
                <a:spcPts val="0"/>
              </a:spcAft>
            </a:pPr>
            <a:r>
              <a:rPr lang="en-US">
                <a:solidFill>
                  <a:prstClr val="white"/>
                </a:solidFill>
                <a:latin typeface="Calibri Light"/>
              </a:rPr>
              <a:t>Y la </a:t>
            </a:r>
            <a:r>
              <a:rPr lang="en-US" err="1">
                <a:solidFill>
                  <a:prstClr val="white"/>
                </a:solidFill>
                <a:latin typeface="Calibri Light"/>
              </a:rPr>
              <a:t>invitó</a:t>
            </a:r>
            <a:r>
              <a:rPr lang="en-US">
                <a:solidFill>
                  <a:prstClr val="white"/>
                </a:solidFill>
                <a:latin typeface="Calibri Light"/>
              </a:rPr>
              <a:t> a </a:t>
            </a:r>
            <a:r>
              <a:rPr lang="en-US" err="1">
                <a:solidFill>
                  <a:prstClr val="white"/>
                </a:solidFill>
                <a:latin typeface="Calibri Light"/>
              </a:rPr>
              <a:t>conocer</a:t>
            </a:r>
            <a:r>
              <a:rPr lang="en-US">
                <a:solidFill>
                  <a:prstClr val="white"/>
                </a:solidFill>
                <a:latin typeface="Calibri Light"/>
              </a:rPr>
              <a:t> </a:t>
            </a:r>
            <a:r>
              <a:rPr lang="en-US" err="1">
                <a:solidFill>
                  <a:prstClr val="white"/>
                </a:solidFill>
                <a:latin typeface="Calibri Light"/>
              </a:rPr>
              <a:t>su</a:t>
            </a:r>
            <a:r>
              <a:rPr lang="en-US">
                <a:solidFill>
                  <a:prstClr val="white"/>
                </a:solidFill>
                <a:latin typeface="Calibri Light"/>
              </a:rPr>
              <a:t> </a:t>
            </a:r>
            <a:r>
              <a:rPr lang="en-US" err="1">
                <a:solidFill>
                  <a:prstClr val="white"/>
                </a:solidFill>
                <a:latin typeface="Calibri Light"/>
              </a:rPr>
              <a:t>montículo</a:t>
            </a:r>
            <a:r>
              <a:rPr lang="en-US">
                <a:solidFill>
                  <a:prstClr val="white"/>
                </a:solidFill>
                <a:latin typeface="Calibri Light"/>
              </a:rPr>
              <a:t> </a:t>
            </a:r>
            <a:r>
              <a:rPr lang="en-US" err="1">
                <a:solidFill>
                  <a:prstClr val="white"/>
                </a:solidFill>
                <a:latin typeface="Calibri Light"/>
              </a:rPr>
              <a:t>azúcar</a:t>
            </a:r>
            <a:r>
              <a:rPr lang="en-US">
                <a:solidFill>
                  <a:prstClr val="white"/>
                </a:solidFill>
                <a:latin typeface="Calibri Light"/>
              </a:rPr>
              <a:t>…</a:t>
            </a:r>
          </a:p>
        </p:txBody>
      </p:sp>
      <p:pic>
        <p:nvPicPr>
          <p:cNvPr id="7" name="Picture 6" descr="A pink bow on a black background&#10;&#10;Description automatically generated">
            <a:extLst>
              <a:ext uri="{FF2B5EF4-FFF2-40B4-BE49-F238E27FC236}">
                <a16:creationId xmlns:a16="http://schemas.microsoft.com/office/drawing/2014/main" id="{04001750-2E90-215B-B824-51748ABE16EC}"/>
              </a:ext>
            </a:extLst>
          </p:cNvPr>
          <p:cNvPicPr>
            <a:picLocks noChangeAspect="1"/>
          </p:cNvPicPr>
          <p:nvPr/>
        </p:nvPicPr>
        <p:blipFill>
          <a:blip r:embed="rId4"/>
          <a:stretch>
            <a:fillRect/>
          </a:stretch>
        </p:blipFill>
        <p:spPr>
          <a:xfrm>
            <a:off x="1747156" y="3766456"/>
            <a:ext cx="792698" cy="781050"/>
          </a:xfrm>
          <a:prstGeom prst="rect">
            <a:avLst/>
          </a:prstGeom>
        </p:spPr>
      </p:pic>
      <p:pic>
        <p:nvPicPr>
          <p:cNvPr id="8" name="Picture 7" descr="A green grass on a black background&#10;&#10;Description automatically generated">
            <a:extLst>
              <a:ext uri="{FF2B5EF4-FFF2-40B4-BE49-F238E27FC236}">
                <a16:creationId xmlns:a16="http://schemas.microsoft.com/office/drawing/2014/main" id="{722821D5-4491-2F08-0685-2CB9D7F8C184}"/>
              </a:ext>
            </a:extLst>
          </p:cNvPr>
          <p:cNvPicPr>
            <a:picLocks noChangeAspect="1"/>
          </p:cNvPicPr>
          <p:nvPr/>
        </p:nvPicPr>
        <p:blipFill>
          <a:blip r:embed="rId5"/>
          <a:stretch>
            <a:fillRect/>
          </a:stretch>
        </p:blipFill>
        <p:spPr>
          <a:xfrm>
            <a:off x="2921648" y="4876800"/>
            <a:ext cx="2167470" cy="1369513"/>
          </a:xfrm>
          <a:prstGeom prst="rect">
            <a:avLst/>
          </a:prstGeom>
        </p:spPr>
      </p:pic>
    </p:spTree>
    <p:extLst>
      <p:ext uri="{BB962C8B-B14F-4D97-AF65-F5344CB8AC3E}">
        <p14:creationId xmlns:p14="http://schemas.microsoft.com/office/powerpoint/2010/main" val="2401857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useBgFill="1">
        <p:nvSpPr>
          <p:cNvPr id="10" name="Rectangle 9" descr="&quot;&quot;">
            <a:extLst>
              <a:ext uri="{FF2B5EF4-FFF2-40B4-BE49-F238E27FC236}">
                <a16:creationId xmlns:a16="http://schemas.microsoft.com/office/drawing/2014/main" id="{590AD972-38B0-9761-1DE4-6340FC228E16}"/>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2" name="Rectangle 11">
            <a:extLst>
              <a:ext uri="{FF2B5EF4-FFF2-40B4-BE49-F238E27FC236}">
                <a16:creationId xmlns:a16="http://schemas.microsoft.com/office/drawing/2014/main" id="{37E7ED68-0E8E-03CC-A35C-A6DF452D58A7}"/>
              </a:ext>
            </a:extLst>
          </p:cNvPr>
          <p:cNvSpPr>
            <a:spLocks noGrp="1" noRot="1" noChangeAspect="1" noMove="1" noResize="1" noEditPoints="1" noAdjustHandles="1" noChangeArrowheads="1" noChangeShapeType="1" noTextEdit="1"/>
          </p:cNvSpPr>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3318" name="Title 1">
            <a:extLst>
              <a:ext uri="{FF2B5EF4-FFF2-40B4-BE49-F238E27FC236}">
                <a16:creationId xmlns:a16="http://schemas.microsoft.com/office/drawing/2014/main" id="{BE4AC162-CF78-9BAF-F574-84E6CDEEFEFA}"/>
              </a:ext>
            </a:extLst>
          </p:cNvPr>
          <p:cNvSpPr>
            <a:spLocks noGrp="1" noChangeArrowheads="1"/>
          </p:cNvSpPr>
          <p:nvPr>
            <p:ph type="title"/>
          </p:nvPr>
        </p:nvSpPr>
        <p:spPr>
          <a:xfrm>
            <a:off x="477838" y="1122363"/>
            <a:ext cx="4022725" cy="3203575"/>
          </a:xfrm>
        </p:spPr>
        <p:txBody>
          <a:bodyPr anchor="b"/>
          <a:lstStyle/>
          <a:p>
            <a:pPr eaLnBrk="1" hangingPunct="1"/>
            <a:r>
              <a:rPr lang="es-MX" altLang="en-US" sz="4800"/>
              <a:t>Dinámica</a:t>
            </a:r>
            <a:r>
              <a:rPr lang="en-US" altLang="en-US" sz="4800"/>
              <a:t>: </a:t>
            </a:r>
            <a:r>
              <a:rPr lang="es-MX" altLang="en-US" sz="4800"/>
              <a:t>Maratón</a:t>
            </a:r>
          </a:p>
        </p:txBody>
      </p:sp>
      <p:sp>
        <p:nvSpPr>
          <p:cNvPr id="14" name="Rectangle 13" descr="&quot;&quot;">
            <a:extLst>
              <a:ext uri="{FF2B5EF4-FFF2-40B4-BE49-F238E27FC236}">
                <a16:creationId xmlns:a16="http://schemas.microsoft.com/office/drawing/2014/main" id="{A9A3948E-5CAA-ED91-DA42-84F1EF5268D5}"/>
              </a:ext>
            </a:extLst>
          </p:cNvPr>
          <p:cNvSpPr>
            <a:spLocks noGrp="1" noRot="1" noChangeAspect="1" noMove="1" noResize="1" noEditPoints="1" noAdjustHandles="1" noChangeArrowheads="1" noChangeShapeType="1" noTextEdit="1"/>
          </p:cNvSpPr>
          <p:nvPr/>
        </p:nvSpPr>
        <p:spPr>
          <a:xfrm rot="5400000">
            <a:off x="760413" y="346075"/>
            <a:ext cx="146050" cy="704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6" name="Rectangle 15" descr="&quot;&quot;">
            <a:extLst>
              <a:ext uri="{FF2B5EF4-FFF2-40B4-BE49-F238E27FC236}">
                <a16:creationId xmlns:a16="http://schemas.microsoft.com/office/drawing/2014/main" id="{9DD59455-C9FE-6106-4554-E4F36B9BFC47}"/>
              </a:ext>
            </a:extLst>
          </p:cNvPr>
          <p:cNvSpPr>
            <a:spLocks noGrp="1" noRot="1" noChangeAspect="1" noMove="1" noResize="1" noEditPoints="1" noAdjustHandles="1" noChangeArrowheads="1" noChangeShapeType="1" noTextEdit="1"/>
          </p:cNvSpPr>
          <p:nvPr/>
        </p:nvSpPr>
        <p:spPr>
          <a:xfrm>
            <a:off x="481013" y="4546600"/>
            <a:ext cx="3978275" cy="19050"/>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6" name="Oval 5">
            <a:extLst>
              <a:ext uri="{FF2B5EF4-FFF2-40B4-BE49-F238E27FC236}">
                <a16:creationId xmlns:a16="http://schemas.microsoft.com/office/drawing/2014/main" id="{5405F0DE-A36E-43F0-9555-682C99E8A6F0}"/>
              </a:ext>
            </a:extLst>
          </p:cNvPr>
          <p:cNvSpPr/>
          <p:nvPr/>
        </p:nvSpPr>
        <p:spPr>
          <a:xfrm>
            <a:off x="392113" y="531813"/>
            <a:ext cx="882650" cy="404812"/>
          </a:xfrm>
          <a:prstGeom prst="ellipse">
            <a:avLst/>
          </a:prstGeom>
        </p:spPr>
        <p:style>
          <a:lnRef idx="2">
            <a:schemeClr val="dk1">
              <a:shade val="50000"/>
            </a:schemeClr>
          </a:lnRef>
          <a:fillRef idx="1">
            <a:schemeClr val="dk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pic>
        <p:nvPicPr>
          <p:cNvPr id="13322" name="Picture 3" descr="A person sitting on the floor with his hands up&#10;&#10;Description automatically generated with low confidence">
            <a:extLst>
              <a:ext uri="{FF2B5EF4-FFF2-40B4-BE49-F238E27FC236}">
                <a16:creationId xmlns:a16="http://schemas.microsoft.com/office/drawing/2014/main" id="{BBD0B48A-53D1-59CE-2849-0F3B8BAF2B8B}"/>
              </a:ext>
            </a:extLst>
          </p:cNvPr>
          <p:cNvPicPr>
            <a:picLocks noChangeAspect="1" noChangeArrowheads="1"/>
          </p:cNvPicPr>
          <p:nvPr/>
        </p:nvPicPr>
        <p:blipFill rotWithShape="1">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l="12994" t="30050" r="12375" b="27923"/>
          <a:stretch/>
        </p:blipFill>
        <p:spPr bwMode="auto">
          <a:xfrm>
            <a:off x="5892800" y="673100"/>
            <a:ext cx="5295900" cy="530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overrideClrMapping bg1="dk1" tx1="lt1" bg2="dk2" tx2="lt2" accent1="accent1" accent2="accent2" accent3="accent3" accent4="accent4" accent5="accent5" accent6="accent6" hlink="hlink" folHlink="folHlink"/>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D69EC713-D214-1433-75CA-D1D7BC340087}"/>
              </a:ext>
            </a:extLst>
          </p:cNvPr>
          <p:cNvSpPr txBox="1">
            <a:spLocks/>
          </p:cNvSpPr>
          <p:nvPr/>
        </p:nvSpPr>
        <p:spPr bwMode="gray">
          <a:xfrm>
            <a:off x="469900" y="330926"/>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Lolita, preparándose para visitar a Pepita… </a:t>
            </a:r>
          </a:p>
        </p:txBody>
      </p:sp>
      <p:pic>
        <p:nvPicPr>
          <p:cNvPr id="3" name="Picture 2" descr="6 mitos sobre el consumo de sal (y cuál es la cantidad recomendada al día)  - BBC News Mundo">
            <a:extLst>
              <a:ext uri="{FF2B5EF4-FFF2-40B4-BE49-F238E27FC236}">
                <a16:creationId xmlns:a16="http://schemas.microsoft.com/office/drawing/2014/main" id="{45321CF3-0D70-74C8-30F7-FDA8C25D6C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5375" y="2606413"/>
            <a:ext cx="4844143" cy="272483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Hormiga clipart. Dibujos animados descargar gratis. | Creazilla">
            <a:extLst>
              <a:ext uri="{FF2B5EF4-FFF2-40B4-BE49-F238E27FC236}">
                <a16:creationId xmlns:a16="http://schemas.microsoft.com/office/drawing/2014/main" id="{4F09594C-80F4-AFC9-3BA0-078E0FCD0E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07847" y="2484969"/>
            <a:ext cx="2955470" cy="2955470"/>
          </a:xfrm>
          <a:prstGeom prst="rect">
            <a:avLst/>
          </a:prstGeom>
          <a:noFill/>
          <a:extLst>
            <a:ext uri="{909E8E84-426E-40DD-AFC4-6F175D3DCCD1}">
              <a14:hiddenFill xmlns:a14="http://schemas.microsoft.com/office/drawing/2010/main">
                <a:solidFill>
                  <a:srgbClr val="FFFFFF"/>
                </a:solidFill>
              </a14:hiddenFill>
            </a:ext>
          </a:extLst>
        </p:spPr>
      </p:pic>
      <p:sp>
        <p:nvSpPr>
          <p:cNvPr id="5" name="Speech Bubble: Rectangle with Corners Rounded 4">
            <a:extLst>
              <a:ext uri="{FF2B5EF4-FFF2-40B4-BE49-F238E27FC236}">
                <a16:creationId xmlns:a16="http://schemas.microsoft.com/office/drawing/2014/main" id="{C9D6EFE8-62E2-CCC2-B25E-E69443B76FB8}"/>
              </a:ext>
            </a:extLst>
          </p:cNvPr>
          <p:cNvSpPr/>
          <p:nvPr/>
        </p:nvSpPr>
        <p:spPr bwMode="gray">
          <a:xfrm>
            <a:off x="8365147" y="2118257"/>
            <a:ext cx="2264228" cy="1132114"/>
          </a:xfrm>
          <a:prstGeom prst="wedgeRoundRectCallout">
            <a:avLst/>
          </a:prstGeom>
          <a:solidFill>
            <a:srgbClr val="86BC25"/>
          </a:solidFill>
          <a:ln w="19050" algn="ctr">
            <a:noFill/>
            <a:miter lim="800000"/>
            <a:headEnd/>
            <a:tailEnd/>
          </a:ln>
        </p:spPr>
        <p:txBody>
          <a:bodyPr wrap="square" lIns="88900" tIns="88900" rIns="88900" bIns="88900" rtlCol="0" anchor="ctr"/>
          <a:lstStyle/>
          <a:p>
            <a:pPr algn="ctr" eaLnBrk="1" fontAlgn="auto" hangingPunct="1">
              <a:lnSpc>
                <a:spcPct val="106000"/>
              </a:lnSpc>
              <a:spcBef>
                <a:spcPts val="0"/>
              </a:spcBef>
              <a:spcAft>
                <a:spcPts val="0"/>
              </a:spcAft>
              <a:buFont typeface="Wingdings 2" pitchFamily="18" charset="2"/>
              <a:buNone/>
            </a:pPr>
            <a:r>
              <a:rPr lang="es-MX" sz="1600" b="1">
                <a:solidFill>
                  <a:prstClr val="white"/>
                </a:solidFill>
                <a:latin typeface="Calibri Light"/>
              </a:rPr>
              <a:t>¿Y si no me gusta eso que llaman “azúcar”?</a:t>
            </a:r>
            <a:endParaRPr lang="en-US" sz="1600" b="1">
              <a:solidFill>
                <a:prstClr val="white"/>
              </a:solidFill>
              <a:latin typeface="Calibri Light"/>
            </a:endParaRPr>
          </a:p>
        </p:txBody>
      </p:sp>
      <p:pic>
        <p:nvPicPr>
          <p:cNvPr id="6" name="Picture 5" descr="A green grass on a black background&#10;&#10;Description automatically generated">
            <a:extLst>
              <a:ext uri="{FF2B5EF4-FFF2-40B4-BE49-F238E27FC236}">
                <a16:creationId xmlns:a16="http://schemas.microsoft.com/office/drawing/2014/main" id="{5A9EC5E6-4BF7-A536-D24D-FE0CDA964AFA}"/>
              </a:ext>
            </a:extLst>
          </p:cNvPr>
          <p:cNvPicPr>
            <a:picLocks noChangeAspect="1"/>
          </p:cNvPicPr>
          <p:nvPr/>
        </p:nvPicPr>
        <p:blipFill>
          <a:blip r:embed="rId4"/>
          <a:stretch>
            <a:fillRect/>
          </a:stretch>
        </p:blipFill>
        <p:spPr>
          <a:xfrm>
            <a:off x="671894" y="2153597"/>
            <a:ext cx="2588981" cy="1635844"/>
          </a:xfrm>
          <a:prstGeom prst="rect">
            <a:avLst/>
          </a:prstGeom>
        </p:spPr>
      </p:pic>
    </p:spTree>
    <p:extLst>
      <p:ext uri="{BB962C8B-B14F-4D97-AF65-F5344CB8AC3E}">
        <p14:creationId xmlns:p14="http://schemas.microsoft.com/office/powerpoint/2010/main" val="30731123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2" descr="Cuánto daño puede hacer el excederse un poco con la sal? Bastante |  American Heart Association">
            <a:extLst>
              <a:ext uri="{FF2B5EF4-FFF2-40B4-BE49-F238E27FC236}">
                <a16:creationId xmlns:a16="http://schemas.microsoft.com/office/drawing/2014/main" id="{5DFB8036-740B-0F27-6806-99369BED03A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4714" t="35857" r="53429" b="51437"/>
          <a:stretch/>
        </p:blipFill>
        <p:spPr bwMode="auto">
          <a:xfrm>
            <a:off x="8449817" y="4648964"/>
            <a:ext cx="635891" cy="511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Hormiga clipart. Dibujos animados descargar gratis. | Creazilla">
            <a:extLst>
              <a:ext uri="{FF2B5EF4-FFF2-40B4-BE49-F238E27FC236}">
                <a16:creationId xmlns:a16="http://schemas.microsoft.com/office/drawing/2014/main" id="{9F09BEF7-0DEC-1EF3-5741-32883B2B1F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1232807" y="2596418"/>
            <a:ext cx="2062844" cy="206284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Pila de Cubos de Azúcar PNG transparente - StickPNG">
            <a:extLst>
              <a:ext uri="{FF2B5EF4-FFF2-40B4-BE49-F238E27FC236}">
                <a16:creationId xmlns:a16="http://schemas.microsoft.com/office/drawing/2014/main" id="{4BB60692-C11A-DAAD-83FE-3E5DBDDAEF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56807" y="2509333"/>
            <a:ext cx="3665764" cy="36657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ormiga clipart. Dibujos animados descargar gratis. | Creazilla">
            <a:extLst>
              <a:ext uri="{FF2B5EF4-FFF2-40B4-BE49-F238E27FC236}">
                <a16:creationId xmlns:a16="http://schemas.microsoft.com/office/drawing/2014/main" id="{600D03CB-6D08-4493-211F-5008B56191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7301" y="4109532"/>
            <a:ext cx="1796143" cy="1796143"/>
          </a:xfrm>
          <a:prstGeom prst="rect">
            <a:avLst/>
          </a:prstGeom>
          <a:noFill/>
          <a:extLst>
            <a:ext uri="{909E8E84-426E-40DD-AFC4-6F175D3DCCD1}">
              <a14:hiddenFill xmlns:a14="http://schemas.microsoft.com/office/drawing/2010/main">
                <a:solidFill>
                  <a:srgbClr val="FFFFFF"/>
                </a:solidFill>
              </a14:hiddenFill>
            </a:ext>
          </a:extLst>
        </p:spPr>
      </p:pic>
      <p:sp>
        <p:nvSpPr>
          <p:cNvPr id="6" name="Title 6">
            <a:extLst>
              <a:ext uri="{FF2B5EF4-FFF2-40B4-BE49-F238E27FC236}">
                <a16:creationId xmlns:a16="http://schemas.microsoft.com/office/drawing/2014/main" id="{C2291231-3057-2844-89A8-235562FE9E68}"/>
              </a:ext>
            </a:extLst>
          </p:cNvPr>
          <p:cNvSpPr txBox="1">
            <a:spLocks/>
          </p:cNvSpPr>
          <p:nvPr/>
        </p:nvSpPr>
        <p:spPr bwMode="gray">
          <a:xfrm>
            <a:off x="469900" y="330926"/>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Pepita invitó a Lolita a probar la deliciosa azúcar</a:t>
            </a:r>
          </a:p>
        </p:txBody>
      </p:sp>
      <p:sp>
        <p:nvSpPr>
          <p:cNvPr id="7" name="Speech Bubble: Rectangle with Corners Rounded 6">
            <a:extLst>
              <a:ext uri="{FF2B5EF4-FFF2-40B4-BE49-F238E27FC236}">
                <a16:creationId xmlns:a16="http://schemas.microsoft.com/office/drawing/2014/main" id="{0B20AB78-1001-D098-6305-5A72AEFA4A83}"/>
              </a:ext>
            </a:extLst>
          </p:cNvPr>
          <p:cNvSpPr/>
          <p:nvPr/>
        </p:nvSpPr>
        <p:spPr bwMode="gray">
          <a:xfrm>
            <a:off x="9078686" y="3061783"/>
            <a:ext cx="2264228" cy="1132114"/>
          </a:xfrm>
          <a:prstGeom prst="wedgeRoundRectCallout">
            <a:avLst>
              <a:gd name="adj1" fmla="val -24679"/>
              <a:gd name="adj2" fmla="val 70192"/>
              <a:gd name="adj3" fmla="val 16667"/>
            </a:avLst>
          </a:prstGeom>
          <a:solidFill>
            <a:srgbClr val="86BC25"/>
          </a:solidFill>
          <a:ln w="19050" algn="ctr">
            <a:noFill/>
            <a:miter lim="800000"/>
            <a:headEnd/>
            <a:tailEnd/>
          </a:ln>
        </p:spPr>
        <p:txBody>
          <a:bodyPr wrap="square" lIns="88900" tIns="88900" rIns="88900" bIns="88900" rtlCol="0" anchor="ctr"/>
          <a:lstStyle/>
          <a:p>
            <a:pPr algn="ctr" eaLnBrk="1" fontAlgn="auto" hangingPunct="1">
              <a:lnSpc>
                <a:spcPct val="106000"/>
              </a:lnSpc>
              <a:spcBef>
                <a:spcPts val="0"/>
              </a:spcBef>
              <a:spcAft>
                <a:spcPts val="0"/>
              </a:spcAft>
              <a:buFont typeface="Wingdings 2" pitchFamily="18" charset="2"/>
              <a:buNone/>
            </a:pPr>
            <a:r>
              <a:rPr lang="es-MX" sz="1600" b="1">
                <a:solidFill>
                  <a:prstClr val="white"/>
                </a:solidFill>
                <a:latin typeface="Calibri Light"/>
              </a:rPr>
              <a:t>¡</a:t>
            </a:r>
            <a:r>
              <a:rPr lang="es-MX" sz="1600" b="1" err="1">
                <a:solidFill>
                  <a:prstClr val="white"/>
                </a:solidFill>
                <a:latin typeface="Calibri Light"/>
              </a:rPr>
              <a:t>Hey</a:t>
            </a:r>
            <a:r>
              <a:rPr lang="es-MX" sz="1600" b="1">
                <a:solidFill>
                  <a:prstClr val="white"/>
                </a:solidFill>
                <a:latin typeface="Calibri Light"/>
              </a:rPr>
              <a:t>! No es un sabor distinto, es igual que el de la sal.</a:t>
            </a:r>
            <a:endParaRPr lang="en-US" sz="1600" b="1">
              <a:solidFill>
                <a:prstClr val="white"/>
              </a:solidFill>
              <a:latin typeface="Calibri Light"/>
            </a:endParaRPr>
          </a:p>
        </p:txBody>
      </p:sp>
      <p:pic>
        <p:nvPicPr>
          <p:cNvPr id="8" name="Picture 7" descr="A pink bow on a black background&#10;&#10;Description automatically generated">
            <a:extLst>
              <a:ext uri="{FF2B5EF4-FFF2-40B4-BE49-F238E27FC236}">
                <a16:creationId xmlns:a16="http://schemas.microsoft.com/office/drawing/2014/main" id="{3B4A725D-54B8-9A83-D47B-B7FDC1076097}"/>
              </a:ext>
            </a:extLst>
          </p:cNvPr>
          <p:cNvPicPr>
            <a:picLocks noChangeAspect="1"/>
          </p:cNvPicPr>
          <p:nvPr/>
        </p:nvPicPr>
        <p:blipFill>
          <a:blip r:embed="rId5"/>
          <a:stretch>
            <a:fillRect/>
          </a:stretch>
        </p:blipFill>
        <p:spPr>
          <a:xfrm>
            <a:off x="2124023" y="3024407"/>
            <a:ext cx="655934" cy="646296"/>
          </a:xfrm>
          <a:prstGeom prst="rect">
            <a:avLst/>
          </a:prstGeom>
        </p:spPr>
      </p:pic>
      <p:pic>
        <p:nvPicPr>
          <p:cNvPr id="9" name="Picture 8" descr="A green grass on a black background&#10;&#10;Description automatically generated">
            <a:extLst>
              <a:ext uri="{FF2B5EF4-FFF2-40B4-BE49-F238E27FC236}">
                <a16:creationId xmlns:a16="http://schemas.microsoft.com/office/drawing/2014/main" id="{C0C98E25-DF71-2DF7-158F-356207028F75}"/>
              </a:ext>
            </a:extLst>
          </p:cNvPr>
          <p:cNvPicPr>
            <a:picLocks noChangeAspect="1"/>
          </p:cNvPicPr>
          <p:nvPr/>
        </p:nvPicPr>
        <p:blipFill>
          <a:blip r:embed="rId6"/>
          <a:stretch>
            <a:fillRect/>
          </a:stretch>
        </p:blipFill>
        <p:spPr>
          <a:xfrm>
            <a:off x="9702801" y="1519776"/>
            <a:ext cx="2167470" cy="1369513"/>
          </a:xfrm>
          <a:prstGeom prst="rect">
            <a:avLst/>
          </a:prstGeom>
        </p:spPr>
      </p:pic>
    </p:spTree>
    <p:extLst>
      <p:ext uri="{BB962C8B-B14F-4D97-AF65-F5344CB8AC3E}">
        <p14:creationId xmlns:p14="http://schemas.microsoft.com/office/powerpoint/2010/main" val="6112390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2" descr="Cuánto daño puede hacer el excederse un poco con la sal? Bastante |  American Heart Association">
            <a:extLst>
              <a:ext uri="{FF2B5EF4-FFF2-40B4-BE49-F238E27FC236}">
                <a16:creationId xmlns:a16="http://schemas.microsoft.com/office/drawing/2014/main" id="{3EFBA248-A4A0-9589-13AB-D5F2985F0CD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4714" t="35857" r="53429" b="51437"/>
          <a:stretch/>
        </p:blipFill>
        <p:spPr bwMode="auto">
          <a:xfrm>
            <a:off x="8448760" y="4747286"/>
            <a:ext cx="635891" cy="511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Hormiga clipart. Dibujos animados descargar gratis. | Creazilla">
            <a:extLst>
              <a:ext uri="{FF2B5EF4-FFF2-40B4-BE49-F238E27FC236}">
                <a16:creationId xmlns:a16="http://schemas.microsoft.com/office/drawing/2014/main" id="{D4662FAA-C910-A000-0472-E591AD0936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5913663" y="2755971"/>
            <a:ext cx="2062844" cy="206284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Pila de Cubos de Azúcar PNG transparente - StickPNG">
            <a:extLst>
              <a:ext uri="{FF2B5EF4-FFF2-40B4-BE49-F238E27FC236}">
                <a16:creationId xmlns:a16="http://schemas.microsoft.com/office/drawing/2014/main" id="{6FD9B435-C289-4432-EEB3-553CA43031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605" y="2251148"/>
            <a:ext cx="3665764" cy="36657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ormiga clipart. Dibujos animados descargar gratis. | Creazilla">
            <a:extLst>
              <a:ext uri="{FF2B5EF4-FFF2-40B4-BE49-F238E27FC236}">
                <a16:creationId xmlns:a16="http://schemas.microsoft.com/office/drawing/2014/main" id="{F024841D-079D-AA8C-EA3F-DFB7A36BE5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7301" y="4207854"/>
            <a:ext cx="1796143" cy="1796143"/>
          </a:xfrm>
          <a:prstGeom prst="rect">
            <a:avLst/>
          </a:prstGeom>
          <a:noFill/>
          <a:extLst>
            <a:ext uri="{909E8E84-426E-40DD-AFC4-6F175D3DCCD1}">
              <a14:hiddenFill xmlns:a14="http://schemas.microsoft.com/office/drawing/2010/main">
                <a:solidFill>
                  <a:srgbClr val="FFFFFF"/>
                </a:solidFill>
              </a14:hiddenFill>
            </a:ext>
          </a:extLst>
        </p:spPr>
      </p:pic>
      <p:sp>
        <p:nvSpPr>
          <p:cNvPr id="6" name="Title 6">
            <a:extLst>
              <a:ext uri="{FF2B5EF4-FFF2-40B4-BE49-F238E27FC236}">
                <a16:creationId xmlns:a16="http://schemas.microsoft.com/office/drawing/2014/main" id="{832CEE85-9893-88AF-08C9-044577FBDD64}"/>
              </a:ext>
            </a:extLst>
          </p:cNvPr>
          <p:cNvSpPr txBox="1">
            <a:spLocks/>
          </p:cNvSpPr>
          <p:nvPr/>
        </p:nvSpPr>
        <p:spPr bwMode="gray">
          <a:xfrm>
            <a:off x="469900" y="330926"/>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Pepita, incrédula se apresuró a ver qué estaba comiendo Lolita…</a:t>
            </a:r>
          </a:p>
        </p:txBody>
      </p:sp>
      <p:sp>
        <p:nvSpPr>
          <p:cNvPr id="7" name="Speech Bubble: Rectangle with Corners Rounded 6">
            <a:extLst>
              <a:ext uri="{FF2B5EF4-FFF2-40B4-BE49-F238E27FC236}">
                <a16:creationId xmlns:a16="http://schemas.microsoft.com/office/drawing/2014/main" id="{AAE1FD9B-0845-4B4E-65CA-B05228046B92}"/>
              </a:ext>
            </a:extLst>
          </p:cNvPr>
          <p:cNvSpPr/>
          <p:nvPr/>
        </p:nvSpPr>
        <p:spPr bwMode="gray">
          <a:xfrm>
            <a:off x="6694715" y="1736798"/>
            <a:ext cx="2264228" cy="1132114"/>
          </a:xfrm>
          <a:prstGeom prst="wedgeRoundRectCallout">
            <a:avLst>
              <a:gd name="adj1" fmla="val 21956"/>
              <a:gd name="adj2" fmla="val 73077"/>
              <a:gd name="adj3" fmla="val 16667"/>
            </a:avLst>
          </a:prstGeom>
          <a:solidFill>
            <a:srgbClr val="007CB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s-MX" sz="1600" b="1" i="0" u="none" strike="noStrike" kern="0" cap="none" spc="0" normalizeH="0" baseline="0" noProof="0">
                <a:ln>
                  <a:noFill/>
                </a:ln>
                <a:solidFill>
                  <a:prstClr val="white"/>
                </a:solidFill>
                <a:effectLst/>
                <a:uLnTx/>
                <a:uFillTx/>
                <a:latin typeface="Calibri Light"/>
              </a:rPr>
              <a:t>A ver… déjame revisar…</a:t>
            </a:r>
            <a:endParaRPr kumimoji="0" lang="en-US" sz="1600" b="1" i="0" u="none" strike="noStrike" kern="0" cap="none" spc="0" normalizeH="0" baseline="0" noProof="0">
              <a:ln>
                <a:noFill/>
              </a:ln>
              <a:solidFill>
                <a:prstClr val="white"/>
              </a:solidFill>
              <a:effectLst/>
              <a:uLnTx/>
              <a:uFillTx/>
              <a:latin typeface="Calibri Light"/>
            </a:endParaRPr>
          </a:p>
        </p:txBody>
      </p:sp>
      <p:pic>
        <p:nvPicPr>
          <p:cNvPr id="8" name="Picture 7" descr="A pink bow on a black background&#10;&#10;Description automatically generated">
            <a:extLst>
              <a:ext uri="{FF2B5EF4-FFF2-40B4-BE49-F238E27FC236}">
                <a16:creationId xmlns:a16="http://schemas.microsoft.com/office/drawing/2014/main" id="{9F3A17AF-13BC-06ED-7DAA-E85DB484DF6A}"/>
              </a:ext>
            </a:extLst>
          </p:cNvPr>
          <p:cNvPicPr>
            <a:picLocks noChangeAspect="1"/>
          </p:cNvPicPr>
          <p:nvPr/>
        </p:nvPicPr>
        <p:blipFill>
          <a:blip r:embed="rId5"/>
          <a:stretch>
            <a:fillRect/>
          </a:stretch>
        </p:blipFill>
        <p:spPr>
          <a:xfrm>
            <a:off x="6884473" y="3177656"/>
            <a:ext cx="630752" cy="621484"/>
          </a:xfrm>
          <a:prstGeom prst="rect">
            <a:avLst/>
          </a:prstGeom>
        </p:spPr>
      </p:pic>
      <p:pic>
        <p:nvPicPr>
          <p:cNvPr id="9" name="Picture 8" descr="A green grass on a black background&#10;&#10;Description automatically generated">
            <a:extLst>
              <a:ext uri="{FF2B5EF4-FFF2-40B4-BE49-F238E27FC236}">
                <a16:creationId xmlns:a16="http://schemas.microsoft.com/office/drawing/2014/main" id="{C764B5CE-1ED7-3B87-15DA-CFD947A39120}"/>
              </a:ext>
            </a:extLst>
          </p:cNvPr>
          <p:cNvPicPr>
            <a:picLocks noChangeAspect="1"/>
          </p:cNvPicPr>
          <p:nvPr/>
        </p:nvPicPr>
        <p:blipFill>
          <a:blip r:embed="rId6"/>
          <a:stretch>
            <a:fillRect/>
          </a:stretch>
        </p:blipFill>
        <p:spPr>
          <a:xfrm>
            <a:off x="9702801" y="1618098"/>
            <a:ext cx="2167470" cy="1369513"/>
          </a:xfrm>
          <a:prstGeom prst="rect">
            <a:avLst/>
          </a:prstGeom>
        </p:spPr>
      </p:pic>
    </p:spTree>
    <p:extLst>
      <p:ext uri="{BB962C8B-B14F-4D97-AF65-F5344CB8AC3E}">
        <p14:creationId xmlns:p14="http://schemas.microsoft.com/office/powerpoint/2010/main" val="465310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2" descr="Cuánto daño puede hacer el excederse un poco con la sal? Bastante |  American Heart Association">
            <a:extLst>
              <a:ext uri="{FF2B5EF4-FFF2-40B4-BE49-F238E27FC236}">
                <a16:creationId xmlns:a16="http://schemas.microsoft.com/office/drawing/2014/main" id="{52AA99FC-AAC8-7714-80B4-9838614E3CB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4714" t="35857" r="53429" b="51437"/>
          <a:stretch/>
        </p:blipFill>
        <p:spPr bwMode="auto">
          <a:xfrm>
            <a:off x="8223674" y="4658796"/>
            <a:ext cx="635891" cy="511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Hormiga clipart. Dibujos animados descargar gratis. | Creazilla">
            <a:extLst>
              <a:ext uri="{FF2B5EF4-FFF2-40B4-BE49-F238E27FC236}">
                <a16:creationId xmlns:a16="http://schemas.microsoft.com/office/drawing/2014/main" id="{844DFCB1-31E3-CDE7-7231-C1B63CDA9D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5687520" y="2667481"/>
            <a:ext cx="2062844" cy="206284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Pila de Cubos de Azúcar PNG transparente - StickPNG">
            <a:extLst>
              <a:ext uri="{FF2B5EF4-FFF2-40B4-BE49-F238E27FC236}">
                <a16:creationId xmlns:a16="http://schemas.microsoft.com/office/drawing/2014/main" id="{CACB2928-D23B-12C4-791D-DF47909E5A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605" y="2162658"/>
            <a:ext cx="3665764" cy="36657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ormiga clipart. Dibujos animados descargar gratis. | Creazilla">
            <a:extLst>
              <a:ext uri="{FF2B5EF4-FFF2-40B4-BE49-F238E27FC236}">
                <a16:creationId xmlns:a16="http://schemas.microsoft.com/office/drawing/2014/main" id="{232D9B18-C8FA-90F9-CEA1-184BA17801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51158" y="4119364"/>
            <a:ext cx="1796143" cy="1796143"/>
          </a:xfrm>
          <a:prstGeom prst="rect">
            <a:avLst/>
          </a:prstGeom>
          <a:noFill/>
          <a:extLst>
            <a:ext uri="{909E8E84-426E-40DD-AFC4-6F175D3DCCD1}">
              <a14:hiddenFill xmlns:a14="http://schemas.microsoft.com/office/drawing/2010/main">
                <a:solidFill>
                  <a:srgbClr val="FFFFFF"/>
                </a:solidFill>
              </a14:hiddenFill>
            </a:ext>
          </a:extLst>
        </p:spPr>
      </p:pic>
      <p:sp>
        <p:nvSpPr>
          <p:cNvPr id="6" name="Title 6">
            <a:extLst>
              <a:ext uri="{FF2B5EF4-FFF2-40B4-BE49-F238E27FC236}">
                <a16:creationId xmlns:a16="http://schemas.microsoft.com/office/drawing/2014/main" id="{977B006A-373D-BFA4-EFFF-1E7666E7A922}"/>
              </a:ext>
            </a:extLst>
          </p:cNvPr>
          <p:cNvSpPr txBox="1">
            <a:spLocks/>
          </p:cNvSpPr>
          <p:nvPr/>
        </p:nvSpPr>
        <p:spPr bwMode="gray">
          <a:xfrm>
            <a:off x="469900" y="330926"/>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Pepita, incrédula se apresuró a ver qué estaba comiendo Lolita…</a:t>
            </a:r>
          </a:p>
        </p:txBody>
      </p:sp>
      <p:sp>
        <p:nvSpPr>
          <p:cNvPr id="7" name="Speech Bubble: Rectangle with Corners Rounded 6">
            <a:extLst>
              <a:ext uri="{FF2B5EF4-FFF2-40B4-BE49-F238E27FC236}">
                <a16:creationId xmlns:a16="http://schemas.microsoft.com/office/drawing/2014/main" id="{2ED8C1B0-7525-1A97-83AE-AB0FB100A673}"/>
              </a:ext>
            </a:extLst>
          </p:cNvPr>
          <p:cNvSpPr/>
          <p:nvPr/>
        </p:nvSpPr>
        <p:spPr bwMode="gray">
          <a:xfrm>
            <a:off x="6468572" y="1648308"/>
            <a:ext cx="2264228" cy="1132114"/>
          </a:xfrm>
          <a:prstGeom prst="wedgeRoundRectCallout">
            <a:avLst>
              <a:gd name="adj1" fmla="val 21956"/>
              <a:gd name="adj2" fmla="val 73077"/>
              <a:gd name="adj3" fmla="val 16667"/>
            </a:avLst>
          </a:prstGeom>
          <a:solidFill>
            <a:srgbClr val="007CB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s-MX" sz="1600" b="1" i="0" u="none" strike="noStrike" kern="0" cap="none" spc="0" normalizeH="0" baseline="0" noProof="0">
                <a:ln>
                  <a:noFill/>
                </a:ln>
                <a:solidFill>
                  <a:prstClr val="white"/>
                </a:solidFill>
                <a:effectLst/>
                <a:uLnTx/>
                <a:uFillTx/>
                <a:latin typeface="Calibri Light"/>
              </a:rPr>
              <a:t>¡Suelta la sal de tu boca!</a:t>
            </a:r>
            <a:endParaRPr kumimoji="0" lang="en-US" sz="1600" b="1" i="0" u="none" strike="noStrike" kern="0" cap="none" spc="0" normalizeH="0" baseline="0" noProof="0">
              <a:ln>
                <a:noFill/>
              </a:ln>
              <a:solidFill>
                <a:prstClr val="white"/>
              </a:solidFill>
              <a:effectLst/>
              <a:uLnTx/>
              <a:uFillTx/>
              <a:latin typeface="Calibri Light"/>
            </a:endParaRPr>
          </a:p>
        </p:txBody>
      </p:sp>
      <p:pic>
        <p:nvPicPr>
          <p:cNvPr id="8" name="Picture 7" descr="A pink bow on a black background&#10;&#10;Description automatically generated">
            <a:extLst>
              <a:ext uri="{FF2B5EF4-FFF2-40B4-BE49-F238E27FC236}">
                <a16:creationId xmlns:a16="http://schemas.microsoft.com/office/drawing/2014/main" id="{CA95C1B2-2C76-444D-EB19-365798785FA7}"/>
              </a:ext>
            </a:extLst>
          </p:cNvPr>
          <p:cNvPicPr>
            <a:picLocks noChangeAspect="1"/>
          </p:cNvPicPr>
          <p:nvPr/>
        </p:nvPicPr>
        <p:blipFill>
          <a:blip r:embed="rId5"/>
          <a:stretch>
            <a:fillRect/>
          </a:stretch>
        </p:blipFill>
        <p:spPr>
          <a:xfrm>
            <a:off x="6658330" y="3089166"/>
            <a:ext cx="630752" cy="621484"/>
          </a:xfrm>
          <a:prstGeom prst="rect">
            <a:avLst/>
          </a:prstGeom>
        </p:spPr>
      </p:pic>
      <p:pic>
        <p:nvPicPr>
          <p:cNvPr id="9" name="Picture 8" descr="A green grass on a black background&#10;&#10;Description automatically generated">
            <a:extLst>
              <a:ext uri="{FF2B5EF4-FFF2-40B4-BE49-F238E27FC236}">
                <a16:creationId xmlns:a16="http://schemas.microsoft.com/office/drawing/2014/main" id="{F715A0AD-6AE7-12D0-068E-10CB02CF2F25}"/>
              </a:ext>
            </a:extLst>
          </p:cNvPr>
          <p:cNvPicPr>
            <a:picLocks noChangeAspect="1"/>
          </p:cNvPicPr>
          <p:nvPr/>
        </p:nvPicPr>
        <p:blipFill>
          <a:blip r:embed="rId6"/>
          <a:stretch>
            <a:fillRect/>
          </a:stretch>
        </p:blipFill>
        <p:spPr>
          <a:xfrm>
            <a:off x="9476658" y="1529608"/>
            <a:ext cx="2167470" cy="1369513"/>
          </a:xfrm>
          <a:prstGeom prst="rect">
            <a:avLst/>
          </a:prstGeom>
        </p:spPr>
      </p:pic>
    </p:spTree>
    <p:extLst>
      <p:ext uri="{BB962C8B-B14F-4D97-AF65-F5344CB8AC3E}">
        <p14:creationId xmlns:p14="http://schemas.microsoft.com/office/powerpoint/2010/main" val="37839462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583EA4F-13B7-67BE-6FE9-8D62D060D8CC}"/>
              </a:ext>
            </a:extLst>
          </p:cNvPr>
          <p:cNvSpPr/>
          <p:nvPr/>
        </p:nvSpPr>
        <p:spPr bwMode="gray">
          <a:xfrm>
            <a:off x="-1" y="2013857"/>
            <a:ext cx="12192001" cy="2579914"/>
          </a:xfrm>
          <a:prstGeom prst="rect">
            <a:avLst/>
          </a:prstGeom>
          <a:solidFill>
            <a:srgbClr val="0D839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Light"/>
            </a:endParaRPr>
          </a:p>
        </p:txBody>
      </p:sp>
      <p:sp>
        <p:nvSpPr>
          <p:cNvPr id="3" name="Title 6">
            <a:extLst>
              <a:ext uri="{FF2B5EF4-FFF2-40B4-BE49-F238E27FC236}">
                <a16:creationId xmlns:a16="http://schemas.microsoft.com/office/drawing/2014/main" id="{48AA2F8A-F0D0-9615-1B51-E3014B023C19}"/>
              </a:ext>
            </a:extLst>
          </p:cNvPr>
          <p:cNvSpPr txBox="1">
            <a:spLocks/>
          </p:cNvSpPr>
          <p:nvPr/>
        </p:nvSpPr>
        <p:spPr bwMode="gray">
          <a:xfrm>
            <a:off x="469900" y="330926"/>
            <a:ext cx="1125220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Moraleja…</a:t>
            </a:r>
          </a:p>
        </p:txBody>
      </p:sp>
      <p:sp>
        <p:nvSpPr>
          <p:cNvPr id="4" name="Rectangle 3">
            <a:extLst>
              <a:ext uri="{FF2B5EF4-FFF2-40B4-BE49-F238E27FC236}">
                <a16:creationId xmlns:a16="http://schemas.microsoft.com/office/drawing/2014/main" id="{5A2508FB-0B1F-9E71-BAB2-9E32E09C7B23}"/>
              </a:ext>
            </a:extLst>
          </p:cNvPr>
          <p:cNvSpPr/>
          <p:nvPr/>
        </p:nvSpPr>
        <p:spPr bwMode="gray">
          <a:xfrm>
            <a:off x="870857" y="2013857"/>
            <a:ext cx="10689772" cy="2579914"/>
          </a:xfrm>
          <a:prstGeom prst="rect">
            <a:avLst/>
          </a:prstGeom>
          <a:noFill/>
          <a:ln w="19050" algn="ctr">
            <a:noFill/>
            <a:miter lim="800000"/>
            <a:headEnd/>
            <a:tailEnd/>
          </a:ln>
        </p:spPr>
        <p:txBody>
          <a:bodyPr wrap="square" lIns="88900" tIns="88900" rIns="88900" bIns="88900" rtlCol="0" anchor="ctr"/>
          <a:lstStyle/>
          <a:p>
            <a:pPr algn="ctr" eaLnBrk="1" fontAlgn="auto" hangingPunct="1">
              <a:lnSpc>
                <a:spcPct val="106000"/>
              </a:lnSpc>
              <a:spcBef>
                <a:spcPts val="0"/>
              </a:spcBef>
              <a:spcAft>
                <a:spcPts val="0"/>
              </a:spcAft>
              <a:buFont typeface="Wingdings 2" pitchFamily="18" charset="2"/>
              <a:buNone/>
            </a:pPr>
            <a:r>
              <a:rPr lang="es-MX" sz="3200" b="1">
                <a:solidFill>
                  <a:prstClr val="white"/>
                </a:solidFill>
                <a:latin typeface="Calibri Light"/>
              </a:rPr>
              <a:t>Si no te deshaces de aquello a lo que te aferras sin que te haga feliz, no podrás disfrutar de lo nuevo y darle una oportunidad para mejorar</a:t>
            </a:r>
            <a:endParaRPr lang="en-US" sz="3200" b="1">
              <a:solidFill>
                <a:prstClr val="white"/>
              </a:solidFill>
              <a:latin typeface="Calibri Light"/>
            </a:endParaRPr>
          </a:p>
        </p:txBody>
      </p:sp>
    </p:spTree>
    <p:extLst>
      <p:ext uri="{BB962C8B-B14F-4D97-AF65-F5344CB8AC3E}">
        <p14:creationId xmlns:p14="http://schemas.microsoft.com/office/powerpoint/2010/main" val="27566984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54C3B7C-A280-23C5-1EF8-1BD305B94C72}"/>
              </a:ext>
            </a:extLst>
          </p:cNvPr>
          <p:cNvSpPr/>
          <p:nvPr/>
        </p:nvSpPr>
        <p:spPr bwMode="gray">
          <a:xfrm>
            <a:off x="-1" y="2013857"/>
            <a:ext cx="12192001" cy="2579914"/>
          </a:xfrm>
          <a:prstGeom prst="rect">
            <a:avLst/>
          </a:prstGeom>
          <a:solidFill>
            <a:srgbClr val="86BC25"/>
          </a:solidFill>
          <a:ln w="19050" algn="ctr">
            <a:noFill/>
            <a:miter lim="800000"/>
            <a:headEnd/>
            <a:tailEnd/>
          </a:ln>
        </p:spPr>
        <p:txBody>
          <a:bodyPr wrap="square" lIns="88900" tIns="88900" rIns="88900" bIns="88900" rtlCol="0" anchor="ctr"/>
          <a:lstStyle/>
          <a:p>
            <a:pPr algn="ctr" eaLnBrk="1" fontAlgn="auto" hangingPunct="1">
              <a:lnSpc>
                <a:spcPct val="106000"/>
              </a:lnSpc>
              <a:spcBef>
                <a:spcPts val="0"/>
              </a:spcBef>
              <a:spcAft>
                <a:spcPts val="0"/>
              </a:spcAft>
              <a:buFont typeface="Wingdings 2" pitchFamily="18" charset="2"/>
              <a:buNone/>
            </a:pPr>
            <a:endParaRPr lang="en-US" sz="1600" b="1">
              <a:solidFill>
                <a:prstClr val="white"/>
              </a:solidFill>
              <a:latin typeface="Calibri Light"/>
            </a:endParaRPr>
          </a:p>
        </p:txBody>
      </p:sp>
      <p:sp>
        <p:nvSpPr>
          <p:cNvPr id="3" name="Rectangle 2">
            <a:extLst>
              <a:ext uri="{FF2B5EF4-FFF2-40B4-BE49-F238E27FC236}">
                <a16:creationId xmlns:a16="http://schemas.microsoft.com/office/drawing/2014/main" id="{A678A0AA-80D5-8EB5-8DF7-6A40B40B0FDA}"/>
              </a:ext>
            </a:extLst>
          </p:cNvPr>
          <p:cNvSpPr/>
          <p:nvPr/>
        </p:nvSpPr>
        <p:spPr bwMode="gray">
          <a:xfrm>
            <a:off x="957943" y="2013857"/>
            <a:ext cx="10602686" cy="2579914"/>
          </a:xfrm>
          <a:prstGeom prst="rect">
            <a:avLst/>
          </a:prstGeom>
          <a:noFill/>
          <a:ln w="19050" algn="ctr">
            <a:noFill/>
            <a:miter lim="800000"/>
            <a:headEnd/>
            <a:tailEnd/>
          </a:ln>
        </p:spPr>
        <p:txBody>
          <a:bodyPr wrap="square" lIns="88900" tIns="88900" rIns="88900" bIns="88900" rtlCol="0" anchor="ctr"/>
          <a:lstStyle/>
          <a:p>
            <a:pPr algn="ctr" eaLnBrk="1" fontAlgn="auto" hangingPunct="1">
              <a:lnSpc>
                <a:spcPct val="106000"/>
              </a:lnSpc>
              <a:spcBef>
                <a:spcPts val="0"/>
              </a:spcBef>
              <a:spcAft>
                <a:spcPts val="0"/>
              </a:spcAft>
              <a:buFont typeface="Wingdings 2" pitchFamily="18" charset="2"/>
              <a:buNone/>
            </a:pPr>
            <a:r>
              <a:rPr lang="es-MX" sz="3200" b="1">
                <a:solidFill>
                  <a:prstClr val="white"/>
                </a:solidFill>
                <a:latin typeface="Calibri Light"/>
              </a:rPr>
              <a:t>Momento de reflexión…</a:t>
            </a:r>
            <a:endParaRPr lang="en-US" sz="3200" b="1">
              <a:solidFill>
                <a:prstClr val="white"/>
              </a:solidFill>
              <a:latin typeface="Calibri Light"/>
            </a:endParaRPr>
          </a:p>
        </p:txBody>
      </p:sp>
    </p:spTree>
    <p:extLst>
      <p:ext uri="{BB962C8B-B14F-4D97-AF65-F5344CB8AC3E}">
        <p14:creationId xmlns:p14="http://schemas.microsoft.com/office/powerpoint/2010/main" val="21803082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801363DF-3FC1-2E17-2780-E06DC9A77449}"/>
              </a:ext>
            </a:extLst>
          </p:cNvPr>
          <p:cNvSpPr txBox="1">
            <a:spLocks/>
          </p:cNvSpPr>
          <p:nvPr/>
        </p:nvSpPr>
        <p:spPr bwMode="gray">
          <a:xfrm>
            <a:off x="501651" y="317500"/>
            <a:ext cx="11162349"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MX"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Por qué es importante tener este momento como equipo?</a:t>
            </a:r>
            <a:endPar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endParaRPr>
          </a:p>
        </p:txBody>
      </p:sp>
      <p:sp>
        <p:nvSpPr>
          <p:cNvPr id="3" name="Oval 2">
            <a:extLst>
              <a:ext uri="{FF2B5EF4-FFF2-40B4-BE49-F238E27FC236}">
                <a16:creationId xmlns:a16="http://schemas.microsoft.com/office/drawing/2014/main" id="{90D853A3-4DB6-D747-080D-96DA47BEC1AC}"/>
              </a:ext>
            </a:extLst>
          </p:cNvPr>
          <p:cNvSpPr/>
          <p:nvPr/>
        </p:nvSpPr>
        <p:spPr bwMode="gray">
          <a:xfrm>
            <a:off x="501651" y="1475477"/>
            <a:ext cx="4320000" cy="4320000"/>
          </a:xfrm>
          <a:prstGeom prst="ellipse">
            <a:avLst/>
          </a:prstGeom>
          <a:solidFill>
            <a:srgbClr val="86BC25"/>
          </a:solidFill>
          <a:ln w="19050" algn="ctr">
            <a:noFill/>
            <a:miter lim="800000"/>
            <a:headEnd/>
            <a:tailEnd/>
          </a:ln>
        </p:spPr>
        <p:txBody>
          <a:bodyPr wrap="square" lIns="88900" tIns="88900" rIns="88900" bIns="88900" rtlCol="0" anchor="ctr"/>
          <a:lstStyle/>
          <a:p>
            <a:pPr eaLnBrk="1" fontAlgn="auto" hangingPunct="1">
              <a:lnSpc>
                <a:spcPct val="106000"/>
              </a:lnSpc>
              <a:spcBef>
                <a:spcPts val="0"/>
              </a:spcBef>
              <a:spcAft>
                <a:spcPts val="0"/>
              </a:spcAft>
              <a:buFont typeface="Wingdings 2" pitchFamily="18" charset="2"/>
              <a:buNone/>
            </a:pPr>
            <a:r>
              <a:rPr lang="es-MX" sz="2400" b="1">
                <a:solidFill>
                  <a:prstClr val="white"/>
                </a:solidFill>
                <a:latin typeface="Calibri Light"/>
              </a:rPr>
              <a:t>Tener una pausa, para…</a:t>
            </a:r>
            <a:endParaRPr lang="en-US" sz="2400" b="1">
              <a:solidFill>
                <a:prstClr val="white"/>
              </a:solidFill>
              <a:latin typeface="Calibri Light"/>
            </a:endParaRPr>
          </a:p>
        </p:txBody>
      </p:sp>
      <p:sp>
        <p:nvSpPr>
          <p:cNvPr id="4" name="Oval 3">
            <a:extLst>
              <a:ext uri="{FF2B5EF4-FFF2-40B4-BE49-F238E27FC236}">
                <a16:creationId xmlns:a16="http://schemas.microsoft.com/office/drawing/2014/main" id="{239D5B67-78DF-5D48-F372-8187A0326C74}"/>
              </a:ext>
            </a:extLst>
          </p:cNvPr>
          <p:cNvSpPr/>
          <p:nvPr/>
        </p:nvSpPr>
        <p:spPr bwMode="gray">
          <a:xfrm>
            <a:off x="6396789" y="1132908"/>
            <a:ext cx="2160000" cy="2160000"/>
          </a:xfrm>
          <a:prstGeom prst="ellipse">
            <a:avLst/>
          </a:prstGeom>
          <a:solidFill>
            <a:srgbClr val="00A3E0"/>
          </a:solidFill>
          <a:ln w="19050" algn="ctr">
            <a:noFill/>
            <a:miter lim="800000"/>
            <a:headEnd/>
            <a:tailEnd/>
          </a:ln>
        </p:spPr>
        <p:txBody>
          <a:bodyPr wrap="square" lIns="88900" tIns="88900" rIns="88900" bIns="88900" rtlCol="0" anchor="ctr"/>
          <a:lstStyle/>
          <a:p>
            <a:pPr eaLnBrk="1" fontAlgn="auto" hangingPunct="1">
              <a:lnSpc>
                <a:spcPct val="106000"/>
              </a:lnSpc>
              <a:spcBef>
                <a:spcPts val="0"/>
              </a:spcBef>
              <a:spcAft>
                <a:spcPts val="0"/>
              </a:spcAft>
              <a:buFont typeface="Wingdings 2" pitchFamily="18" charset="2"/>
              <a:buNone/>
            </a:pPr>
            <a:r>
              <a:rPr lang="es-MX" sz="1600" b="1">
                <a:solidFill>
                  <a:prstClr val="white"/>
                </a:solidFill>
                <a:latin typeface="Calibri Light"/>
              </a:rPr>
              <a:t>Reflexionar sobre las cosas buenas del año en cuestiones laborales</a:t>
            </a:r>
            <a:endParaRPr lang="en-US" sz="1600" b="1">
              <a:solidFill>
                <a:prstClr val="white"/>
              </a:solidFill>
              <a:latin typeface="Calibri Light"/>
            </a:endParaRPr>
          </a:p>
        </p:txBody>
      </p:sp>
      <p:sp>
        <p:nvSpPr>
          <p:cNvPr id="5" name="Oval 4">
            <a:extLst>
              <a:ext uri="{FF2B5EF4-FFF2-40B4-BE49-F238E27FC236}">
                <a16:creationId xmlns:a16="http://schemas.microsoft.com/office/drawing/2014/main" id="{484AE04E-5110-9DDC-7BBF-A5FC5E595F22}"/>
              </a:ext>
            </a:extLst>
          </p:cNvPr>
          <p:cNvSpPr/>
          <p:nvPr/>
        </p:nvSpPr>
        <p:spPr bwMode="gray">
          <a:xfrm>
            <a:off x="6396789" y="4370402"/>
            <a:ext cx="2160000" cy="2160000"/>
          </a:xfrm>
          <a:prstGeom prst="ellipse">
            <a:avLst/>
          </a:prstGeom>
          <a:solidFill>
            <a:srgbClr val="0097A9"/>
          </a:solidFill>
          <a:ln w="19050" algn="ctr">
            <a:noFill/>
            <a:miter lim="800000"/>
            <a:headEnd/>
            <a:tailEnd/>
          </a:ln>
        </p:spPr>
        <p:txBody>
          <a:bodyPr wrap="square" lIns="88900" tIns="88900" rIns="88900" bIns="88900" rtlCol="0" anchor="ctr"/>
          <a:lstStyle/>
          <a:p>
            <a:pPr eaLnBrk="1" fontAlgn="auto" hangingPunct="1">
              <a:lnSpc>
                <a:spcPct val="106000"/>
              </a:lnSpc>
              <a:spcBef>
                <a:spcPts val="0"/>
              </a:spcBef>
              <a:spcAft>
                <a:spcPts val="0"/>
              </a:spcAft>
              <a:buFont typeface="Wingdings 2" pitchFamily="18" charset="2"/>
              <a:buNone/>
            </a:pPr>
            <a:r>
              <a:rPr lang="es-MX" sz="1600" b="1">
                <a:solidFill>
                  <a:prstClr val="white"/>
                </a:solidFill>
                <a:latin typeface="Calibri Light"/>
              </a:rPr>
              <a:t>Establecer objetivos del próximo año</a:t>
            </a:r>
            <a:endParaRPr lang="en-US" sz="1600" b="1">
              <a:solidFill>
                <a:prstClr val="white"/>
              </a:solidFill>
              <a:latin typeface="Calibri Light"/>
            </a:endParaRPr>
          </a:p>
        </p:txBody>
      </p:sp>
      <p:pic>
        <p:nvPicPr>
          <p:cNvPr id="6" name="Picture 4" descr="Download Executive Png - Empresario Pensando Png PNG Image with No  Background - PNGkey.com">
            <a:extLst>
              <a:ext uri="{FF2B5EF4-FFF2-40B4-BE49-F238E27FC236}">
                <a16:creationId xmlns:a16="http://schemas.microsoft.com/office/drawing/2014/main" id="{8809D4AB-6E83-F900-92BB-F762057149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26608" y="2067844"/>
            <a:ext cx="3737392" cy="4605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45403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B93093-19C5-FCD3-7E9D-5C05A558464A}"/>
              </a:ext>
            </a:extLst>
          </p:cNvPr>
          <p:cNvSpPr>
            <a:spLocks noGrp="1"/>
          </p:cNvSpPr>
          <p:nvPr>
            <p:ph type="body" sz="quarter" idx="13"/>
          </p:nvPr>
        </p:nvSpPr>
        <p:spPr/>
        <p:txBody>
          <a:bodyPr/>
          <a:lstStyle/>
          <a:p>
            <a:endParaRPr lang="en-US"/>
          </a:p>
        </p:txBody>
      </p:sp>
      <p:sp>
        <p:nvSpPr>
          <p:cNvPr id="3" name="Title 2">
            <a:extLst>
              <a:ext uri="{FF2B5EF4-FFF2-40B4-BE49-F238E27FC236}">
                <a16:creationId xmlns:a16="http://schemas.microsoft.com/office/drawing/2014/main" id="{6D1C3DE4-FE01-FD0D-C9B3-E391B7F0BD60}"/>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0F3AC2F4-43F7-6153-ADE6-1081D3E0FBE8}"/>
              </a:ext>
            </a:extLst>
          </p:cNvPr>
          <p:cNvSpPr>
            <a:spLocks noGrp="1"/>
          </p:cNvSpPr>
          <p:nvPr>
            <p:ph idx="1"/>
          </p:nvPr>
        </p:nvSpPr>
        <p:spPr/>
        <p:txBody>
          <a:bodyPr/>
          <a:lstStyle/>
          <a:p>
            <a:endParaRPr lang="en-US"/>
          </a:p>
        </p:txBody>
      </p:sp>
      <p:grpSp>
        <p:nvGrpSpPr>
          <p:cNvPr id="18" name="Group 17">
            <a:extLst>
              <a:ext uri="{FF2B5EF4-FFF2-40B4-BE49-F238E27FC236}">
                <a16:creationId xmlns:a16="http://schemas.microsoft.com/office/drawing/2014/main" id="{8B2D32A7-267D-5EEF-C5AD-EAF1080229B5}"/>
              </a:ext>
            </a:extLst>
          </p:cNvPr>
          <p:cNvGrpSpPr/>
          <p:nvPr/>
        </p:nvGrpSpPr>
        <p:grpSpPr>
          <a:xfrm>
            <a:off x="0" y="0"/>
            <a:ext cx="12192000" cy="6858000"/>
            <a:chOff x="0" y="0"/>
            <a:chExt cx="12192000" cy="6858000"/>
          </a:xfrm>
        </p:grpSpPr>
        <p:pic>
          <p:nvPicPr>
            <p:cNvPr id="16" name="Picture 15">
              <a:extLst>
                <a:ext uri="{FF2B5EF4-FFF2-40B4-BE49-F238E27FC236}">
                  <a16:creationId xmlns:a16="http://schemas.microsoft.com/office/drawing/2014/main" id="{BA745051-D096-E658-F19C-8E9D0D1B678F}"/>
                </a:ext>
              </a:extLst>
            </p:cNvPr>
            <p:cNvPicPr>
              <a:picLocks noChangeAspect="1"/>
            </p:cNvPicPr>
            <p:nvPr/>
          </p:nvPicPr>
          <p:blipFill>
            <a:blip r:embed="rId2"/>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46518BA3-763A-C890-981C-09367EA8A628}"/>
                </a:ext>
              </a:extLst>
            </p:cNvPr>
            <p:cNvSpPr/>
            <p:nvPr/>
          </p:nvSpPr>
          <p:spPr bwMode="gray">
            <a:xfrm>
              <a:off x="4813300" y="0"/>
              <a:ext cx="762000" cy="172799"/>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Tree>
    <p:extLst>
      <p:ext uri="{BB962C8B-B14F-4D97-AF65-F5344CB8AC3E}">
        <p14:creationId xmlns:p14="http://schemas.microsoft.com/office/powerpoint/2010/main" val="122068137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28357172-C0B7-B7AB-7D25-F06B48EDDADA}"/>
              </a:ext>
            </a:extLst>
          </p:cNvPr>
          <p:cNvSpPr txBox="1">
            <a:spLocks/>
          </p:cNvSpPr>
          <p:nvPr/>
        </p:nvSpPr>
        <p:spPr bwMode="gray">
          <a:xfrm>
            <a:off x="501651" y="241300"/>
            <a:ext cx="11162349"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MX"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A continuación…</a:t>
            </a:r>
            <a:endPar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endParaRPr>
          </a:p>
        </p:txBody>
      </p:sp>
      <p:sp>
        <p:nvSpPr>
          <p:cNvPr id="3" name="Content Placeholder 3">
            <a:extLst>
              <a:ext uri="{FF2B5EF4-FFF2-40B4-BE49-F238E27FC236}">
                <a16:creationId xmlns:a16="http://schemas.microsoft.com/office/drawing/2014/main" id="{E63D4B44-B4DE-BD17-369F-F6EEE4D8AE05}"/>
              </a:ext>
            </a:extLst>
          </p:cNvPr>
          <p:cNvSpPr txBox="1">
            <a:spLocks/>
          </p:cNvSpPr>
          <p:nvPr/>
        </p:nvSpPr>
        <p:spPr>
          <a:xfrm>
            <a:off x="501650" y="1769041"/>
            <a:ext cx="11165416" cy="190295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s-MX" sz="2000" b="0"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rPr>
              <a:t>De la lista que presentaremos, </a:t>
            </a:r>
            <a:r>
              <a:rPr kumimoji="0" lang="es-MX" sz="2000" b="1"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rPr>
              <a:t>busca</a:t>
            </a:r>
            <a:r>
              <a:rPr kumimoji="0" lang="es-MX" sz="2000" b="0"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rPr>
              <a:t> al compañero con el que te tocará llevar a cabo esta actividad</a:t>
            </a:r>
          </a:p>
          <a:p>
            <a:pPr marL="342900" marR="0" lvl="0" indent="-3429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endParaRPr kumimoji="0" lang="es-MX" sz="2000" b="0"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endParaRPr>
          </a:p>
          <a:p>
            <a:pPr marL="342900" marR="0" lvl="0" indent="-3429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s-MX" sz="2000" b="1"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rPr>
              <a:t>Preséntense</a:t>
            </a:r>
            <a:r>
              <a:rPr kumimoji="0" lang="es-MX" sz="2000" b="0"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rPr>
              <a:t>, es momento de conocerse</a:t>
            </a:r>
          </a:p>
          <a:p>
            <a:pPr marL="342900" marR="0" lvl="0" indent="-3429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endParaRPr kumimoji="0" lang="es-MX" sz="2000" b="0"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endParaRPr>
          </a:p>
          <a:p>
            <a:pPr marL="342900" marR="0" lvl="0" indent="-3429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s-MX" sz="2000" b="1"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rPr>
              <a:t>Coméntale</a:t>
            </a:r>
            <a:r>
              <a:rPr kumimoji="0" lang="es-MX" sz="2000" b="0"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rPr>
              <a:t> la información que escribiste en tu tarjeta </a:t>
            </a:r>
          </a:p>
          <a:p>
            <a:pPr marL="342900" marR="0" lvl="0" indent="-3429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endParaRPr kumimoji="0" lang="es-MX" sz="2000" b="0"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000" b="0"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rPr>
              <a:t> </a:t>
            </a:r>
            <a:endParaRPr kumimoji="0" lang="en-US" sz="2000" b="0" i="0" u="none" strike="noStrike" kern="1200" cap="none" spc="0" normalizeH="0" baseline="0" noProof="0">
              <a:ln>
                <a:noFill/>
              </a:ln>
              <a:solidFill>
                <a:sysClr val="windowText" lastClr="000000"/>
              </a:solidFill>
              <a:effectLst/>
              <a:uLnTx/>
              <a:uFillTx/>
              <a:latin typeface="Calibri Light"/>
              <a:ea typeface="+mn-ea"/>
              <a:cs typeface="Calibri Light" panose="020F0302020204030204" pitchFamily="34" charset="0"/>
            </a:endParaRPr>
          </a:p>
        </p:txBody>
      </p:sp>
      <p:sp>
        <p:nvSpPr>
          <p:cNvPr id="4" name="Title 2">
            <a:extLst>
              <a:ext uri="{FF2B5EF4-FFF2-40B4-BE49-F238E27FC236}">
                <a16:creationId xmlns:a16="http://schemas.microsoft.com/office/drawing/2014/main" id="{00EF466E-6313-4AB3-4522-204A6FF99882}"/>
              </a:ext>
            </a:extLst>
          </p:cNvPr>
          <p:cNvSpPr txBox="1">
            <a:spLocks/>
          </p:cNvSpPr>
          <p:nvPr/>
        </p:nvSpPr>
        <p:spPr bwMode="gray">
          <a:xfrm>
            <a:off x="501650" y="5658321"/>
            <a:ext cx="11162349"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fontAlgn="auto">
              <a:spcAft>
                <a:spcPts val="0"/>
              </a:spcAft>
            </a:pPr>
            <a:r>
              <a:rPr lang="es-MX">
                <a:solidFill>
                  <a:prstClr val="white"/>
                </a:solidFill>
                <a:latin typeface="Calibri Light"/>
              </a:rPr>
              <a:t>Tiempo aproximado… 15 min</a:t>
            </a:r>
            <a:endParaRPr lang="en-US">
              <a:solidFill>
                <a:prstClr val="white"/>
              </a:solidFill>
              <a:latin typeface="Calibri Light"/>
            </a:endParaRPr>
          </a:p>
        </p:txBody>
      </p:sp>
      <p:sp>
        <p:nvSpPr>
          <p:cNvPr id="5" name="Content Placeholder 3">
            <a:extLst>
              <a:ext uri="{FF2B5EF4-FFF2-40B4-BE49-F238E27FC236}">
                <a16:creationId xmlns:a16="http://schemas.microsoft.com/office/drawing/2014/main" id="{72C329F2-61FF-2BEE-94FA-361F625222D9}"/>
              </a:ext>
            </a:extLst>
          </p:cNvPr>
          <p:cNvSpPr txBox="1">
            <a:spLocks/>
          </p:cNvSpPr>
          <p:nvPr/>
        </p:nvSpPr>
        <p:spPr>
          <a:xfrm>
            <a:off x="1407695" y="1769040"/>
            <a:ext cx="10259372" cy="304022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bg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a:solidFill>
                  <a:schemeClr val="bg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bg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a:solidFill>
                  <a:schemeClr val="bg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0" i="0" u="none" strike="noStrike" kern="1200" cap="none" spc="0" normalizeH="0" baseline="0" noProof="0">
                <a:ln>
                  <a:noFill/>
                </a:ln>
                <a:solidFill>
                  <a:sysClr val="window" lastClr="FFFFFF"/>
                </a:solidFill>
                <a:effectLst/>
                <a:uLnTx/>
                <a:uFillTx/>
                <a:latin typeface="Calibri Light"/>
                <a:ea typeface="+mn-ea"/>
                <a:cs typeface="Calibri Light" panose="020F0302020204030204" pitchFamily="34" charset="0"/>
              </a:rPr>
              <a:t>De la lista que compartimos previamente, busca al compañero con el que te tocará llevar a cabo esta actividad</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s-MX" sz="2400" b="0" i="0" u="none" strike="noStrike" kern="1200" cap="none" spc="0" normalizeH="0" baseline="0" noProof="0">
              <a:ln>
                <a:noFill/>
              </a:ln>
              <a:solidFill>
                <a:sysClr val="window" lastClr="FFFFFF"/>
              </a:solidFill>
              <a:effectLst/>
              <a:uLnTx/>
              <a:uFillTx/>
              <a:latin typeface="Calibri Light"/>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0" i="0" u="none" strike="noStrike" kern="1200" cap="none" spc="0" normalizeH="0" baseline="0" noProof="0">
                <a:ln>
                  <a:noFill/>
                </a:ln>
                <a:solidFill>
                  <a:sysClr val="window" lastClr="FFFFFF"/>
                </a:solidFill>
                <a:effectLst/>
                <a:uLnTx/>
                <a:uFillTx/>
                <a:latin typeface="Calibri Light"/>
                <a:ea typeface="+mn-ea"/>
                <a:cs typeface="Calibri Light" panose="020F0302020204030204" pitchFamily="34" charset="0"/>
              </a:rPr>
              <a:t>Preséntense, es momento de conocerse</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s-MX" sz="2400" b="0" i="0" u="none" strike="noStrike" kern="1200" cap="none" spc="0" normalizeH="0" baseline="0" noProof="0">
              <a:ln>
                <a:noFill/>
              </a:ln>
              <a:solidFill>
                <a:sysClr val="window" lastClr="FFFFFF"/>
              </a:solidFill>
              <a:effectLst/>
              <a:uLnTx/>
              <a:uFillTx/>
              <a:latin typeface="Calibri Light"/>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0" i="0" u="none" strike="noStrike" kern="1200" cap="none" spc="0" normalizeH="0" baseline="0" noProof="0">
                <a:ln>
                  <a:noFill/>
                </a:ln>
                <a:solidFill>
                  <a:sysClr val="window" lastClr="FFFFFF"/>
                </a:solidFill>
                <a:effectLst/>
                <a:uLnTx/>
                <a:uFillTx/>
                <a:latin typeface="Calibri Light"/>
                <a:ea typeface="+mn-ea"/>
                <a:cs typeface="Calibri Light" panose="020F0302020204030204" pitchFamily="34" charset="0"/>
              </a:rPr>
              <a:t>Coméntale la información que escribiste en tu tarjeta</a:t>
            </a:r>
          </a:p>
        </p:txBody>
      </p:sp>
      <p:sp>
        <p:nvSpPr>
          <p:cNvPr id="6" name="Oval 5">
            <a:extLst>
              <a:ext uri="{FF2B5EF4-FFF2-40B4-BE49-F238E27FC236}">
                <a16:creationId xmlns:a16="http://schemas.microsoft.com/office/drawing/2014/main" id="{5FFE20ED-C409-7059-D855-B2298FF84F3C}"/>
              </a:ext>
            </a:extLst>
          </p:cNvPr>
          <p:cNvSpPr/>
          <p:nvPr/>
        </p:nvSpPr>
        <p:spPr bwMode="gray">
          <a:xfrm>
            <a:off x="501649" y="1769040"/>
            <a:ext cx="720000" cy="720000"/>
          </a:xfrm>
          <a:prstGeom prst="ellipse">
            <a:avLst/>
          </a:prstGeom>
          <a:solidFill>
            <a:srgbClr val="86BC25"/>
          </a:solidFill>
          <a:ln w="19050" algn="ctr">
            <a:noFill/>
            <a:miter lim="800000"/>
            <a:headEnd/>
            <a:tailEnd/>
          </a:ln>
        </p:spPr>
        <p:txBody>
          <a:bodyPr wrap="square" lIns="88900" tIns="88900" rIns="88900" bIns="88900" rtlCol="0" anchor="ctr"/>
          <a:lstStyle/>
          <a:p>
            <a:pPr algn="ctr" eaLnBrk="1" fontAlgn="auto" hangingPunct="1">
              <a:lnSpc>
                <a:spcPct val="106000"/>
              </a:lnSpc>
              <a:spcBef>
                <a:spcPts val="0"/>
              </a:spcBef>
              <a:spcAft>
                <a:spcPts val="0"/>
              </a:spcAft>
              <a:buFont typeface="Wingdings 2" pitchFamily="18" charset="2"/>
              <a:buNone/>
            </a:pPr>
            <a:r>
              <a:rPr lang="es-MX" sz="2400" b="1">
                <a:solidFill>
                  <a:prstClr val="white"/>
                </a:solidFill>
                <a:latin typeface="Calibri Light"/>
              </a:rPr>
              <a:t>1</a:t>
            </a:r>
            <a:endParaRPr lang="en-US" sz="2400" b="1">
              <a:solidFill>
                <a:prstClr val="white"/>
              </a:solidFill>
              <a:latin typeface="Calibri Light"/>
            </a:endParaRPr>
          </a:p>
        </p:txBody>
      </p:sp>
      <p:sp>
        <p:nvSpPr>
          <p:cNvPr id="7" name="Oval 6">
            <a:extLst>
              <a:ext uri="{FF2B5EF4-FFF2-40B4-BE49-F238E27FC236}">
                <a16:creationId xmlns:a16="http://schemas.microsoft.com/office/drawing/2014/main" id="{178C248D-99B5-C62B-1F5C-A9FCF8B11BD4}"/>
              </a:ext>
            </a:extLst>
          </p:cNvPr>
          <p:cNvSpPr/>
          <p:nvPr/>
        </p:nvSpPr>
        <p:spPr bwMode="gray">
          <a:xfrm>
            <a:off x="501649" y="2941996"/>
            <a:ext cx="720000" cy="720000"/>
          </a:xfrm>
          <a:prstGeom prst="ellipse">
            <a:avLst/>
          </a:prstGeom>
          <a:solidFill>
            <a:srgbClr val="00A3E0"/>
          </a:solidFill>
          <a:ln w="19050" algn="ctr">
            <a:noFill/>
            <a:miter lim="800000"/>
            <a:headEnd/>
            <a:tailEnd/>
          </a:ln>
        </p:spPr>
        <p:txBody>
          <a:bodyPr wrap="square" lIns="88900" tIns="88900" rIns="88900" bIns="88900" rtlCol="0" anchor="ctr"/>
          <a:lstStyle/>
          <a:p>
            <a:pPr algn="ctr" eaLnBrk="1" fontAlgn="auto" hangingPunct="1">
              <a:lnSpc>
                <a:spcPct val="106000"/>
              </a:lnSpc>
              <a:spcBef>
                <a:spcPts val="0"/>
              </a:spcBef>
              <a:spcAft>
                <a:spcPts val="0"/>
              </a:spcAft>
              <a:buFont typeface="Wingdings 2" pitchFamily="18" charset="2"/>
              <a:buNone/>
            </a:pPr>
            <a:r>
              <a:rPr lang="es-MX" sz="2400" b="1">
                <a:solidFill>
                  <a:prstClr val="white"/>
                </a:solidFill>
                <a:latin typeface="Calibri Light"/>
              </a:rPr>
              <a:t>2</a:t>
            </a:r>
            <a:endParaRPr lang="en-US" sz="2400" b="1">
              <a:solidFill>
                <a:prstClr val="white"/>
              </a:solidFill>
              <a:latin typeface="Calibri Light"/>
            </a:endParaRPr>
          </a:p>
        </p:txBody>
      </p:sp>
      <p:sp>
        <p:nvSpPr>
          <p:cNvPr id="8" name="Oval 7">
            <a:extLst>
              <a:ext uri="{FF2B5EF4-FFF2-40B4-BE49-F238E27FC236}">
                <a16:creationId xmlns:a16="http://schemas.microsoft.com/office/drawing/2014/main" id="{CCF0A771-73B6-6AFF-F376-09A507A70F9A}"/>
              </a:ext>
            </a:extLst>
          </p:cNvPr>
          <p:cNvSpPr/>
          <p:nvPr/>
        </p:nvSpPr>
        <p:spPr bwMode="gray">
          <a:xfrm>
            <a:off x="501649" y="3958206"/>
            <a:ext cx="720000" cy="720000"/>
          </a:xfrm>
          <a:prstGeom prst="ellipse">
            <a:avLst/>
          </a:prstGeom>
          <a:solidFill>
            <a:srgbClr val="0097A9"/>
          </a:solidFill>
          <a:ln w="19050" algn="ctr">
            <a:noFill/>
            <a:miter lim="800000"/>
            <a:headEnd/>
            <a:tailEnd/>
          </a:ln>
        </p:spPr>
        <p:txBody>
          <a:bodyPr wrap="square" lIns="88900" tIns="88900" rIns="88900" bIns="88900" rtlCol="0" anchor="ctr"/>
          <a:lstStyle/>
          <a:p>
            <a:pPr algn="ctr" eaLnBrk="1" fontAlgn="auto" hangingPunct="1">
              <a:lnSpc>
                <a:spcPct val="106000"/>
              </a:lnSpc>
              <a:spcBef>
                <a:spcPts val="0"/>
              </a:spcBef>
              <a:spcAft>
                <a:spcPts val="0"/>
              </a:spcAft>
              <a:buFont typeface="Wingdings 2" pitchFamily="18" charset="2"/>
              <a:buNone/>
            </a:pPr>
            <a:r>
              <a:rPr lang="es-MX" sz="2400" b="1">
                <a:solidFill>
                  <a:prstClr val="white"/>
                </a:solidFill>
                <a:latin typeface="Calibri Light"/>
              </a:rPr>
              <a:t>3</a:t>
            </a:r>
            <a:endParaRPr lang="en-US" sz="2400" b="1">
              <a:solidFill>
                <a:prstClr val="white"/>
              </a:solidFill>
              <a:latin typeface="Calibri Light"/>
            </a:endParaRPr>
          </a:p>
        </p:txBody>
      </p:sp>
    </p:spTree>
    <p:extLst>
      <p:ext uri="{BB962C8B-B14F-4D97-AF65-F5344CB8AC3E}">
        <p14:creationId xmlns:p14="http://schemas.microsoft.com/office/powerpoint/2010/main" val="37715612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0925559C-AC11-931B-8C9A-C76DC699EADE}"/>
              </a:ext>
            </a:extLst>
          </p:cNvPr>
          <p:cNvSpPr txBox="1">
            <a:spLocks/>
          </p:cNvSpPr>
          <p:nvPr/>
        </p:nvSpPr>
        <p:spPr bwMode="gray">
          <a:xfrm>
            <a:off x="501651" y="317500"/>
            <a:ext cx="11162349"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MX"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Es momento de conocerse…</a:t>
            </a:r>
            <a:endPar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endParaRPr>
          </a:p>
        </p:txBody>
      </p:sp>
      <p:pic>
        <p:nvPicPr>
          <p:cNvPr id="3" name="Picture 2" descr="A person shaking hands with another person&#10;&#10;Description automatically generated">
            <a:extLst>
              <a:ext uri="{FF2B5EF4-FFF2-40B4-BE49-F238E27FC236}">
                <a16:creationId xmlns:a16="http://schemas.microsoft.com/office/drawing/2014/main" id="{4AA7032B-2768-7AD9-E580-20FEB4C63DF4}"/>
              </a:ext>
            </a:extLst>
          </p:cNvPr>
          <p:cNvPicPr>
            <a:picLocks noChangeAspect="1"/>
          </p:cNvPicPr>
          <p:nvPr/>
        </p:nvPicPr>
        <p:blipFill>
          <a:blip r:embed="rId2"/>
          <a:stretch>
            <a:fillRect/>
          </a:stretch>
        </p:blipFill>
        <p:spPr>
          <a:xfrm>
            <a:off x="2565230" y="-418798"/>
            <a:ext cx="7778751" cy="7778751"/>
          </a:xfrm>
          <a:prstGeom prst="rect">
            <a:avLst/>
          </a:prstGeom>
        </p:spPr>
      </p:pic>
    </p:spTree>
    <p:extLst>
      <p:ext uri="{BB962C8B-B14F-4D97-AF65-F5344CB8AC3E}">
        <p14:creationId xmlns:p14="http://schemas.microsoft.com/office/powerpoint/2010/main" val="205855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BDD5E99-01AD-6836-965D-D8F8BFC8BE47}"/>
              </a:ext>
            </a:extLst>
          </p:cNvPr>
          <p:cNvSpPr/>
          <p:nvPr/>
        </p:nvSpPr>
        <p:spPr bwMode="auto">
          <a:xfrm>
            <a:off x="2073277" y="5484805"/>
            <a:ext cx="1008063" cy="808725"/>
          </a:xfrm>
          <a:prstGeom prst="rect">
            <a:avLst/>
          </a:prstGeom>
          <a:solidFill>
            <a:srgbClr val="0097A9"/>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12" name="Rectangle 11">
            <a:extLst>
              <a:ext uri="{FF2B5EF4-FFF2-40B4-BE49-F238E27FC236}">
                <a16:creationId xmlns:a16="http://schemas.microsoft.com/office/drawing/2014/main" id="{7D82FA77-D345-A207-BFAE-35C22CE83C7B}"/>
              </a:ext>
            </a:extLst>
          </p:cNvPr>
          <p:cNvSpPr/>
          <p:nvPr/>
        </p:nvSpPr>
        <p:spPr bwMode="auto">
          <a:xfrm>
            <a:off x="3150978" y="5712842"/>
            <a:ext cx="1272789" cy="568646"/>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13" name="Rectangle 12">
            <a:extLst>
              <a:ext uri="{FF2B5EF4-FFF2-40B4-BE49-F238E27FC236}">
                <a16:creationId xmlns:a16="http://schemas.microsoft.com/office/drawing/2014/main" id="{41ECAA1D-5C21-5465-150F-5B8182AE3486}"/>
              </a:ext>
            </a:extLst>
          </p:cNvPr>
          <p:cNvSpPr/>
          <p:nvPr/>
        </p:nvSpPr>
        <p:spPr bwMode="auto">
          <a:xfrm>
            <a:off x="4493405" y="5712842"/>
            <a:ext cx="1752794" cy="568646"/>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14" name="Rectangle 13">
            <a:extLst>
              <a:ext uri="{FF2B5EF4-FFF2-40B4-BE49-F238E27FC236}">
                <a16:creationId xmlns:a16="http://schemas.microsoft.com/office/drawing/2014/main" id="{991E7040-252E-2974-EF0D-E7DFB1947893}"/>
              </a:ext>
            </a:extLst>
          </p:cNvPr>
          <p:cNvSpPr/>
          <p:nvPr/>
        </p:nvSpPr>
        <p:spPr bwMode="auto">
          <a:xfrm>
            <a:off x="6315836" y="5712842"/>
            <a:ext cx="1494411" cy="568646"/>
          </a:xfrm>
          <a:prstGeom prst="rect">
            <a:avLst/>
          </a:prstGeom>
          <a:solidFill>
            <a:srgbClr val="00ABAB"/>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15" name="Rectangle 14">
            <a:extLst>
              <a:ext uri="{FF2B5EF4-FFF2-40B4-BE49-F238E27FC236}">
                <a16:creationId xmlns:a16="http://schemas.microsoft.com/office/drawing/2014/main" id="{4539A3E6-74DE-ACEA-C2D0-E921524177BE}"/>
              </a:ext>
            </a:extLst>
          </p:cNvPr>
          <p:cNvSpPr/>
          <p:nvPr/>
        </p:nvSpPr>
        <p:spPr bwMode="auto">
          <a:xfrm>
            <a:off x="7879886" y="5712842"/>
            <a:ext cx="974902" cy="568646"/>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16" name="Rectangle 15">
            <a:extLst>
              <a:ext uri="{FF2B5EF4-FFF2-40B4-BE49-F238E27FC236}">
                <a16:creationId xmlns:a16="http://schemas.microsoft.com/office/drawing/2014/main" id="{F6436B73-068C-D8A8-FC9D-981B24A7D8D1}"/>
              </a:ext>
            </a:extLst>
          </p:cNvPr>
          <p:cNvSpPr/>
          <p:nvPr/>
        </p:nvSpPr>
        <p:spPr bwMode="auto">
          <a:xfrm>
            <a:off x="8924427" y="5712842"/>
            <a:ext cx="1128099" cy="568646"/>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17" name="Rectangle 16">
            <a:extLst>
              <a:ext uri="{FF2B5EF4-FFF2-40B4-BE49-F238E27FC236}">
                <a16:creationId xmlns:a16="http://schemas.microsoft.com/office/drawing/2014/main" id="{C13ACE96-3049-C441-71C7-B7558E93B40D}"/>
              </a:ext>
            </a:extLst>
          </p:cNvPr>
          <p:cNvSpPr/>
          <p:nvPr/>
        </p:nvSpPr>
        <p:spPr bwMode="auto">
          <a:xfrm>
            <a:off x="10122164" y="5712842"/>
            <a:ext cx="1658674" cy="568646"/>
          </a:xfrm>
          <a:prstGeom prst="rect">
            <a:avLst/>
          </a:prstGeom>
          <a:solidFill>
            <a:srgbClr val="6FC2B4"/>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5" name="Rectangle 4">
            <a:extLst>
              <a:ext uri="{FF2B5EF4-FFF2-40B4-BE49-F238E27FC236}">
                <a16:creationId xmlns:a16="http://schemas.microsoft.com/office/drawing/2014/main" id="{2F42E8C6-DC6D-CBA4-7945-522A56FA3EEE}"/>
              </a:ext>
            </a:extLst>
          </p:cNvPr>
          <p:cNvSpPr/>
          <p:nvPr/>
        </p:nvSpPr>
        <p:spPr bwMode="auto">
          <a:xfrm>
            <a:off x="2074334" y="804852"/>
            <a:ext cx="1003863" cy="1383828"/>
          </a:xfrm>
          <a:prstGeom prst="rect">
            <a:avLst/>
          </a:prstGeom>
          <a:solidFill>
            <a:srgbClr val="007680"/>
          </a:soli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6" name="Rectangle 5">
            <a:extLst>
              <a:ext uri="{FF2B5EF4-FFF2-40B4-BE49-F238E27FC236}">
                <a16:creationId xmlns:a16="http://schemas.microsoft.com/office/drawing/2014/main" id="{8F98E968-98DE-72CC-07A6-ECE280BB31F6}"/>
              </a:ext>
            </a:extLst>
          </p:cNvPr>
          <p:cNvSpPr/>
          <p:nvPr/>
        </p:nvSpPr>
        <p:spPr bwMode="auto">
          <a:xfrm>
            <a:off x="2071831" y="2286893"/>
            <a:ext cx="1010037" cy="828353"/>
          </a:xfrm>
          <a:prstGeom prst="rect">
            <a:avLst/>
          </a:prstGeom>
          <a:solidFill>
            <a:srgbClr val="9DD4CF"/>
          </a:solidFill>
          <a:ln>
            <a:noFill/>
          </a:ln>
          <a:scene3d>
            <a:camera prst="orthographicFront"/>
            <a:lightRig rig="threePt" dir="t"/>
          </a:scene3d>
          <a:sp3d extrusionH="76200" prstMaterial="matte">
            <a:extrusionClr>
              <a:srgbClr val="DDEFE8"/>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7" name="Rectangle 6">
            <a:extLst>
              <a:ext uri="{FF2B5EF4-FFF2-40B4-BE49-F238E27FC236}">
                <a16:creationId xmlns:a16="http://schemas.microsoft.com/office/drawing/2014/main" id="{F685B376-E570-06EC-7843-88097158ECEE}"/>
              </a:ext>
            </a:extLst>
          </p:cNvPr>
          <p:cNvSpPr/>
          <p:nvPr/>
        </p:nvSpPr>
        <p:spPr bwMode="auto">
          <a:xfrm>
            <a:off x="2071832" y="3206047"/>
            <a:ext cx="1014270" cy="1403873"/>
          </a:xfrm>
          <a:prstGeom prst="rect">
            <a:avLst/>
          </a:prstGeom>
          <a:solidFill>
            <a:srgbClr val="DDEFE8"/>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9" name="Rectangle 8">
            <a:extLst>
              <a:ext uri="{FF2B5EF4-FFF2-40B4-BE49-F238E27FC236}">
                <a16:creationId xmlns:a16="http://schemas.microsoft.com/office/drawing/2014/main" id="{B3A181E7-37D4-849A-0E8D-2A05E442952E}"/>
              </a:ext>
            </a:extLst>
          </p:cNvPr>
          <p:cNvSpPr/>
          <p:nvPr/>
        </p:nvSpPr>
        <p:spPr bwMode="auto">
          <a:xfrm>
            <a:off x="2073277" y="4700721"/>
            <a:ext cx="1008063" cy="709089"/>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15395" name="TextBox 58">
            <a:extLst>
              <a:ext uri="{FF2B5EF4-FFF2-40B4-BE49-F238E27FC236}">
                <a16:creationId xmlns:a16="http://schemas.microsoft.com/office/drawing/2014/main" id="{78B4856B-1576-BA6D-3465-C16F514006F6}"/>
              </a:ext>
            </a:extLst>
          </p:cNvPr>
          <p:cNvSpPr txBox="1">
            <a:spLocks noChangeArrowheads="1"/>
          </p:cNvSpPr>
          <p:nvPr/>
        </p:nvSpPr>
        <p:spPr bwMode="auto">
          <a:xfrm rot="5400000">
            <a:off x="1676400" y="1225550"/>
            <a:ext cx="12144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s-MX" altLang="en-US" sz="1800" b="1">
                <a:solidFill>
                  <a:srgbClr val="FFFFFF"/>
                </a:solidFill>
              </a:rPr>
              <a:t>Salida</a:t>
            </a:r>
          </a:p>
        </p:txBody>
      </p:sp>
      <p:sp>
        <p:nvSpPr>
          <p:cNvPr id="34" name="Rectangle 33">
            <a:extLst>
              <a:ext uri="{FF2B5EF4-FFF2-40B4-BE49-F238E27FC236}">
                <a16:creationId xmlns:a16="http://schemas.microsoft.com/office/drawing/2014/main" id="{B2FA7389-F713-E5C2-C04A-42C839B38D31}"/>
              </a:ext>
            </a:extLst>
          </p:cNvPr>
          <p:cNvSpPr/>
          <p:nvPr/>
        </p:nvSpPr>
        <p:spPr bwMode="auto">
          <a:xfrm>
            <a:off x="3333752" y="4484701"/>
            <a:ext cx="1090016" cy="858327"/>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35" name="Rectangle 34">
            <a:extLst>
              <a:ext uri="{FF2B5EF4-FFF2-40B4-BE49-F238E27FC236}">
                <a16:creationId xmlns:a16="http://schemas.microsoft.com/office/drawing/2014/main" id="{F6E4B64D-D008-1DF4-EACA-69FA88011F51}"/>
              </a:ext>
            </a:extLst>
          </p:cNvPr>
          <p:cNvSpPr/>
          <p:nvPr/>
        </p:nvSpPr>
        <p:spPr bwMode="auto">
          <a:xfrm>
            <a:off x="4511055" y="4610350"/>
            <a:ext cx="1182917" cy="732677"/>
          </a:xfrm>
          <a:prstGeom prst="rect">
            <a:avLst/>
          </a:prstGeom>
          <a:solidFill>
            <a:srgbClr val="0097A9"/>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36" name="Rectangle 35">
            <a:extLst>
              <a:ext uri="{FF2B5EF4-FFF2-40B4-BE49-F238E27FC236}">
                <a16:creationId xmlns:a16="http://schemas.microsoft.com/office/drawing/2014/main" id="{64117EAF-9E31-D10B-4BFA-F1C7722CAE2C}"/>
              </a:ext>
            </a:extLst>
          </p:cNvPr>
          <p:cNvSpPr/>
          <p:nvPr/>
        </p:nvSpPr>
        <p:spPr bwMode="auto">
          <a:xfrm>
            <a:off x="5777536" y="4610351"/>
            <a:ext cx="2311912" cy="732678"/>
          </a:xfrm>
          <a:prstGeom prst="rect">
            <a:avLst/>
          </a:prstGeom>
          <a:solidFill>
            <a:srgbClr val="A3DDD7"/>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38" name="Rectangle 37">
            <a:extLst>
              <a:ext uri="{FF2B5EF4-FFF2-40B4-BE49-F238E27FC236}">
                <a16:creationId xmlns:a16="http://schemas.microsoft.com/office/drawing/2014/main" id="{FD592274-AE18-6E6E-9FF4-849AC22E89ED}"/>
              </a:ext>
            </a:extLst>
          </p:cNvPr>
          <p:cNvSpPr/>
          <p:nvPr/>
        </p:nvSpPr>
        <p:spPr bwMode="auto">
          <a:xfrm>
            <a:off x="8159085" y="4610351"/>
            <a:ext cx="974902" cy="732678"/>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39" name="Rectangle 38">
            <a:extLst>
              <a:ext uri="{FF2B5EF4-FFF2-40B4-BE49-F238E27FC236}">
                <a16:creationId xmlns:a16="http://schemas.microsoft.com/office/drawing/2014/main" id="{90EBC85A-6B8E-9775-7939-52E82462C91D}"/>
              </a:ext>
            </a:extLst>
          </p:cNvPr>
          <p:cNvSpPr/>
          <p:nvPr/>
        </p:nvSpPr>
        <p:spPr bwMode="auto">
          <a:xfrm>
            <a:off x="9189694" y="4610349"/>
            <a:ext cx="1128103" cy="732681"/>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24" name="Rectangle 23">
            <a:extLst>
              <a:ext uri="{FF2B5EF4-FFF2-40B4-BE49-F238E27FC236}">
                <a16:creationId xmlns:a16="http://schemas.microsoft.com/office/drawing/2014/main" id="{DD2AAFAF-11D8-BB71-FA60-60568EE92208}"/>
              </a:ext>
            </a:extLst>
          </p:cNvPr>
          <p:cNvSpPr/>
          <p:nvPr/>
        </p:nvSpPr>
        <p:spPr bwMode="auto">
          <a:xfrm>
            <a:off x="10347790" y="814890"/>
            <a:ext cx="1433048" cy="568647"/>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40" name="Rectangle 39">
            <a:extLst>
              <a:ext uri="{FF2B5EF4-FFF2-40B4-BE49-F238E27FC236}">
                <a16:creationId xmlns:a16="http://schemas.microsoft.com/office/drawing/2014/main" id="{69455D3F-0B65-87DA-E1D3-4D0325B3BB2F}"/>
              </a:ext>
            </a:extLst>
          </p:cNvPr>
          <p:cNvSpPr/>
          <p:nvPr/>
        </p:nvSpPr>
        <p:spPr bwMode="auto">
          <a:xfrm>
            <a:off x="10597921" y="4719339"/>
            <a:ext cx="1182918" cy="900488"/>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41" name="Rectangle 40">
            <a:extLst>
              <a:ext uri="{FF2B5EF4-FFF2-40B4-BE49-F238E27FC236}">
                <a16:creationId xmlns:a16="http://schemas.microsoft.com/office/drawing/2014/main" id="{BC57A843-0500-944B-F71B-B0CB6A28E369}"/>
              </a:ext>
            </a:extLst>
          </p:cNvPr>
          <p:cNvSpPr/>
          <p:nvPr/>
        </p:nvSpPr>
        <p:spPr bwMode="auto">
          <a:xfrm>
            <a:off x="10606712" y="2801491"/>
            <a:ext cx="1163310" cy="1808429"/>
          </a:xfrm>
          <a:prstGeom prst="rect">
            <a:avLst/>
          </a:prstGeom>
          <a:solidFill>
            <a:srgbClr val="0097A9"/>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42" name="Rectangle 41">
            <a:extLst>
              <a:ext uri="{FF2B5EF4-FFF2-40B4-BE49-F238E27FC236}">
                <a16:creationId xmlns:a16="http://schemas.microsoft.com/office/drawing/2014/main" id="{73758D16-BB0D-E1D6-32C9-A145550F5708}"/>
              </a:ext>
            </a:extLst>
          </p:cNvPr>
          <p:cNvSpPr/>
          <p:nvPr/>
        </p:nvSpPr>
        <p:spPr bwMode="auto">
          <a:xfrm>
            <a:off x="10611285" y="1492957"/>
            <a:ext cx="1158736" cy="1215519"/>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18" name="Rectangle 17">
            <a:extLst>
              <a:ext uri="{FF2B5EF4-FFF2-40B4-BE49-F238E27FC236}">
                <a16:creationId xmlns:a16="http://schemas.microsoft.com/office/drawing/2014/main" id="{8F2F04B7-E3E6-8336-48B6-C549E181A6B0}"/>
              </a:ext>
            </a:extLst>
          </p:cNvPr>
          <p:cNvSpPr/>
          <p:nvPr/>
        </p:nvSpPr>
        <p:spPr bwMode="auto">
          <a:xfrm>
            <a:off x="5771148" y="1712006"/>
            <a:ext cx="974902" cy="786902"/>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31" name="Rectangle 30">
            <a:extLst>
              <a:ext uri="{FF2B5EF4-FFF2-40B4-BE49-F238E27FC236}">
                <a16:creationId xmlns:a16="http://schemas.microsoft.com/office/drawing/2014/main" id="{9130C70A-7DDC-293F-C7B6-D575F7966049}"/>
              </a:ext>
            </a:extLst>
          </p:cNvPr>
          <p:cNvSpPr/>
          <p:nvPr/>
        </p:nvSpPr>
        <p:spPr bwMode="auto">
          <a:xfrm>
            <a:off x="3333752" y="1700617"/>
            <a:ext cx="1079058" cy="1736690"/>
          </a:xfrm>
          <a:prstGeom prst="rect">
            <a:avLst/>
          </a:prstGeom>
          <a:solidFill>
            <a:srgbClr val="00B1B1"/>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33" name="Rectangle 32">
            <a:extLst>
              <a:ext uri="{FF2B5EF4-FFF2-40B4-BE49-F238E27FC236}">
                <a16:creationId xmlns:a16="http://schemas.microsoft.com/office/drawing/2014/main" id="{24AD2A42-87A4-58D8-A2D1-38255789D0FE}"/>
              </a:ext>
            </a:extLst>
          </p:cNvPr>
          <p:cNvSpPr/>
          <p:nvPr/>
        </p:nvSpPr>
        <p:spPr bwMode="auto">
          <a:xfrm>
            <a:off x="3333752" y="3507860"/>
            <a:ext cx="1079058" cy="911107"/>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19" name="Rectangle 18">
            <a:extLst>
              <a:ext uri="{FF2B5EF4-FFF2-40B4-BE49-F238E27FC236}">
                <a16:creationId xmlns:a16="http://schemas.microsoft.com/office/drawing/2014/main" id="{82A584B2-C4EB-960E-EDA6-124046C4D44C}"/>
              </a:ext>
            </a:extLst>
          </p:cNvPr>
          <p:cNvSpPr/>
          <p:nvPr/>
        </p:nvSpPr>
        <p:spPr bwMode="auto">
          <a:xfrm>
            <a:off x="9336507" y="2599216"/>
            <a:ext cx="974902" cy="899549"/>
          </a:xfrm>
          <a:prstGeom prst="rect">
            <a:avLst/>
          </a:prstGeom>
          <a:solidFill>
            <a:srgbClr val="DDEFE8"/>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20" name="Rectangle 19">
            <a:extLst>
              <a:ext uri="{FF2B5EF4-FFF2-40B4-BE49-F238E27FC236}">
                <a16:creationId xmlns:a16="http://schemas.microsoft.com/office/drawing/2014/main" id="{2528B8DD-6533-C78E-A615-4B8B0EDF0276}"/>
              </a:ext>
            </a:extLst>
          </p:cNvPr>
          <p:cNvSpPr/>
          <p:nvPr/>
        </p:nvSpPr>
        <p:spPr bwMode="auto">
          <a:xfrm>
            <a:off x="9336508" y="3586078"/>
            <a:ext cx="981290" cy="936958"/>
          </a:xfrm>
          <a:prstGeom prst="rect">
            <a:avLst/>
          </a:prstGeom>
          <a:solidFill>
            <a:srgbClr val="00B1B1"/>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27" name="Rectangle 26">
            <a:extLst>
              <a:ext uri="{FF2B5EF4-FFF2-40B4-BE49-F238E27FC236}">
                <a16:creationId xmlns:a16="http://schemas.microsoft.com/office/drawing/2014/main" id="{877CD467-1D48-A2BE-D6B9-7B285B262090}"/>
              </a:ext>
            </a:extLst>
          </p:cNvPr>
          <p:cNvSpPr/>
          <p:nvPr/>
        </p:nvSpPr>
        <p:spPr bwMode="auto">
          <a:xfrm>
            <a:off x="6781986" y="803956"/>
            <a:ext cx="974902" cy="568646"/>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28" name="Rectangle 27">
            <a:extLst>
              <a:ext uri="{FF2B5EF4-FFF2-40B4-BE49-F238E27FC236}">
                <a16:creationId xmlns:a16="http://schemas.microsoft.com/office/drawing/2014/main" id="{66684D16-FF87-89AA-2105-57AE6E2AAA04}"/>
              </a:ext>
            </a:extLst>
          </p:cNvPr>
          <p:cNvSpPr/>
          <p:nvPr/>
        </p:nvSpPr>
        <p:spPr bwMode="auto">
          <a:xfrm>
            <a:off x="4569176" y="814892"/>
            <a:ext cx="2122506" cy="557710"/>
          </a:xfrm>
          <a:prstGeom prst="rect">
            <a:avLst/>
          </a:prstGeom>
          <a:solidFill>
            <a:srgbClr val="6FC2B4"/>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30" name="Rectangle 29">
            <a:extLst>
              <a:ext uri="{FF2B5EF4-FFF2-40B4-BE49-F238E27FC236}">
                <a16:creationId xmlns:a16="http://schemas.microsoft.com/office/drawing/2014/main" id="{77B03D1D-803A-2809-0FD6-EA8A997278B0}"/>
              </a:ext>
            </a:extLst>
          </p:cNvPr>
          <p:cNvSpPr/>
          <p:nvPr/>
        </p:nvSpPr>
        <p:spPr bwMode="auto">
          <a:xfrm>
            <a:off x="3333752" y="814892"/>
            <a:ext cx="1079059" cy="819991"/>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25" name="Rectangle 24">
            <a:extLst>
              <a:ext uri="{FF2B5EF4-FFF2-40B4-BE49-F238E27FC236}">
                <a16:creationId xmlns:a16="http://schemas.microsoft.com/office/drawing/2014/main" id="{796A9341-1510-A956-3BC4-9EB8A1C66073}"/>
              </a:ext>
            </a:extLst>
          </p:cNvPr>
          <p:cNvSpPr/>
          <p:nvPr/>
        </p:nvSpPr>
        <p:spPr bwMode="auto">
          <a:xfrm>
            <a:off x="9254284" y="814892"/>
            <a:ext cx="1016683" cy="568646"/>
          </a:xfrm>
          <a:prstGeom prst="rect">
            <a:avLst/>
          </a:prstGeom>
          <a:solidFill>
            <a:srgbClr val="00ABAB"/>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26" name="Rectangle 25">
            <a:extLst>
              <a:ext uri="{FF2B5EF4-FFF2-40B4-BE49-F238E27FC236}">
                <a16:creationId xmlns:a16="http://schemas.microsoft.com/office/drawing/2014/main" id="{5DBBB88F-EEE0-BD60-2449-ECAC40A0F81F}"/>
              </a:ext>
            </a:extLst>
          </p:cNvPr>
          <p:cNvSpPr/>
          <p:nvPr/>
        </p:nvSpPr>
        <p:spPr bwMode="auto">
          <a:xfrm>
            <a:off x="7847195" y="803956"/>
            <a:ext cx="1330266" cy="579582"/>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44" name="Rectangle 43">
            <a:extLst>
              <a:ext uri="{FF2B5EF4-FFF2-40B4-BE49-F238E27FC236}">
                <a16:creationId xmlns:a16="http://schemas.microsoft.com/office/drawing/2014/main" id="{E9FA86C4-47B3-31B2-903E-A74F4A9C077D}"/>
              </a:ext>
            </a:extLst>
          </p:cNvPr>
          <p:cNvSpPr/>
          <p:nvPr/>
        </p:nvSpPr>
        <p:spPr bwMode="auto">
          <a:xfrm>
            <a:off x="9336507" y="1707910"/>
            <a:ext cx="974902" cy="798291"/>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45" name="Rectangle 44">
            <a:extLst>
              <a:ext uri="{FF2B5EF4-FFF2-40B4-BE49-F238E27FC236}">
                <a16:creationId xmlns:a16="http://schemas.microsoft.com/office/drawing/2014/main" id="{65EE026C-0078-E55A-64D9-946A5F9CD39B}"/>
              </a:ext>
            </a:extLst>
          </p:cNvPr>
          <p:cNvSpPr/>
          <p:nvPr/>
        </p:nvSpPr>
        <p:spPr bwMode="auto">
          <a:xfrm>
            <a:off x="7898453" y="1705428"/>
            <a:ext cx="1378217" cy="793429"/>
          </a:xfrm>
          <a:prstGeom prst="rect">
            <a:avLst/>
          </a:prstGeom>
          <a:solidFill>
            <a:srgbClr val="0097A9"/>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46" name="Rectangle 45">
            <a:extLst>
              <a:ext uri="{FF2B5EF4-FFF2-40B4-BE49-F238E27FC236}">
                <a16:creationId xmlns:a16="http://schemas.microsoft.com/office/drawing/2014/main" id="{15ECE73E-A31D-C000-7AF3-79CEB87CCFDA}"/>
              </a:ext>
            </a:extLst>
          </p:cNvPr>
          <p:cNvSpPr/>
          <p:nvPr/>
        </p:nvSpPr>
        <p:spPr bwMode="auto">
          <a:xfrm>
            <a:off x="6829614" y="1717551"/>
            <a:ext cx="1002756" cy="787356"/>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47" name="Rectangle 46">
            <a:extLst>
              <a:ext uri="{FF2B5EF4-FFF2-40B4-BE49-F238E27FC236}">
                <a16:creationId xmlns:a16="http://schemas.microsoft.com/office/drawing/2014/main" id="{5001F633-2CD3-4554-B115-C47C1898B93B}"/>
              </a:ext>
            </a:extLst>
          </p:cNvPr>
          <p:cNvSpPr/>
          <p:nvPr/>
        </p:nvSpPr>
        <p:spPr bwMode="auto">
          <a:xfrm>
            <a:off x="4562790" y="1712006"/>
            <a:ext cx="1124796" cy="777491"/>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48" name="Rectangle 47">
            <a:extLst>
              <a:ext uri="{FF2B5EF4-FFF2-40B4-BE49-F238E27FC236}">
                <a16:creationId xmlns:a16="http://schemas.microsoft.com/office/drawing/2014/main" id="{DC36E027-DB82-B4C2-4027-1F2CA44E7E19}"/>
              </a:ext>
            </a:extLst>
          </p:cNvPr>
          <p:cNvSpPr/>
          <p:nvPr/>
        </p:nvSpPr>
        <p:spPr bwMode="auto">
          <a:xfrm>
            <a:off x="4569175" y="2599558"/>
            <a:ext cx="1124797" cy="911107"/>
          </a:xfrm>
          <a:prstGeom prst="rect">
            <a:avLst/>
          </a:prstGeom>
          <a:solidFill>
            <a:srgbClr val="9DD4CF"/>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49" name="Rectangle 48">
            <a:extLst>
              <a:ext uri="{FF2B5EF4-FFF2-40B4-BE49-F238E27FC236}">
                <a16:creationId xmlns:a16="http://schemas.microsoft.com/office/drawing/2014/main" id="{A7266FB9-5739-D2E2-3258-3515B7CD070C}"/>
              </a:ext>
            </a:extLst>
          </p:cNvPr>
          <p:cNvSpPr/>
          <p:nvPr/>
        </p:nvSpPr>
        <p:spPr bwMode="auto">
          <a:xfrm>
            <a:off x="4569176" y="3608021"/>
            <a:ext cx="2754632" cy="705266"/>
          </a:xfrm>
          <a:prstGeom prst="rect">
            <a:avLst/>
          </a:prstGeom>
          <a:solidFill>
            <a:srgbClr val="00ABAB"/>
          </a:solidFill>
          <a:ln>
            <a:noFill/>
          </a:ln>
          <a:scene3d>
            <a:camera prst="orthographicFront"/>
            <a:lightRig rig="threePt" dir="t"/>
          </a:scene3d>
          <a:sp3d extrusionH="76200" prstMaterial="matte">
            <a:extrusionClr>
              <a:srgbClr val="00B0F0"/>
            </a:extrusion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MX">
              <a:solidFill>
                <a:prstClr val="white"/>
              </a:solidFill>
            </a:endParaRPr>
          </a:p>
        </p:txBody>
      </p:sp>
      <p:sp>
        <p:nvSpPr>
          <p:cNvPr id="15471" name="TextBox 59">
            <a:extLst>
              <a:ext uri="{FF2B5EF4-FFF2-40B4-BE49-F238E27FC236}">
                <a16:creationId xmlns:a16="http://schemas.microsoft.com/office/drawing/2014/main" id="{A65A1AED-D060-4D9A-87C6-FB552879BC00}"/>
              </a:ext>
            </a:extLst>
          </p:cNvPr>
          <p:cNvSpPr txBox="1">
            <a:spLocks noChangeArrowheads="1"/>
          </p:cNvSpPr>
          <p:nvPr/>
        </p:nvSpPr>
        <p:spPr bwMode="auto">
          <a:xfrm>
            <a:off x="6527800" y="3887788"/>
            <a:ext cx="30448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s-MX" altLang="en-US" sz="1800" b="1">
                <a:solidFill>
                  <a:srgbClr val="FFFFFF"/>
                </a:solidFill>
              </a:rPr>
              <a:t>Meta</a:t>
            </a:r>
          </a:p>
        </p:txBody>
      </p:sp>
      <p:sp>
        <p:nvSpPr>
          <p:cNvPr id="15472" name="TextBox 67">
            <a:extLst>
              <a:ext uri="{FF2B5EF4-FFF2-40B4-BE49-F238E27FC236}">
                <a16:creationId xmlns:a16="http://schemas.microsoft.com/office/drawing/2014/main" id="{14FD52EC-E94B-4CEE-45C8-3D778FE1AD73}"/>
              </a:ext>
            </a:extLst>
          </p:cNvPr>
          <p:cNvSpPr txBox="1">
            <a:spLocks noChangeArrowheads="1"/>
          </p:cNvSpPr>
          <p:nvPr/>
        </p:nvSpPr>
        <p:spPr bwMode="auto">
          <a:xfrm>
            <a:off x="7580313" y="3640138"/>
            <a:ext cx="1668462"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s-MX" altLang="en-US" b="1">
                <a:solidFill>
                  <a:srgbClr val="00ABAB"/>
                </a:solidFill>
              </a:rPr>
              <a:t>Espacio TI</a:t>
            </a:r>
          </a:p>
        </p:txBody>
      </p:sp>
      <p:pic>
        <p:nvPicPr>
          <p:cNvPr id="15473" name="Picture 3">
            <a:extLst>
              <a:ext uri="{FF2B5EF4-FFF2-40B4-BE49-F238E27FC236}">
                <a16:creationId xmlns:a16="http://schemas.microsoft.com/office/drawing/2014/main" id="{0F92C010-77A2-C541-03F9-3D92DDCE199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b="2713"/>
          <a:stretch>
            <a:fillRect/>
          </a:stretch>
        </p:blipFill>
        <p:spPr bwMode="auto">
          <a:xfrm>
            <a:off x="606425" y="690563"/>
            <a:ext cx="885825"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74" name="Picture 50">
            <a:extLst>
              <a:ext uri="{FF2B5EF4-FFF2-40B4-BE49-F238E27FC236}">
                <a16:creationId xmlns:a16="http://schemas.microsoft.com/office/drawing/2014/main" id="{DA9CDFAC-5C9B-6691-FF00-710F4E801284}"/>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9390" t="18915" r="35117" b="12868"/>
          <a:stretch>
            <a:fillRect/>
          </a:stretch>
        </p:blipFill>
        <p:spPr bwMode="auto">
          <a:xfrm>
            <a:off x="671513" y="1655763"/>
            <a:ext cx="757237"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475" name="Group 3">
            <a:extLst>
              <a:ext uri="{FF2B5EF4-FFF2-40B4-BE49-F238E27FC236}">
                <a16:creationId xmlns:a16="http://schemas.microsoft.com/office/drawing/2014/main" id="{EA887CA1-B7EF-60D9-7D5D-23AC453961A5}"/>
              </a:ext>
            </a:extLst>
          </p:cNvPr>
          <p:cNvGrpSpPr>
            <a:grpSpLocks/>
          </p:cNvGrpSpPr>
          <p:nvPr/>
        </p:nvGrpSpPr>
        <p:grpSpPr bwMode="auto">
          <a:xfrm>
            <a:off x="287338" y="2998788"/>
            <a:ext cx="1406525" cy="1377950"/>
            <a:chOff x="182591" y="3152775"/>
            <a:chExt cx="1422400" cy="1393374"/>
          </a:xfrm>
        </p:grpSpPr>
        <p:sp>
          <p:nvSpPr>
            <p:cNvPr id="8" name="TextBox 7">
              <a:extLst>
                <a:ext uri="{FF2B5EF4-FFF2-40B4-BE49-F238E27FC236}">
                  <a16:creationId xmlns:a16="http://schemas.microsoft.com/office/drawing/2014/main" id="{C048ABC7-D687-887D-E806-945FB85C5B4B}"/>
                </a:ext>
              </a:extLst>
            </p:cNvPr>
            <p:cNvSpPr txBox="1"/>
            <p:nvPr/>
          </p:nvSpPr>
          <p:spPr bwMode="auto">
            <a:xfrm>
              <a:off x="182591" y="4268437"/>
              <a:ext cx="1422400" cy="277712"/>
            </a:xfrm>
            <a:prstGeom prst="rect">
              <a:avLst/>
            </a:prstGeom>
            <a:noFill/>
            <a:ln>
              <a:noFill/>
            </a:ln>
          </p:spPr>
          <p:txBody>
            <a:bodyPr>
              <a:spAutoFit/>
            </a:bodyPr>
            <a:lstStyle/>
            <a:p>
              <a:pPr eaLnBrk="1" fontAlgn="auto" hangingPunct="1">
                <a:spcBef>
                  <a:spcPts val="0"/>
                </a:spcBef>
                <a:spcAft>
                  <a:spcPts val="0"/>
                </a:spcAft>
                <a:defRPr/>
              </a:pPr>
              <a:r>
                <a:rPr lang="es-MX" sz="1200" kern="0">
                  <a:solidFill>
                    <a:srgbClr val="86BC25"/>
                  </a:solidFill>
                  <a:latin typeface="Calibri" panose="020F0502020204030204"/>
                </a:rPr>
                <a:t>Cambio de persona</a:t>
              </a:r>
              <a:endParaRPr lang="en-US" sz="1200" kern="0">
                <a:solidFill>
                  <a:srgbClr val="86BC25"/>
                </a:solidFill>
                <a:latin typeface="Calibri" panose="020F0502020204030204"/>
              </a:endParaRPr>
            </a:p>
          </p:txBody>
        </p:sp>
        <p:sp>
          <p:nvSpPr>
            <p:cNvPr id="11" name="Oval 10">
              <a:extLst>
                <a:ext uri="{FF2B5EF4-FFF2-40B4-BE49-F238E27FC236}">
                  <a16:creationId xmlns:a16="http://schemas.microsoft.com/office/drawing/2014/main" id="{E1ACFE12-BD67-71F2-664A-E8B8295AFB2F}"/>
                </a:ext>
              </a:extLst>
            </p:cNvPr>
            <p:cNvSpPr/>
            <p:nvPr/>
          </p:nvSpPr>
          <p:spPr bwMode="auto">
            <a:xfrm>
              <a:off x="408954" y="3152775"/>
              <a:ext cx="1029073" cy="1017741"/>
            </a:xfrm>
            <a:prstGeom prst="ellipse">
              <a:avLst/>
            </a:prstGeom>
            <a:noFill/>
            <a:ln w="57150" cap="flat" cmpd="sng" algn="ctr">
              <a:solidFill>
                <a:srgbClr val="86BC25"/>
              </a:solidFill>
              <a:prstDash val="dash"/>
              <a:miter lim="800000"/>
            </a:ln>
            <a:effectLst/>
          </p:spPr>
          <p:txBody>
            <a:bodyPr anchor="ctr"/>
            <a:lstStyle/>
            <a:p>
              <a:pPr algn="ctr" eaLnBrk="1" fontAlgn="auto" hangingPunct="1">
                <a:spcBef>
                  <a:spcPts val="0"/>
                </a:spcBef>
                <a:spcAft>
                  <a:spcPts val="0"/>
                </a:spcAft>
                <a:defRPr/>
              </a:pPr>
              <a:endParaRPr lang="en-US" kern="0">
                <a:solidFill>
                  <a:srgbClr val="0097A9"/>
                </a:solidFill>
                <a:latin typeface="Calibri" panose="020F0502020204030204"/>
              </a:endParaRPr>
            </a:p>
          </p:txBody>
        </p:sp>
        <p:sp>
          <p:nvSpPr>
            <p:cNvPr id="21" name="Oval 20">
              <a:extLst>
                <a:ext uri="{FF2B5EF4-FFF2-40B4-BE49-F238E27FC236}">
                  <a16:creationId xmlns:a16="http://schemas.microsoft.com/office/drawing/2014/main" id="{CDD3ACDF-3427-E6F6-E7CF-E9B848DEF87F}"/>
                </a:ext>
              </a:extLst>
            </p:cNvPr>
            <p:cNvSpPr/>
            <p:nvPr/>
          </p:nvSpPr>
          <p:spPr bwMode="auto">
            <a:xfrm>
              <a:off x="489225" y="3234643"/>
              <a:ext cx="865321" cy="854003"/>
            </a:xfrm>
            <a:prstGeom prst="ellipse">
              <a:avLst/>
            </a:prstGeom>
            <a:solidFill>
              <a:schemeClr val="tx1"/>
            </a:solidFill>
            <a:ln>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grpSp>
          <p:nvGrpSpPr>
            <p:cNvPr id="22" name="Graphic 4">
              <a:extLst>
                <a:ext uri="{FF2B5EF4-FFF2-40B4-BE49-F238E27FC236}">
                  <a16:creationId xmlns:a16="http://schemas.microsoft.com/office/drawing/2014/main" id="{12EBF0D9-91A3-5FDD-86C0-25083A49A6C5}"/>
                </a:ext>
              </a:extLst>
            </p:cNvPr>
            <p:cNvGrpSpPr/>
            <p:nvPr/>
          </p:nvGrpSpPr>
          <p:grpSpPr bwMode="auto">
            <a:xfrm>
              <a:off x="568535" y="3317565"/>
              <a:ext cx="705984" cy="697529"/>
              <a:chOff x="905454" y="918179"/>
              <a:chExt cx="361674" cy="361333"/>
            </a:xfrm>
            <a:solidFill>
              <a:srgbClr val="86BC25"/>
            </a:solidFill>
          </p:grpSpPr>
          <p:sp>
            <p:nvSpPr>
              <p:cNvPr id="23" name="Graphic 4">
                <a:extLst>
                  <a:ext uri="{FF2B5EF4-FFF2-40B4-BE49-F238E27FC236}">
                    <a16:creationId xmlns:a16="http://schemas.microsoft.com/office/drawing/2014/main" id="{ECBCF545-E086-89F4-F206-8E713A2EB06A}"/>
                  </a:ext>
                </a:extLst>
              </p:cNvPr>
              <p:cNvSpPr/>
              <p:nvPr/>
            </p:nvSpPr>
            <p:spPr>
              <a:xfrm>
                <a:off x="905454" y="918179"/>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229399 w 361674"/>
                  <a:gd name="connsiteY5" fmla="*/ 91291 h 361333"/>
                  <a:gd name="connsiteX6" fmla="*/ 272211 w 361674"/>
                  <a:gd name="connsiteY6" fmla="*/ 134064 h 361333"/>
                  <a:gd name="connsiteX7" fmla="*/ 229399 w 361674"/>
                  <a:gd name="connsiteY7" fmla="*/ 176836 h 361333"/>
                  <a:gd name="connsiteX8" fmla="*/ 186586 w 361674"/>
                  <a:gd name="connsiteY8" fmla="*/ 134064 h 361333"/>
                  <a:gd name="connsiteX9" fmla="*/ 229399 w 361674"/>
                  <a:gd name="connsiteY9" fmla="*/ 91291 h 361333"/>
                  <a:gd name="connsiteX10" fmla="*/ 130355 w 361674"/>
                  <a:gd name="connsiteY10" fmla="*/ 91291 h 361333"/>
                  <a:gd name="connsiteX11" fmla="*/ 173167 w 361674"/>
                  <a:gd name="connsiteY11" fmla="*/ 134064 h 361333"/>
                  <a:gd name="connsiteX12" fmla="*/ 130355 w 361674"/>
                  <a:gd name="connsiteY12" fmla="*/ 176836 h 361333"/>
                  <a:gd name="connsiteX13" fmla="*/ 87542 w 361674"/>
                  <a:gd name="connsiteY13" fmla="*/ 134064 h 361333"/>
                  <a:gd name="connsiteX14" fmla="*/ 130355 w 361674"/>
                  <a:gd name="connsiteY14" fmla="*/ 91291 h 361333"/>
                  <a:gd name="connsiteX15" fmla="*/ 305439 w 361674"/>
                  <a:gd name="connsiteY15" fmla="*/ 253444 h 361333"/>
                  <a:gd name="connsiteX16" fmla="*/ 299049 w 361674"/>
                  <a:gd name="connsiteY16" fmla="*/ 259828 h 361333"/>
                  <a:gd name="connsiteX17" fmla="*/ 160387 w 361674"/>
                  <a:gd name="connsiteY17" fmla="*/ 259828 h 361333"/>
                  <a:gd name="connsiteX18" fmla="*/ 153998 w 361674"/>
                  <a:gd name="connsiteY18" fmla="*/ 253444 h 361333"/>
                  <a:gd name="connsiteX19" fmla="*/ 153998 w 361674"/>
                  <a:gd name="connsiteY19" fmla="*/ 241953 h 361333"/>
                  <a:gd name="connsiteX20" fmla="*/ 170611 w 361674"/>
                  <a:gd name="connsiteY20" fmla="*/ 199180 h 361333"/>
                  <a:gd name="connsiteX21" fmla="*/ 149525 w 361674"/>
                  <a:gd name="connsiteY21" fmla="*/ 194711 h 361333"/>
                  <a:gd name="connsiteX22" fmla="*/ 111185 w 361674"/>
                  <a:gd name="connsiteY22" fmla="*/ 194711 h 361333"/>
                  <a:gd name="connsiteX23" fmla="*/ 67733 w 361674"/>
                  <a:gd name="connsiteY23" fmla="*/ 236846 h 361333"/>
                  <a:gd name="connsiteX24" fmla="*/ 67733 w 361674"/>
                  <a:gd name="connsiteY24" fmla="*/ 254083 h 361333"/>
                  <a:gd name="connsiteX25" fmla="*/ 61343 w 361674"/>
                  <a:gd name="connsiteY25" fmla="*/ 260467 h 361333"/>
                  <a:gd name="connsiteX26" fmla="*/ 54954 w 361674"/>
                  <a:gd name="connsiteY26" fmla="*/ 254083 h 361333"/>
                  <a:gd name="connsiteX27" fmla="*/ 54954 w 361674"/>
                  <a:gd name="connsiteY27" fmla="*/ 236846 h 361333"/>
                  <a:gd name="connsiteX28" fmla="*/ 111185 w 361674"/>
                  <a:gd name="connsiteY28" fmla="*/ 181944 h 361333"/>
                  <a:gd name="connsiteX29" fmla="*/ 149525 w 361674"/>
                  <a:gd name="connsiteY29" fmla="*/ 181944 h 361333"/>
                  <a:gd name="connsiteX30" fmla="*/ 180835 w 361674"/>
                  <a:gd name="connsiteY30" fmla="*/ 190881 h 361333"/>
                  <a:gd name="connsiteX31" fmla="*/ 210229 w 361674"/>
                  <a:gd name="connsiteY31" fmla="*/ 181944 h 361333"/>
                  <a:gd name="connsiteX32" fmla="*/ 248569 w 361674"/>
                  <a:gd name="connsiteY32" fmla="*/ 181944 h 361333"/>
                  <a:gd name="connsiteX33" fmla="*/ 304800 w 361674"/>
                  <a:gd name="connsiteY33" fmla="*/ 242591 h 361333"/>
                  <a:gd name="connsiteX34" fmla="*/ 304800 w 361674"/>
                  <a:gd name="connsiteY34" fmla="*/ 25344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1674"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2309" y="81077"/>
                      <a:pt x="281157" y="0"/>
                      <a:pt x="180835" y="0"/>
                    </a:cubicBezTo>
                    <a:close/>
                    <a:moveTo>
                      <a:pt x="229399" y="91291"/>
                    </a:moveTo>
                    <a:cubicBezTo>
                      <a:pt x="253042" y="91291"/>
                      <a:pt x="272211" y="110443"/>
                      <a:pt x="272211" y="134064"/>
                    </a:cubicBezTo>
                    <a:cubicBezTo>
                      <a:pt x="272211" y="157684"/>
                      <a:pt x="253042" y="176836"/>
                      <a:pt x="229399" y="176836"/>
                    </a:cubicBezTo>
                    <a:cubicBezTo>
                      <a:pt x="205756" y="176836"/>
                      <a:pt x="186586" y="157684"/>
                      <a:pt x="186586" y="134064"/>
                    </a:cubicBezTo>
                    <a:cubicBezTo>
                      <a:pt x="186586" y="111081"/>
                      <a:pt x="205756" y="91291"/>
                      <a:pt x="229399" y="91291"/>
                    </a:cubicBezTo>
                    <a:close/>
                    <a:moveTo>
                      <a:pt x="130355" y="91291"/>
                    </a:moveTo>
                    <a:cubicBezTo>
                      <a:pt x="153998" y="91291"/>
                      <a:pt x="173167" y="110443"/>
                      <a:pt x="173167" y="134064"/>
                    </a:cubicBezTo>
                    <a:cubicBezTo>
                      <a:pt x="173167" y="157684"/>
                      <a:pt x="153998" y="176836"/>
                      <a:pt x="130355" y="176836"/>
                    </a:cubicBezTo>
                    <a:cubicBezTo>
                      <a:pt x="106712" y="176836"/>
                      <a:pt x="87542" y="157684"/>
                      <a:pt x="87542" y="134064"/>
                    </a:cubicBezTo>
                    <a:cubicBezTo>
                      <a:pt x="87542" y="111081"/>
                      <a:pt x="106712" y="91291"/>
                      <a:pt x="130355" y="91291"/>
                    </a:cubicBezTo>
                    <a:close/>
                    <a:moveTo>
                      <a:pt x="305439" y="253444"/>
                    </a:moveTo>
                    <a:cubicBezTo>
                      <a:pt x="305439" y="257275"/>
                      <a:pt x="302883" y="259828"/>
                      <a:pt x="299049" y="259828"/>
                    </a:cubicBezTo>
                    <a:lnTo>
                      <a:pt x="160387" y="259828"/>
                    </a:lnTo>
                    <a:cubicBezTo>
                      <a:pt x="156553" y="259828"/>
                      <a:pt x="153998" y="257275"/>
                      <a:pt x="153998" y="253444"/>
                    </a:cubicBezTo>
                    <a:lnTo>
                      <a:pt x="153998" y="241953"/>
                    </a:lnTo>
                    <a:cubicBezTo>
                      <a:pt x="153998" y="225355"/>
                      <a:pt x="160387" y="210033"/>
                      <a:pt x="170611" y="199180"/>
                    </a:cubicBezTo>
                    <a:cubicBezTo>
                      <a:pt x="164221" y="195988"/>
                      <a:pt x="157192" y="194711"/>
                      <a:pt x="149525" y="194711"/>
                    </a:cubicBezTo>
                    <a:lnTo>
                      <a:pt x="111185" y="194711"/>
                    </a:lnTo>
                    <a:cubicBezTo>
                      <a:pt x="84347" y="194711"/>
                      <a:pt x="67733" y="211310"/>
                      <a:pt x="67733" y="236846"/>
                    </a:cubicBezTo>
                    <a:lnTo>
                      <a:pt x="67733" y="254083"/>
                    </a:lnTo>
                    <a:cubicBezTo>
                      <a:pt x="67733" y="257913"/>
                      <a:pt x="65177" y="260467"/>
                      <a:pt x="61343" y="260467"/>
                    </a:cubicBezTo>
                    <a:cubicBezTo>
                      <a:pt x="57509" y="260467"/>
                      <a:pt x="54954" y="257913"/>
                      <a:pt x="54954" y="254083"/>
                    </a:cubicBezTo>
                    <a:lnTo>
                      <a:pt x="54954" y="236846"/>
                    </a:lnTo>
                    <a:cubicBezTo>
                      <a:pt x="54954" y="204287"/>
                      <a:pt x="77957" y="181944"/>
                      <a:pt x="111185" y="181944"/>
                    </a:cubicBezTo>
                    <a:lnTo>
                      <a:pt x="149525" y="181944"/>
                    </a:lnTo>
                    <a:cubicBezTo>
                      <a:pt x="161665" y="181944"/>
                      <a:pt x="171889" y="185135"/>
                      <a:pt x="180835" y="190881"/>
                    </a:cubicBezTo>
                    <a:cubicBezTo>
                      <a:pt x="189142" y="185135"/>
                      <a:pt x="199366" y="181944"/>
                      <a:pt x="210229" y="181944"/>
                    </a:cubicBezTo>
                    <a:lnTo>
                      <a:pt x="248569" y="181944"/>
                    </a:lnTo>
                    <a:cubicBezTo>
                      <a:pt x="279879" y="181944"/>
                      <a:pt x="304800" y="208756"/>
                      <a:pt x="304800" y="242591"/>
                    </a:cubicBezTo>
                    <a:lnTo>
                      <a:pt x="304800" y="253444"/>
                    </a:lnTo>
                    <a:close/>
                  </a:path>
                </a:pathLst>
              </a:custGeom>
              <a:grpFill/>
              <a:ln w="6390" cap="flat">
                <a:noFill/>
                <a:prstDash val="solid"/>
                <a:miter/>
              </a:ln>
            </p:spPr>
            <p:txBody>
              <a:bodyPr anchor="ctr"/>
              <a:lstStyle/>
              <a:p>
                <a:pPr eaLnBrk="1" fontAlgn="auto" hangingPunct="1">
                  <a:spcBef>
                    <a:spcPts val="0"/>
                  </a:spcBef>
                  <a:spcAft>
                    <a:spcPts val="0"/>
                  </a:spcAft>
                  <a:defRPr/>
                </a:pPr>
                <a:endParaRPr lang="en-US" kern="0">
                  <a:solidFill>
                    <a:prstClr val="black"/>
                  </a:solidFill>
                  <a:latin typeface="Calibri" panose="020F0502020204030204"/>
                </a:endParaRPr>
              </a:p>
            </p:txBody>
          </p:sp>
          <p:sp>
            <p:nvSpPr>
              <p:cNvPr id="29" name="Graphic 4">
                <a:extLst>
                  <a:ext uri="{FF2B5EF4-FFF2-40B4-BE49-F238E27FC236}">
                    <a16:creationId xmlns:a16="http://schemas.microsoft.com/office/drawing/2014/main" id="{4BB2B6FE-6BE3-B6DF-752B-FCC5CC580FFD}"/>
                  </a:ext>
                </a:extLst>
              </p:cNvPr>
              <p:cNvSpPr/>
              <p:nvPr/>
            </p:nvSpPr>
            <p:spPr>
              <a:xfrm>
                <a:off x="1005776" y="1022876"/>
                <a:ext cx="60065" cy="60009"/>
              </a:xfrm>
              <a:custGeom>
                <a:avLst/>
                <a:gdLst>
                  <a:gd name="connsiteX0" fmla="*/ 30033 w 60065"/>
                  <a:gd name="connsiteY0" fmla="*/ 60009 h 60009"/>
                  <a:gd name="connsiteX1" fmla="*/ 60065 w 60065"/>
                  <a:gd name="connsiteY1" fmla="*/ 30005 h 60009"/>
                  <a:gd name="connsiteX2" fmla="*/ 30033 w 60065"/>
                  <a:gd name="connsiteY2" fmla="*/ 0 h 60009"/>
                  <a:gd name="connsiteX3" fmla="*/ 0 w 60065"/>
                  <a:gd name="connsiteY3" fmla="*/ 30005 h 60009"/>
                  <a:gd name="connsiteX4" fmla="*/ 30033 w 60065"/>
                  <a:gd name="connsiteY4" fmla="*/ 60009 h 6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65" h="60009">
                    <a:moveTo>
                      <a:pt x="30033" y="60009"/>
                    </a:moveTo>
                    <a:cubicBezTo>
                      <a:pt x="46647" y="60009"/>
                      <a:pt x="60065" y="46603"/>
                      <a:pt x="60065" y="30005"/>
                    </a:cubicBezTo>
                    <a:cubicBezTo>
                      <a:pt x="60065" y="13406"/>
                      <a:pt x="46647" y="0"/>
                      <a:pt x="30033" y="0"/>
                    </a:cubicBezTo>
                    <a:cubicBezTo>
                      <a:pt x="13419" y="0"/>
                      <a:pt x="0" y="13406"/>
                      <a:pt x="0" y="30005"/>
                    </a:cubicBezTo>
                    <a:cubicBezTo>
                      <a:pt x="0" y="46603"/>
                      <a:pt x="13419" y="60009"/>
                      <a:pt x="30033" y="60009"/>
                    </a:cubicBezTo>
                    <a:close/>
                  </a:path>
                </a:pathLst>
              </a:custGeom>
              <a:grpFill/>
              <a:ln w="6390" cap="flat">
                <a:noFill/>
                <a:prstDash val="solid"/>
                <a:miter/>
              </a:ln>
            </p:spPr>
            <p:txBody>
              <a:bodyPr anchor="ctr"/>
              <a:lstStyle/>
              <a:p>
                <a:pPr eaLnBrk="1" fontAlgn="auto" hangingPunct="1">
                  <a:spcBef>
                    <a:spcPts val="0"/>
                  </a:spcBef>
                  <a:spcAft>
                    <a:spcPts val="0"/>
                  </a:spcAft>
                  <a:defRPr/>
                </a:pPr>
                <a:endParaRPr lang="en-US" kern="0">
                  <a:solidFill>
                    <a:prstClr val="black"/>
                  </a:solidFill>
                  <a:latin typeface="Calibri" panose="020F0502020204030204"/>
                </a:endParaRPr>
              </a:p>
            </p:txBody>
          </p:sp>
        </p:grpSp>
      </p:grpSp>
      <p:grpSp>
        <p:nvGrpSpPr>
          <p:cNvPr id="15476" name="Group 9227">
            <a:extLst>
              <a:ext uri="{FF2B5EF4-FFF2-40B4-BE49-F238E27FC236}">
                <a16:creationId xmlns:a16="http://schemas.microsoft.com/office/drawing/2014/main" id="{F8A19C3A-E46C-E258-60B8-7572D41B145A}"/>
              </a:ext>
            </a:extLst>
          </p:cNvPr>
          <p:cNvGrpSpPr>
            <a:grpSpLocks/>
          </p:cNvGrpSpPr>
          <p:nvPr/>
        </p:nvGrpSpPr>
        <p:grpSpPr bwMode="auto">
          <a:xfrm>
            <a:off x="228600" y="4751388"/>
            <a:ext cx="1455738" cy="1325562"/>
            <a:chOff x="4650688" y="2689399"/>
            <a:chExt cx="2750876" cy="2465944"/>
          </a:xfrm>
        </p:grpSpPr>
        <p:sp>
          <p:nvSpPr>
            <p:cNvPr id="37" name="TextBox 36">
              <a:extLst>
                <a:ext uri="{FF2B5EF4-FFF2-40B4-BE49-F238E27FC236}">
                  <a16:creationId xmlns:a16="http://schemas.microsoft.com/office/drawing/2014/main" id="{9784C765-8109-B410-D643-E8FC332D0842}"/>
                </a:ext>
              </a:extLst>
            </p:cNvPr>
            <p:cNvSpPr txBox="1"/>
            <p:nvPr/>
          </p:nvSpPr>
          <p:spPr>
            <a:xfrm>
              <a:off x="4650688" y="4638529"/>
              <a:ext cx="2750876" cy="516814"/>
            </a:xfrm>
            <a:prstGeom prst="rect">
              <a:avLst/>
            </a:prstGeom>
            <a:noFill/>
            <a:ln>
              <a:noFill/>
            </a:ln>
          </p:spPr>
          <p:txBody>
            <a:bodyPr wrap="none">
              <a:spAutoFit/>
            </a:bodyPr>
            <a:lstStyle/>
            <a:p>
              <a:pPr algn="ctr" eaLnBrk="1" fontAlgn="auto" hangingPunct="1">
                <a:spcBef>
                  <a:spcPts val="0"/>
                </a:spcBef>
                <a:spcAft>
                  <a:spcPts val="0"/>
                </a:spcAft>
                <a:defRPr/>
              </a:pPr>
              <a:r>
                <a:rPr lang="es-MX" sz="1200" kern="0">
                  <a:solidFill>
                    <a:srgbClr val="FFD500"/>
                  </a:solidFill>
                  <a:latin typeface="Calibri" panose="020F0502020204030204"/>
                </a:rPr>
                <a:t>Cambio de pregunta</a:t>
              </a:r>
              <a:endParaRPr lang="en-US" sz="1200" kern="0">
                <a:solidFill>
                  <a:srgbClr val="FFD500"/>
                </a:solidFill>
                <a:latin typeface="Calibri" panose="020F0502020204030204"/>
              </a:endParaRPr>
            </a:p>
          </p:txBody>
        </p:sp>
        <p:sp>
          <p:nvSpPr>
            <p:cNvPr id="43" name="Oval 42">
              <a:extLst>
                <a:ext uri="{FF2B5EF4-FFF2-40B4-BE49-F238E27FC236}">
                  <a16:creationId xmlns:a16="http://schemas.microsoft.com/office/drawing/2014/main" id="{E8B9C747-010B-C15F-31BA-D7078B904D97}"/>
                </a:ext>
              </a:extLst>
            </p:cNvPr>
            <p:cNvSpPr/>
            <p:nvPr/>
          </p:nvSpPr>
          <p:spPr>
            <a:xfrm>
              <a:off x="5133667" y="2689399"/>
              <a:ext cx="1802917" cy="1798515"/>
            </a:xfrm>
            <a:prstGeom prst="ellipse">
              <a:avLst/>
            </a:prstGeom>
            <a:noFill/>
            <a:ln w="57150" cap="flat" cmpd="sng" algn="ctr">
              <a:solidFill>
                <a:srgbClr val="FFD500"/>
              </a:solidFill>
              <a:prstDash val="dash"/>
              <a:miter lim="800000"/>
            </a:ln>
            <a:effectLst/>
          </p:spPr>
          <p:txBody>
            <a:bodyPr anchor="ctr"/>
            <a:lstStyle/>
            <a:p>
              <a:pPr algn="ctr" eaLnBrk="1" fontAlgn="auto" hangingPunct="1">
                <a:spcBef>
                  <a:spcPts val="0"/>
                </a:spcBef>
                <a:spcAft>
                  <a:spcPts val="0"/>
                </a:spcAft>
                <a:defRPr/>
              </a:pPr>
              <a:endParaRPr lang="en-US" kern="0">
                <a:solidFill>
                  <a:prstClr val="white"/>
                </a:solidFill>
                <a:latin typeface="Calibri" panose="020F0502020204030204"/>
              </a:endParaRPr>
            </a:p>
          </p:txBody>
        </p:sp>
        <p:sp>
          <p:nvSpPr>
            <p:cNvPr id="50" name="Oval 49">
              <a:extLst>
                <a:ext uri="{FF2B5EF4-FFF2-40B4-BE49-F238E27FC236}">
                  <a16:creationId xmlns:a16="http://schemas.microsoft.com/office/drawing/2014/main" id="{FB40B152-E718-62F9-A9ED-3C06929D6E19}"/>
                </a:ext>
              </a:extLst>
            </p:cNvPr>
            <p:cNvSpPr/>
            <p:nvPr/>
          </p:nvSpPr>
          <p:spPr>
            <a:xfrm>
              <a:off x="5277660" y="2810480"/>
              <a:ext cx="1514930" cy="1556352"/>
            </a:xfrm>
            <a:prstGeom prst="ellipse">
              <a:avLst/>
            </a:prstGeom>
            <a:solidFill>
              <a:schemeClr val="tx1"/>
            </a:solidFill>
            <a:ln>
              <a:solidFill>
                <a:srgbClr val="FFD5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51" name="Graphic 4">
              <a:extLst>
                <a:ext uri="{FF2B5EF4-FFF2-40B4-BE49-F238E27FC236}">
                  <a16:creationId xmlns:a16="http://schemas.microsoft.com/office/drawing/2014/main" id="{143D22C1-B1C9-C701-9DDD-161D920B4E4D}"/>
                </a:ext>
              </a:extLst>
            </p:cNvPr>
            <p:cNvSpPr/>
            <p:nvPr/>
          </p:nvSpPr>
          <p:spPr>
            <a:xfrm>
              <a:off x="5415654" y="2990628"/>
              <a:ext cx="1238943" cy="1234449"/>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84347 w 362309"/>
                <a:gd name="connsiteY7" fmla="*/ 187689 h 361971"/>
                <a:gd name="connsiteX8" fmla="*/ 77957 w 362309"/>
                <a:gd name="connsiteY8" fmla="*/ 181305 h 361971"/>
                <a:gd name="connsiteX9" fmla="*/ 181474 w 362309"/>
                <a:gd name="connsiteY9" fmla="*/ 77885 h 361971"/>
                <a:gd name="connsiteX10" fmla="*/ 249846 w 362309"/>
                <a:gd name="connsiteY10" fmla="*/ 103421 h 361971"/>
                <a:gd name="connsiteX11" fmla="*/ 249846 w 362309"/>
                <a:gd name="connsiteY11" fmla="*/ 75331 h 361971"/>
                <a:gd name="connsiteX12" fmla="*/ 256236 w 362309"/>
                <a:gd name="connsiteY12" fmla="*/ 68947 h 361971"/>
                <a:gd name="connsiteX13" fmla="*/ 262626 w 362309"/>
                <a:gd name="connsiteY13" fmla="*/ 75331 h 361971"/>
                <a:gd name="connsiteX14" fmla="*/ 262626 w 362309"/>
                <a:gd name="connsiteY14" fmla="*/ 119381 h 361971"/>
                <a:gd name="connsiteX15" fmla="*/ 256236 w 362309"/>
                <a:gd name="connsiteY15" fmla="*/ 125765 h 361971"/>
                <a:gd name="connsiteX16" fmla="*/ 212146 w 362309"/>
                <a:gd name="connsiteY16" fmla="*/ 125765 h 361971"/>
                <a:gd name="connsiteX17" fmla="*/ 205756 w 362309"/>
                <a:gd name="connsiteY17" fmla="*/ 119381 h 361971"/>
                <a:gd name="connsiteX18" fmla="*/ 212146 w 362309"/>
                <a:gd name="connsiteY18" fmla="*/ 112997 h 361971"/>
                <a:gd name="connsiteX19" fmla="*/ 241540 w 362309"/>
                <a:gd name="connsiteY19" fmla="*/ 112997 h 361971"/>
                <a:gd name="connsiteX20" fmla="*/ 113741 w 362309"/>
                <a:gd name="connsiteY20" fmla="*/ 121296 h 361971"/>
                <a:gd name="connsiteX21" fmla="*/ 91376 w 362309"/>
                <a:gd name="connsiteY21" fmla="*/ 181305 h 361971"/>
                <a:gd name="connsiteX22" fmla="*/ 84347 w 362309"/>
                <a:gd name="connsiteY22" fmla="*/ 187689 h 361971"/>
                <a:gd name="connsiteX23" fmla="*/ 181474 w 362309"/>
                <a:gd name="connsiteY23" fmla="*/ 284725 h 361971"/>
                <a:gd name="connsiteX24" fmla="*/ 113102 w 362309"/>
                <a:gd name="connsiteY24" fmla="*/ 258551 h 361971"/>
                <a:gd name="connsiteX25" fmla="*/ 113102 w 362309"/>
                <a:gd name="connsiteY25" fmla="*/ 287279 h 361971"/>
                <a:gd name="connsiteX26" fmla="*/ 106712 w 362309"/>
                <a:gd name="connsiteY26" fmla="*/ 293663 h 361971"/>
                <a:gd name="connsiteX27" fmla="*/ 100322 w 362309"/>
                <a:gd name="connsiteY27" fmla="*/ 287279 h 361971"/>
                <a:gd name="connsiteX28" fmla="*/ 100322 w 362309"/>
                <a:gd name="connsiteY28" fmla="*/ 243230 h 361971"/>
                <a:gd name="connsiteX29" fmla="*/ 106712 w 362309"/>
                <a:gd name="connsiteY29" fmla="*/ 236846 h 361971"/>
                <a:gd name="connsiteX30" fmla="*/ 150802 w 362309"/>
                <a:gd name="connsiteY30" fmla="*/ 236846 h 361971"/>
                <a:gd name="connsiteX31" fmla="*/ 157192 w 362309"/>
                <a:gd name="connsiteY31" fmla="*/ 243230 h 361971"/>
                <a:gd name="connsiteX32" fmla="*/ 150802 w 362309"/>
                <a:gd name="connsiteY32" fmla="*/ 249614 h 361971"/>
                <a:gd name="connsiteX33" fmla="*/ 121409 w 362309"/>
                <a:gd name="connsiteY33" fmla="*/ 249614 h 361971"/>
                <a:gd name="connsiteX34" fmla="*/ 249208 w 362309"/>
                <a:gd name="connsiteY34" fmla="*/ 241314 h 361971"/>
                <a:gd name="connsiteX35" fmla="*/ 271572 w 362309"/>
                <a:gd name="connsiteY35" fmla="*/ 181305 h 361971"/>
                <a:gd name="connsiteX36" fmla="*/ 277962 w 362309"/>
                <a:gd name="connsiteY36" fmla="*/ 174921 h 361971"/>
                <a:gd name="connsiteX37" fmla="*/ 284352 w 362309"/>
                <a:gd name="connsiteY37" fmla="*/ 181305 h 361971"/>
                <a:gd name="connsiteX38" fmla="*/ 181474 w 362309"/>
                <a:gd name="connsiteY38" fmla="*/ 28472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310" y="81077"/>
                    <a:pt x="281157" y="0"/>
                    <a:pt x="181474" y="0"/>
                  </a:cubicBezTo>
                  <a:cubicBezTo>
                    <a:pt x="181474" y="0"/>
                    <a:pt x="181474" y="0"/>
                    <a:pt x="181474" y="0"/>
                  </a:cubicBezTo>
                  <a:close/>
                  <a:moveTo>
                    <a:pt x="84347" y="187689"/>
                  </a:moveTo>
                  <a:cubicBezTo>
                    <a:pt x="80513" y="187689"/>
                    <a:pt x="77957" y="185135"/>
                    <a:pt x="77957" y="181305"/>
                  </a:cubicBezTo>
                  <a:cubicBezTo>
                    <a:pt x="77957" y="124488"/>
                    <a:pt x="123965" y="77885"/>
                    <a:pt x="181474" y="77885"/>
                  </a:cubicBezTo>
                  <a:cubicBezTo>
                    <a:pt x="206395" y="77885"/>
                    <a:pt x="230677" y="86822"/>
                    <a:pt x="249846" y="103421"/>
                  </a:cubicBezTo>
                  <a:lnTo>
                    <a:pt x="249846" y="75331"/>
                  </a:lnTo>
                  <a:cubicBezTo>
                    <a:pt x="249846" y="71501"/>
                    <a:pt x="252403" y="68947"/>
                    <a:pt x="256236" y="68947"/>
                  </a:cubicBezTo>
                  <a:cubicBezTo>
                    <a:pt x="260071" y="68947"/>
                    <a:pt x="262626" y="71501"/>
                    <a:pt x="262626" y="75331"/>
                  </a:cubicBezTo>
                  <a:lnTo>
                    <a:pt x="262626" y="119381"/>
                  </a:lnTo>
                  <a:cubicBezTo>
                    <a:pt x="262626" y="123211"/>
                    <a:pt x="260071" y="125765"/>
                    <a:pt x="256236" y="125765"/>
                  </a:cubicBezTo>
                  <a:lnTo>
                    <a:pt x="212146" y="125765"/>
                  </a:lnTo>
                  <a:cubicBezTo>
                    <a:pt x="208312" y="125765"/>
                    <a:pt x="205756" y="123211"/>
                    <a:pt x="205756" y="119381"/>
                  </a:cubicBezTo>
                  <a:cubicBezTo>
                    <a:pt x="205756" y="115550"/>
                    <a:pt x="208312" y="112997"/>
                    <a:pt x="212146" y="112997"/>
                  </a:cubicBezTo>
                  <a:lnTo>
                    <a:pt x="241540" y="112997"/>
                  </a:lnTo>
                  <a:cubicBezTo>
                    <a:pt x="203839" y="79800"/>
                    <a:pt x="146330" y="83630"/>
                    <a:pt x="113741" y="121296"/>
                  </a:cubicBezTo>
                  <a:cubicBezTo>
                    <a:pt x="99044" y="137894"/>
                    <a:pt x="91376" y="158961"/>
                    <a:pt x="91376" y="181305"/>
                  </a:cubicBezTo>
                  <a:cubicBezTo>
                    <a:pt x="90098" y="184497"/>
                    <a:pt x="87542" y="187689"/>
                    <a:pt x="84347" y="187689"/>
                  </a:cubicBezTo>
                  <a:close/>
                  <a:moveTo>
                    <a:pt x="181474" y="284725"/>
                  </a:moveTo>
                  <a:cubicBezTo>
                    <a:pt x="155915" y="284725"/>
                    <a:pt x="131633" y="275149"/>
                    <a:pt x="113102" y="258551"/>
                  </a:cubicBezTo>
                  <a:lnTo>
                    <a:pt x="113102" y="287279"/>
                  </a:lnTo>
                  <a:cubicBezTo>
                    <a:pt x="113102" y="291109"/>
                    <a:pt x="110546" y="293663"/>
                    <a:pt x="106712" y="293663"/>
                  </a:cubicBezTo>
                  <a:cubicBezTo>
                    <a:pt x="102878" y="293663"/>
                    <a:pt x="100322" y="291109"/>
                    <a:pt x="100322" y="287279"/>
                  </a:cubicBezTo>
                  <a:lnTo>
                    <a:pt x="100322" y="243230"/>
                  </a:lnTo>
                  <a:cubicBezTo>
                    <a:pt x="100322" y="239399"/>
                    <a:pt x="102878" y="236846"/>
                    <a:pt x="106712" y="236846"/>
                  </a:cubicBezTo>
                  <a:lnTo>
                    <a:pt x="150802" y="236846"/>
                  </a:lnTo>
                  <a:cubicBezTo>
                    <a:pt x="154637" y="236846"/>
                    <a:pt x="157192" y="239399"/>
                    <a:pt x="157192" y="243230"/>
                  </a:cubicBezTo>
                  <a:cubicBezTo>
                    <a:pt x="157192" y="247060"/>
                    <a:pt x="154637" y="249614"/>
                    <a:pt x="150802" y="249614"/>
                  </a:cubicBezTo>
                  <a:lnTo>
                    <a:pt x="121409" y="249614"/>
                  </a:lnTo>
                  <a:cubicBezTo>
                    <a:pt x="159110" y="282810"/>
                    <a:pt x="216619" y="278980"/>
                    <a:pt x="249208" y="241314"/>
                  </a:cubicBezTo>
                  <a:cubicBezTo>
                    <a:pt x="263904" y="224716"/>
                    <a:pt x="271572" y="203649"/>
                    <a:pt x="271572" y="181305"/>
                  </a:cubicBezTo>
                  <a:cubicBezTo>
                    <a:pt x="271572" y="177475"/>
                    <a:pt x="274128" y="174921"/>
                    <a:pt x="277962" y="174921"/>
                  </a:cubicBezTo>
                  <a:cubicBezTo>
                    <a:pt x="281796" y="174921"/>
                    <a:pt x="284352" y="177475"/>
                    <a:pt x="284352" y="181305"/>
                  </a:cubicBezTo>
                  <a:cubicBezTo>
                    <a:pt x="284991" y="238122"/>
                    <a:pt x="238345" y="284725"/>
                    <a:pt x="181474" y="284725"/>
                  </a:cubicBezTo>
                  <a:close/>
                </a:path>
              </a:pathLst>
            </a:custGeom>
            <a:solidFill>
              <a:srgbClr val="FFD500"/>
            </a:solidFill>
            <a:ln w="6390" cap="flat">
              <a:solidFill>
                <a:srgbClr val="FFD500"/>
              </a:solidFill>
              <a:prstDash val="solid"/>
              <a:miter/>
            </a:ln>
          </p:spPr>
          <p:txBody>
            <a:bodyPr anchor="ctr"/>
            <a:lstStyle/>
            <a:p>
              <a:pPr eaLnBrk="1" fontAlgn="auto" hangingPunct="1">
                <a:spcBef>
                  <a:spcPts val="0"/>
                </a:spcBef>
                <a:spcAft>
                  <a:spcPts val="0"/>
                </a:spcAft>
                <a:defRPr/>
              </a:pPr>
              <a:endParaRPr lang="en-US" kern="0">
                <a:solidFill>
                  <a:prstClr val="black"/>
                </a:solidFill>
                <a:latin typeface="Calibri" panose="020F0502020204030204"/>
              </a:endParaRPr>
            </a:p>
          </p:txBody>
        </p:sp>
      </p:gr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F468F5F5-111C-CBCF-2E6E-1910A5ED7A4B}"/>
              </a:ext>
            </a:extLst>
          </p:cNvPr>
          <p:cNvSpPr txBox="1">
            <a:spLocks/>
          </p:cNvSpPr>
          <p:nvPr/>
        </p:nvSpPr>
        <p:spPr bwMode="gray">
          <a:xfrm>
            <a:off x="501651" y="241300"/>
            <a:ext cx="11162349"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MX"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Reconoce al compañero con quien realizaste tu actividad</a:t>
            </a:r>
            <a:endPar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endParaRPr>
          </a:p>
        </p:txBody>
      </p:sp>
      <p:sp>
        <p:nvSpPr>
          <p:cNvPr id="3" name="Pentagon 9">
            <a:extLst>
              <a:ext uri="{FF2B5EF4-FFF2-40B4-BE49-F238E27FC236}">
                <a16:creationId xmlns:a16="http://schemas.microsoft.com/office/drawing/2014/main" id="{3AB6210E-2534-BE5C-C5C5-37148AC9C028}"/>
              </a:ext>
            </a:extLst>
          </p:cNvPr>
          <p:cNvSpPr/>
          <p:nvPr/>
        </p:nvSpPr>
        <p:spPr>
          <a:xfrm>
            <a:off x="276439" y="2273853"/>
            <a:ext cx="206350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43B02A">
              <a:alpha val="60000"/>
            </a:srgb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D0D0CE"/>
              </a:solidFill>
              <a:effectLst/>
              <a:uLnTx/>
              <a:uFillTx/>
              <a:latin typeface="Verdana" panose="020B0604030504040204" pitchFamily="34" charset="0"/>
              <a:ea typeface="Verdana" panose="020B0604030504040204" pitchFamily="34" charset="0"/>
              <a:cs typeface="+mn-cs"/>
            </a:endParaRPr>
          </a:p>
        </p:txBody>
      </p:sp>
      <p:sp>
        <p:nvSpPr>
          <p:cNvPr id="4" name="Pentagon 12">
            <a:extLst>
              <a:ext uri="{FF2B5EF4-FFF2-40B4-BE49-F238E27FC236}">
                <a16:creationId xmlns:a16="http://schemas.microsoft.com/office/drawing/2014/main" id="{5DC39788-6CBB-F96A-BFC5-4EF8377157D7}"/>
              </a:ext>
            </a:extLst>
          </p:cNvPr>
          <p:cNvSpPr/>
          <p:nvPr/>
        </p:nvSpPr>
        <p:spPr>
          <a:xfrm flipH="1">
            <a:off x="2022500" y="2301561"/>
            <a:ext cx="396582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43B02A"/>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D0D0CE"/>
              </a:solidFill>
              <a:effectLst/>
              <a:uLnTx/>
              <a:uFillTx/>
              <a:latin typeface="Verdana" panose="020B0604030504040204" pitchFamily="34" charset="0"/>
              <a:ea typeface="Verdana" panose="020B0604030504040204" pitchFamily="34" charset="0"/>
              <a:cs typeface="+mn-cs"/>
            </a:endParaRPr>
          </a:p>
        </p:txBody>
      </p:sp>
      <p:sp>
        <p:nvSpPr>
          <p:cNvPr id="5" name="Pentagon 9">
            <a:extLst>
              <a:ext uri="{FF2B5EF4-FFF2-40B4-BE49-F238E27FC236}">
                <a16:creationId xmlns:a16="http://schemas.microsoft.com/office/drawing/2014/main" id="{95D046A0-FA06-F452-0C48-F8BAE1D8F643}"/>
              </a:ext>
            </a:extLst>
          </p:cNvPr>
          <p:cNvSpPr/>
          <p:nvPr/>
        </p:nvSpPr>
        <p:spPr>
          <a:xfrm>
            <a:off x="276068" y="4812369"/>
            <a:ext cx="206350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86BC25">
              <a:alpha val="60000"/>
            </a:srgb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D0D0CE"/>
              </a:solidFill>
              <a:effectLst/>
              <a:uLnTx/>
              <a:uFillTx/>
              <a:latin typeface="Verdana" panose="020B0604030504040204" pitchFamily="34" charset="0"/>
              <a:ea typeface="Verdana" panose="020B0604030504040204" pitchFamily="34" charset="0"/>
              <a:cs typeface="+mn-cs"/>
            </a:endParaRPr>
          </a:p>
        </p:txBody>
      </p:sp>
      <p:sp>
        <p:nvSpPr>
          <p:cNvPr id="6" name="Pentagon 12">
            <a:extLst>
              <a:ext uri="{FF2B5EF4-FFF2-40B4-BE49-F238E27FC236}">
                <a16:creationId xmlns:a16="http://schemas.microsoft.com/office/drawing/2014/main" id="{C7EE33C5-9940-C178-1291-58287ED811D7}"/>
              </a:ext>
            </a:extLst>
          </p:cNvPr>
          <p:cNvSpPr/>
          <p:nvPr/>
        </p:nvSpPr>
        <p:spPr>
          <a:xfrm flipH="1">
            <a:off x="2022129" y="4840077"/>
            <a:ext cx="396582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86BC25"/>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D0D0CE"/>
              </a:solidFill>
              <a:effectLst/>
              <a:uLnTx/>
              <a:uFillTx/>
              <a:latin typeface="Verdana" panose="020B0604030504040204" pitchFamily="34" charset="0"/>
              <a:ea typeface="Verdana" panose="020B0604030504040204" pitchFamily="34" charset="0"/>
              <a:cs typeface="+mn-cs"/>
            </a:endParaRPr>
          </a:p>
        </p:txBody>
      </p:sp>
      <p:sp>
        <p:nvSpPr>
          <p:cNvPr id="7" name="Pentagon 9">
            <a:extLst>
              <a:ext uri="{FF2B5EF4-FFF2-40B4-BE49-F238E27FC236}">
                <a16:creationId xmlns:a16="http://schemas.microsoft.com/office/drawing/2014/main" id="{DC147B41-AAFB-5C31-D812-D20B51A2C08F}"/>
              </a:ext>
            </a:extLst>
          </p:cNvPr>
          <p:cNvSpPr/>
          <p:nvPr/>
        </p:nvSpPr>
        <p:spPr>
          <a:xfrm>
            <a:off x="6300340" y="2301561"/>
            <a:ext cx="206350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26890D"/>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D0D0CE"/>
              </a:solidFill>
              <a:effectLst/>
              <a:uLnTx/>
              <a:uFillTx/>
              <a:latin typeface="Verdana" panose="020B0604030504040204" pitchFamily="34" charset="0"/>
              <a:ea typeface="Verdana" panose="020B0604030504040204" pitchFamily="34" charset="0"/>
              <a:cs typeface="+mn-cs"/>
            </a:endParaRPr>
          </a:p>
        </p:txBody>
      </p:sp>
      <p:sp>
        <p:nvSpPr>
          <p:cNvPr id="8" name="Pentagon 12">
            <a:extLst>
              <a:ext uri="{FF2B5EF4-FFF2-40B4-BE49-F238E27FC236}">
                <a16:creationId xmlns:a16="http://schemas.microsoft.com/office/drawing/2014/main" id="{B2541338-CF7E-4858-9645-1D90F8B485DE}"/>
              </a:ext>
            </a:extLst>
          </p:cNvPr>
          <p:cNvSpPr/>
          <p:nvPr/>
        </p:nvSpPr>
        <p:spPr>
          <a:xfrm flipH="1">
            <a:off x="8046403" y="2319771"/>
            <a:ext cx="396582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26890D">
              <a:lumMod val="60000"/>
              <a:lumOff val="40000"/>
            </a:srgb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D0D0CE"/>
              </a:solidFill>
              <a:effectLst/>
              <a:uLnTx/>
              <a:uFillTx/>
              <a:latin typeface="Verdana" panose="020B0604030504040204" pitchFamily="34" charset="0"/>
              <a:ea typeface="Verdana" panose="020B0604030504040204" pitchFamily="34" charset="0"/>
              <a:cs typeface="+mn-cs"/>
            </a:endParaRPr>
          </a:p>
        </p:txBody>
      </p:sp>
      <p:sp>
        <p:nvSpPr>
          <p:cNvPr id="9" name="TextBox 8">
            <a:extLst>
              <a:ext uri="{FF2B5EF4-FFF2-40B4-BE49-F238E27FC236}">
                <a16:creationId xmlns:a16="http://schemas.microsoft.com/office/drawing/2014/main" id="{106BAC10-8758-94EC-F58A-1951D902EB7F}"/>
              </a:ext>
            </a:extLst>
          </p:cNvPr>
          <p:cNvSpPr txBox="1"/>
          <p:nvPr/>
        </p:nvSpPr>
        <p:spPr>
          <a:xfrm>
            <a:off x="276437" y="2535764"/>
            <a:ext cx="1634971" cy="307777"/>
          </a:xfrm>
          <a:prstGeom prst="rect">
            <a:avLst/>
          </a:prstGeom>
          <a:noFill/>
        </p:spPr>
        <p:txBody>
          <a:bodyPr wrap="square" rtlCol="0">
            <a:spAutoFit/>
          </a:bodyPr>
          <a:lstStyle/>
          <a:p>
            <a:pPr eaLnBrk="1" fontAlgn="auto" hangingPunct="1">
              <a:spcBef>
                <a:spcPts val="0"/>
              </a:spcBef>
              <a:spcAft>
                <a:spcPts val="0"/>
              </a:spcAft>
            </a:pPr>
            <a:r>
              <a:rPr lang="es-MX" sz="1400" b="1">
                <a:solidFill>
                  <a:prstClr val="white"/>
                </a:solidFill>
                <a:latin typeface="Verdana" panose="020B0604030504040204" pitchFamily="34" charset="0"/>
                <a:ea typeface="Verdana" panose="020B0604030504040204" pitchFamily="34" charset="0"/>
              </a:rPr>
              <a:t>Adaptación</a:t>
            </a:r>
          </a:p>
        </p:txBody>
      </p:sp>
      <p:sp>
        <p:nvSpPr>
          <p:cNvPr id="10" name="TextBox 9">
            <a:extLst>
              <a:ext uri="{FF2B5EF4-FFF2-40B4-BE49-F238E27FC236}">
                <a16:creationId xmlns:a16="http://schemas.microsoft.com/office/drawing/2014/main" id="{49FE27D0-1B4A-5D3D-F3A9-9A3A442B8FDC}"/>
              </a:ext>
            </a:extLst>
          </p:cNvPr>
          <p:cNvSpPr txBox="1"/>
          <p:nvPr/>
        </p:nvSpPr>
        <p:spPr>
          <a:xfrm>
            <a:off x="329682" y="5074280"/>
            <a:ext cx="1634971" cy="307777"/>
          </a:xfrm>
          <a:prstGeom prst="rect">
            <a:avLst/>
          </a:prstGeom>
          <a:noFill/>
        </p:spPr>
        <p:txBody>
          <a:bodyPr wrap="square" rtlCol="0">
            <a:spAutoFit/>
          </a:bodyPr>
          <a:lstStyle/>
          <a:p>
            <a:pPr eaLnBrk="1" fontAlgn="auto" hangingPunct="1">
              <a:spcBef>
                <a:spcPts val="0"/>
              </a:spcBef>
              <a:spcAft>
                <a:spcPts val="0"/>
              </a:spcAft>
            </a:pPr>
            <a:r>
              <a:rPr lang="es-MX" sz="1400" b="1">
                <a:solidFill>
                  <a:prstClr val="white"/>
                </a:solidFill>
                <a:latin typeface="Verdana" panose="020B0604030504040204" pitchFamily="34" charset="0"/>
                <a:ea typeface="Verdana" panose="020B0604030504040204" pitchFamily="34" charset="0"/>
              </a:rPr>
              <a:t>Confianza</a:t>
            </a:r>
          </a:p>
        </p:txBody>
      </p:sp>
      <p:sp>
        <p:nvSpPr>
          <p:cNvPr id="11" name="TextBox 10">
            <a:extLst>
              <a:ext uri="{FF2B5EF4-FFF2-40B4-BE49-F238E27FC236}">
                <a16:creationId xmlns:a16="http://schemas.microsoft.com/office/drawing/2014/main" id="{7F1054CD-718C-480C-2598-506D57C8E4A6}"/>
              </a:ext>
            </a:extLst>
          </p:cNvPr>
          <p:cNvSpPr txBox="1"/>
          <p:nvPr/>
        </p:nvSpPr>
        <p:spPr>
          <a:xfrm>
            <a:off x="6355887" y="2544476"/>
            <a:ext cx="1634971" cy="307777"/>
          </a:xfrm>
          <a:prstGeom prst="rect">
            <a:avLst/>
          </a:prstGeom>
          <a:noFill/>
        </p:spPr>
        <p:txBody>
          <a:bodyPr wrap="square" rtlCol="0">
            <a:spAutoFit/>
          </a:bodyPr>
          <a:lstStyle/>
          <a:p>
            <a:pPr eaLnBrk="1" fontAlgn="auto" hangingPunct="1">
              <a:spcBef>
                <a:spcPts val="0"/>
              </a:spcBef>
              <a:spcAft>
                <a:spcPts val="0"/>
              </a:spcAft>
            </a:pPr>
            <a:r>
              <a:rPr lang="es-MX" sz="1400" b="1">
                <a:solidFill>
                  <a:prstClr val="white"/>
                </a:solidFill>
                <a:latin typeface="Verdana" panose="020B0604030504040204" pitchFamily="34" charset="0"/>
                <a:ea typeface="Verdana" panose="020B0604030504040204" pitchFamily="34" charset="0"/>
              </a:rPr>
              <a:t>Colaboración </a:t>
            </a:r>
          </a:p>
        </p:txBody>
      </p:sp>
      <p:sp>
        <p:nvSpPr>
          <p:cNvPr id="12" name="Pentagon 9">
            <a:extLst>
              <a:ext uri="{FF2B5EF4-FFF2-40B4-BE49-F238E27FC236}">
                <a16:creationId xmlns:a16="http://schemas.microsoft.com/office/drawing/2014/main" id="{CFBECD7A-93FF-86C6-A10A-124F772A8A30}"/>
              </a:ext>
            </a:extLst>
          </p:cNvPr>
          <p:cNvSpPr/>
          <p:nvPr/>
        </p:nvSpPr>
        <p:spPr>
          <a:xfrm>
            <a:off x="6300340" y="3570514"/>
            <a:ext cx="2136089" cy="793901"/>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66C1CB"/>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D0D0CE"/>
              </a:solidFill>
              <a:effectLst/>
              <a:uLnTx/>
              <a:uFillTx/>
              <a:latin typeface="Verdana" panose="020B0604030504040204" pitchFamily="34" charset="0"/>
              <a:ea typeface="Verdana" panose="020B0604030504040204" pitchFamily="34" charset="0"/>
              <a:cs typeface="+mn-cs"/>
            </a:endParaRPr>
          </a:p>
        </p:txBody>
      </p:sp>
      <p:sp>
        <p:nvSpPr>
          <p:cNvPr id="13" name="Pentagon 12">
            <a:extLst>
              <a:ext uri="{FF2B5EF4-FFF2-40B4-BE49-F238E27FC236}">
                <a16:creationId xmlns:a16="http://schemas.microsoft.com/office/drawing/2014/main" id="{EAFDDFF0-34CF-AD54-D25E-AE3C17F4E476}"/>
              </a:ext>
            </a:extLst>
          </p:cNvPr>
          <p:cNvSpPr/>
          <p:nvPr/>
        </p:nvSpPr>
        <p:spPr>
          <a:xfrm flipH="1">
            <a:off x="8046403" y="3593111"/>
            <a:ext cx="396582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D0D0CE"/>
              </a:solidFill>
              <a:effectLst/>
              <a:uLnTx/>
              <a:uFillTx/>
              <a:latin typeface="Verdana" panose="020B0604030504040204" pitchFamily="34" charset="0"/>
              <a:ea typeface="Verdana" panose="020B0604030504040204" pitchFamily="34" charset="0"/>
              <a:cs typeface="+mn-cs"/>
            </a:endParaRPr>
          </a:p>
        </p:txBody>
      </p:sp>
      <p:sp>
        <p:nvSpPr>
          <p:cNvPr id="14" name="TextBox 13">
            <a:extLst>
              <a:ext uri="{FF2B5EF4-FFF2-40B4-BE49-F238E27FC236}">
                <a16:creationId xmlns:a16="http://schemas.microsoft.com/office/drawing/2014/main" id="{81673D34-252E-F0BC-3B54-D94BD671E25E}"/>
              </a:ext>
            </a:extLst>
          </p:cNvPr>
          <p:cNvSpPr txBox="1"/>
          <p:nvPr/>
        </p:nvSpPr>
        <p:spPr>
          <a:xfrm>
            <a:off x="2744442" y="2416696"/>
            <a:ext cx="3330987" cy="553998"/>
          </a:xfrm>
          <a:prstGeom prst="rect">
            <a:avLst/>
          </a:prstGeom>
          <a:noFill/>
        </p:spPr>
        <p:txBody>
          <a:bodyPr wrap="square" rtlCol="0">
            <a:spAutoFit/>
          </a:bodyPr>
          <a:lstStyle/>
          <a:p>
            <a:pPr eaLnBrk="1" fontAlgn="auto" hangingPunct="1">
              <a:spcBef>
                <a:spcPts val="0"/>
              </a:spcBef>
              <a:spcAft>
                <a:spcPts val="0"/>
              </a:spcAft>
            </a:pPr>
            <a:r>
              <a:rPr lang="es-MX" sz="1000">
                <a:solidFill>
                  <a:prstClr val="white"/>
                </a:solidFill>
                <a:latin typeface="Verdana" panose="020B0604030504040204" pitchFamily="34" charset="0"/>
                <a:ea typeface="Verdana" panose="020B0604030504040204" pitchFamily="34" charset="0"/>
              </a:rPr>
              <a:t>Entender que la transformación es constante y mantenerse flexibles o abiertos ante los diferente escenarios a los que nos enfrentemos.</a:t>
            </a:r>
          </a:p>
        </p:txBody>
      </p:sp>
      <p:sp>
        <p:nvSpPr>
          <p:cNvPr id="15" name="TextBox 14">
            <a:extLst>
              <a:ext uri="{FF2B5EF4-FFF2-40B4-BE49-F238E27FC236}">
                <a16:creationId xmlns:a16="http://schemas.microsoft.com/office/drawing/2014/main" id="{5B745C67-F921-11B7-FDEA-3132F303EE8C}"/>
              </a:ext>
            </a:extLst>
          </p:cNvPr>
          <p:cNvSpPr txBox="1"/>
          <p:nvPr/>
        </p:nvSpPr>
        <p:spPr>
          <a:xfrm>
            <a:off x="8818334" y="2542587"/>
            <a:ext cx="3129152" cy="415498"/>
          </a:xfrm>
          <a:prstGeom prst="rect">
            <a:avLst/>
          </a:prstGeom>
          <a:noFill/>
        </p:spPr>
        <p:txBody>
          <a:bodyPr wrap="square" rtlCol="0">
            <a:spAutoFit/>
          </a:bodyPr>
          <a:lstStyle/>
          <a:p>
            <a:pPr eaLnBrk="1" fontAlgn="auto" hangingPunct="1">
              <a:spcBef>
                <a:spcPts val="0"/>
              </a:spcBef>
              <a:spcAft>
                <a:spcPts val="0"/>
              </a:spcAft>
            </a:pPr>
            <a:r>
              <a:rPr lang="es-MX" sz="1050">
                <a:solidFill>
                  <a:prstClr val="black"/>
                </a:solidFill>
                <a:latin typeface="Verdana" panose="020B0604030504040204" pitchFamily="34" charset="0"/>
                <a:ea typeface="Verdana" panose="020B0604030504040204" pitchFamily="34" charset="0"/>
              </a:rPr>
              <a:t>Propiciar la unión de esfuerzos dirigidos hacia los mismos objetivos.</a:t>
            </a:r>
          </a:p>
        </p:txBody>
      </p:sp>
      <p:sp>
        <p:nvSpPr>
          <p:cNvPr id="16" name="TextBox 15">
            <a:extLst>
              <a:ext uri="{FF2B5EF4-FFF2-40B4-BE49-F238E27FC236}">
                <a16:creationId xmlns:a16="http://schemas.microsoft.com/office/drawing/2014/main" id="{FC475067-B317-3325-5417-F6292E958929}"/>
              </a:ext>
            </a:extLst>
          </p:cNvPr>
          <p:cNvSpPr txBox="1"/>
          <p:nvPr/>
        </p:nvSpPr>
        <p:spPr>
          <a:xfrm>
            <a:off x="2771957" y="4955948"/>
            <a:ext cx="3216364" cy="577081"/>
          </a:xfrm>
          <a:prstGeom prst="rect">
            <a:avLst/>
          </a:prstGeom>
          <a:noFill/>
        </p:spPr>
        <p:txBody>
          <a:bodyPr wrap="square" rtlCol="0">
            <a:spAutoFit/>
          </a:bodyPr>
          <a:lstStyle/>
          <a:p>
            <a:pPr eaLnBrk="1" fontAlgn="auto" hangingPunct="1">
              <a:spcBef>
                <a:spcPts val="0"/>
              </a:spcBef>
              <a:spcAft>
                <a:spcPts val="0"/>
              </a:spcAft>
            </a:pPr>
            <a:r>
              <a:rPr lang="es-MX" sz="1050">
                <a:solidFill>
                  <a:prstClr val="black"/>
                </a:solidFill>
                <a:latin typeface="Verdana" panose="020B0604030504040204" pitchFamily="34" charset="0"/>
                <a:ea typeface="Verdana" panose="020B0604030504040204" pitchFamily="34" charset="0"/>
              </a:rPr>
              <a:t>Generar y mantener relaciones que fomenten la interacción con el equipo de tal manera que se alcancen los objetivos.</a:t>
            </a:r>
          </a:p>
        </p:txBody>
      </p:sp>
      <p:sp>
        <p:nvSpPr>
          <p:cNvPr id="17" name="Pentagon 12">
            <a:extLst>
              <a:ext uri="{FF2B5EF4-FFF2-40B4-BE49-F238E27FC236}">
                <a16:creationId xmlns:a16="http://schemas.microsoft.com/office/drawing/2014/main" id="{E9A860BA-C60F-E45F-7B65-F6D2A5A1997A}"/>
              </a:ext>
            </a:extLst>
          </p:cNvPr>
          <p:cNvSpPr/>
          <p:nvPr/>
        </p:nvSpPr>
        <p:spPr>
          <a:xfrm flipH="1">
            <a:off x="2022500" y="3565403"/>
            <a:ext cx="396582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A3E0"/>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D0D0CE"/>
              </a:solidFill>
              <a:effectLst/>
              <a:uLnTx/>
              <a:uFillTx/>
              <a:latin typeface="Verdana" panose="020B0604030504040204" pitchFamily="34" charset="0"/>
              <a:ea typeface="Verdana" panose="020B0604030504040204" pitchFamily="34" charset="0"/>
              <a:cs typeface="+mn-cs"/>
            </a:endParaRPr>
          </a:p>
        </p:txBody>
      </p:sp>
      <p:sp>
        <p:nvSpPr>
          <p:cNvPr id="18" name="Pentagon 9">
            <a:extLst>
              <a:ext uri="{FF2B5EF4-FFF2-40B4-BE49-F238E27FC236}">
                <a16:creationId xmlns:a16="http://schemas.microsoft.com/office/drawing/2014/main" id="{488D1ED7-F0DE-71AF-84E8-055FC7CFB0BF}"/>
              </a:ext>
            </a:extLst>
          </p:cNvPr>
          <p:cNvSpPr/>
          <p:nvPr/>
        </p:nvSpPr>
        <p:spPr>
          <a:xfrm>
            <a:off x="276439" y="3537695"/>
            <a:ext cx="206350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66C8EC"/>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D0D0CE"/>
              </a:solidFill>
              <a:effectLst/>
              <a:uLnTx/>
              <a:uFillTx/>
              <a:latin typeface="Verdana" panose="020B0604030504040204" pitchFamily="34" charset="0"/>
              <a:ea typeface="Verdana" panose="020B0604030504040204" pitchFamily="34" charset="0"/>
              <a:cs typeface="+mn-cs"/>
            </a:endParaRPr>
          </a:p>
        </p:txBody>
      </p:sp>
      <p:sp>
        <p:nvSpPr>
          <p:cNvPr id="19" name="TextBox 18">
            <a:extLst>
              <a:ext uri="{FF2B5EF4-FFF2-40B4-BE49-F238E27FC236}">
                <a16:creationId xmlns:a16="http://schemas.microsoft.com/office/drawing/2014/main" id="{A48E9BE7-BD16-D567-E23F-6196E0D28BBC}"/>
              </a:ext>
            </a:extLst>
          </p:cNvPr>
          <p:cNvSpPr txBox="1"/>
          <p:nvPr/>
        </p:nvSpPr>
        <p:spPr>
          <a:xfrm>
            <a:off x="354127" y="3799606"/>
            <a:ext cx="1634971" cy="307777"/>
          </a:xfrm>
          <a:prstGeom prst="rect">
            <a:avLst/>
          </a:prstGeom>
          <a:noFill/>
        </p:spPr>
        <p:txBody>
          <a:bodyPr wrap="square" rtlCol="0">
            <a:spAutoFit/>
          </a:bodyPr>
          <a:lstStyle/>
          <a:p>
            <a:pPr eaLnBrk="1" fontAlgn="auto" hangingPunct="1">
              <a:spcBef>
                <a:spcPts val="0"/>
              </a:spcBef>
              <a:spcAft>
                <a:spcPts val="0"/>
              </a:spcAft>
            </a:pPr>
            <a:r>
              <a:rPr lang="es-MX" sz="1400" b="1">
                <a:solidFill>
                  <a:prstClr val="white"/>
                </a:solidFill>
                <a:latin typeface="Verdana" panose="020B0604030504040204" pitchFamily="34" charset="0"/>
                <a:ea typeface="Verdana" panose="020B0604030504040204" pitchFamily="34" charset="0"/>
              </a:rPr>
              <a:t>Tolerancia</a:t>
            </a:r>
          </a:p>
        </p:txBody>
      </p:sp>
      <p:sp>
        <p:nvSpPr>
          <p:cNvPr id="20" name="TextBox 19">
            <a:extLst>
              <a:ext uri="{FF2B5EF4-FFF2-40B4-BE49-F238E27FC236}">
                <a16:creationId xmlns:a16="http://schemas.microsoft.com/office/drawing/2014/main" id="{CD17D781-AE58-2FCF-4A1A-2374948F85E2}"/>
              </a:ext>
            </a:extLst>
          </p:cNvPr>
          <p:cNvSpPr txBox="1"/>
          <p:nvPr/>
        </p:nvSpPr>
        <p:spPr>
          <a:xfrm>
            <a:off x="2748161" y="3611477"/>
            <a:ext cx="3143967" cy="577081"/>
          </a:xfrm>
          <a:prstGeom prst="rect">
            <a:avLst/>
          </a:prstGeom>
          <a:noFill/>
        </p:spPr>
        <p:txBody>
          <a:bodyPr wrap="square" rtlCol="0">
            <a:spAutoFit/>
          </a:bodyPr>
          <a:lstStyle/>
          <a:p>
            <a:pPr eaLnBrk="1" fontAlgn="auto" hangingPunct="1">
              <a:spcBef>
                <a:spcPts val="0"/>
              </a:spcBef>
              <a:spcAft>
                <a:spcPts val="0"/>
              </a:spcAft>
            </a:pPr>
            <a:r>
              <a:rPr lang="es-MX" sz="1050">
                <a:solidFill>
                  <a:prstClr val="white"/>
                </a:solidFill>
                <a:latin typeface="Verdana" panose="020B0604030504040204" pitchFamily="34" charset="0"/>
                <a:ea typeface="Verdana" panose="020B0604030504040204" pitchFamily="34" charset="0"/>
              </a:rPr>
              <a:t>Comprender que la diversidad humana no es un obstáculo para generar un ambiente de trabajo sano y armonioso.</a:t>
            </a:r>
          </a:p>
        </p:txBody>
      </p:sp>
      <p:sp>
        <p:nvSpPr>
          <p:cNvPr id="21" name="TextBox 20">
            <a:extLst>
              <a:ext uri="{FF2B5EF4-FFF2-40B4-BE49-F238E27FC236}">
                <a16:creationId xmlns:a16="http://schemas.microsoft.com/office/drawing/2014/main" id="{80DAA7E3-0B12-9AFC-6CED-0DFB2D16DB9C}"/>
              </a:ext>
            </a:extLst>
          </p:cNvPr>
          <p:cNvSpPr txBox="1"/>
          <p:nvPr/>
        </p:nvSpPr>
        <p:spPr>
          <a:xfrm>
            <a:off x="6383663" y="3824806"/>
            <a:ext cx="1634971" cy="307777"/>
          </a:xfrm>
          <a:prstGeom prst="rect">
            <a:avLst/>
          </a:prstGeom>
          <a:noFill/>
        </p:spPr>
        <p:txBody>
          <a:bodyPr wrap="square" rtlCol="0">
            <a:spAutoFit/>
          </a:bodyPr>
          <a:lstStyle/>
          <a:p>
            <a:pPr eaLnBrk="1" fontAlgn="auto" hangingPunct="1">
              <a:spcBef>
                <a:spcPts val="0"/>
              </a:spcBef>
              <a:spcAft>
                <a:spcPts val="0"/>
              </a:spcAft>
            </a:pPr>
            <a:r>
              <a:rPr lang="es-MX" sz="1400" b="1">
                <a:solidFill>
                  <a:prstClr val="white"/>
                </a:solidFill>
                <a:latin typeface="Verdana" panose="020B0604030504040204" pitchFamily="34" charset="0"/>
                <a:ea typeface="Verdana" panose="020B0604030504040204" pitchFamily="34" charset="0"/>
              </a:rPr>
              <a:t>Humildad</a:t>
            </a:r>
          </a:p>
        </p:txBody>
      </p:sp>
      <p:sp>
        <p:nvSpPr>
          <p:cNvPr id="22" name="TextBox 21">
            <a:extLst>
              <a:ext uri="{FF2B5EF4-FFF2-40B4-BE49-F238E27FC236}">
                <a16:creationId xmlns:a16="http://schemas.microsoft.com/office/drawing/2014/main" id="{CFE205AF-1CFB-84DA-E0BB-ACB3F787565F}"/>
              </a:ext>
            </a:extLst>
          </p:cNvPr>
          <p:cNvSpPr txBox="1"/>
          <p:nvPr/>
        </p:nvSpPr>
        <p:spPr>
          <a:xfrm>
            <a:off x="8803711" y="3715973"/>
            <a:ext cx="3245204" cy="577081"/>
          </a:xfrm>
          <a:prstGeom prst="rect">
            <a:avLst/>
          </a:prstGeom>
          <a:noFill/>
        </p:spPr>
        <p:txBody>
          <a:bodyPr wrap="square" rtlCol="0">
            <a:spAutoFit/>
          </a:bodyPr>
          <a:lstStyle/>
          <a:p>
            <a:pPr eaLnBrk="1" fontAlgn="auto" hangingPunct="1">
              <a:spcBef>
                <a:spcPts val="0"/>
              </a:spcBef>
              <a:spcAft>
                <a:spcPts val="0"/>
              </a:spcAft>
            </a:pPr>
            <a:r>
              <a:rPr lang="es-MX" sz="1050">
                <a:solidFill>
                  <a:prstClr val="white"/>
                </a:solidFill>
                <a:latin typeface="Verdana" panose="020B0604030504040204" pitchFamily="34" charset="0"/>
                <a:ea typeface="Verdana" panose="020B0604030504040204" pitchFamily="34" charset="0"/>
              </a:rPr>
              <a:t>Brindar comunicación asertiva con todo el equipo, permitiendo actuar con base en nuestros logros y derrotas.</a:t>
            </a:r>
          </a:p>
        </p:txBody>
      </p:sp>
    </p:spTree>
    <p:extLst>
      <p:ext uri="{BB962C8B-B14F-4D97-AF65-F5344CB8AC3E}">
        <p14:creationId xmlns:p14="http://schemas.microsoft.com/office/powerpoint/2010/main" val="19368125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C08CD91-E76D-0390-D78A-9F16376966BD}"/>
              </a:ext>
            </a:extLst>
          </p:cNvPr>
          <p:cNvGrpSpPr/>
          <p:nvPr/>
        </p:nvGrpSpPr>
        <p:grpSpPr>
          <a:xfrm>
            <a:off x="2563585" y="1246414"/>
            <a:ext cx="7064829" cy="4365172"/>
            <a:chOff x="2608631" y="1385951"/>
            <a:chExt cx="7064829" cy="4365172"/>
          </a:xfrm>
        </p:grpSpPr>
        <p:sp>
          <p:nvSpPr>
            <p:cNvPr id="3" name="Rectangle 2">
              <a:extLst>
                <a:ext uri="{FF2B5EF4-FFF2-40B4-BE49-F238E27FC236}">
                  <a16:creationId xmlns:a16="http://schemas.microsoft.com/office/drawing/2014/main" id="{80D249F1-E9FB-7BDA-756E-DF7CD4665E07}"/>
                </a:ext>
              </a:extLst>
            </p:cNvPr>
            <p:cNvSpPr/>
            <p:nvPr/>
          </p:nvSpPr>
          <p:spPr bwMode="gray">
            <a:xfrm>
              <a:off x="2608631" y="1385951"/>
              <a:ext cx="7064829" cy="436517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E773623D-F58A-5F6A-3760-0EC32E7EE71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44126" y="1525488"/>
              <a:ext cx="1897626" cy="772672"/>
            </a:xfrm>
            <a:prstGeom prst="rect">
              <a:avLst/>
            </a:prstGeom>
          </p:spPr>
        </p:pic>
        <p:sp>
          <p:nvSpPr>
            <p:cNvPr id="5" name="TextBox 4">
              <a:extLst>
                <a:ext uri="{FF2B5EF4-FFF2-40B4-BE49-F238E27FC236}">
                  <a16:creationId xmlns:a16="http://schemas.microsoft.com/office/drawing/2014/main" id="{B8E1474C-8D30-CE2D-CC38-1ABCEADAD90B}"/>
                </a:ext>
              </a:extLst>
            </p:cNvPr>
            <p:cNvSpPr txBox="1"/>
            <p:nvPr/>
          </p:nvSpPr>
          <p:spPr>
            <a:xfrm>
              <a:off x="3064874" y="2305958"/>
              <a:ext cx="3156156" cy="430887"/>
            </a:xfrm>
            <a:prstGeom prst="rect">
              <a:avLst/>
            </a:prstGeom>
            <a:noFill/>
          </p:spPr>
          <p:txBody>
            <a:bodyPr wrap="square" rtlCol="0">
              <a:spAutoFit/>
            </a:bodyPr>
            <a:lstStyle/>
            <a:p>
              <a:r>
                <a:rPr lang="es-MX" sz="1100">
                  <a:latin typeface="Open Sans" panose="020B0606030504020204" pitchFamily="34" charset="0"/>
                  <a:ea typeface="Open Sans" panose="020B0606030504020204" pitchFamily="34" charset="0"/>
                  <a:cs typeface="Open Sans" panose="020B0606030504020204" pitchFamily="34" charset="0"/>
                </a:rPr>
                <a:t>Yo </a:t>
              </a:r>
              <a:r>
                <a:rPr lang="es-MX" sz="1100" b="1">
                  <a:latin typeface="Open Sans" panose="020B0606030504020204" pitchFamily="34" charset="0"/>
                  <a:ea typeface="Open Sans" panose="020B0606030504020204" pitchFamily="34" charset="0"/>
                  <a:cs typeface="Open Sans" panose="020B0606030504020204" pitchFamily="34" charset="0"/>
                </a:rPr>
                <a:t>(mi nombre)</a:t>
              </a:r>
              <a:r>
                <a:rPr lang="es-MX" sz="1100">
                  <a:latin typeface="Open Sans" panose="020B0606030504020204" pitchFamily="34" charset="0"/>
                  <a:ea typeface="Open Sans" panose="020B0606030504020204" pitchFamily="34" charset="0"/>
                  <a:cs typeface="Open Sans" panose="020B0606030504020204" pitchFamily="34" charset="0"/>
                </a:rPr>
                <a:t> reconozco en: </a:t>
              </a:r>
              <a:r>
                <a:rPr lang="es-MX" sz="1100" b="1">
                  <a:latin typeface="Open Sans" panose="020B0606030504020204" pitchFamily="34" charset="0"/>
                  <a:ea typeface="Open Sans" panose="020B0606030504020204" pitchFamily="34" charset="0"/>
                  <a:cs typeface="Open Sans" panose="020B0606030504020204" pitchFamily="34" charset="0"/>
                </a:rPr>
                <a:t>(nombre del profesional a reconocer)</a:t>
              </a:r>
            </a:p>
          </p:txBody>
        </p:sp>
        <p:sp>
          <p:nvSpPr>
            <p:cNvPr id="6" name="Rectangle 5">
              <a:extLst>
                <a:ext uri="{FF2B5EF4-FFF2-40B4-BE49-F238E27FC236}">
                  <a16:creationId xmlns:a16="http://schemas.microsoft.com/office/drawing/2014/main" id="{C390DCAD-95E0-22C9-10AE-607DD80D513B}"/>
                </a:ext>
              </a:extLst>
            </p:cNvPr>
            <p:cNvSpPr/>
            <p:nvPr/>
          </p:nvSpPr>
          <p:spPr bwMode="gray">
            <a:xfrm>
              <a:off x="3064874" y="4491462"/>
              <a:ext cx="3353755" cy="946167"/>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s-MX" sz="1000"/>
                <a:t>Si tienes algún comentario adicional colócalo aquí</a:t>
              </a:r>
              <a:endParaRPr lang="en-US" sz="1000"/>
            </a:p>
          </p:txBody>
        </p:sp>
        <p:sp>
          <p:nvSpPr>
            <p:cNvPr id="7" name="TextBox 6">
              <a:extLst>
                <a:ext uri="{FF2B5EF4-FFF2-40B4-BE49-F238E27FC236}">
                  <a16:creationId xmlns:a16="http://schemas.microsoft.com/office/drawing/2014/main" id="{EEC3E45D-26A8-1ACF-0075-33BCB60E5592}"/>
                </a:ext>
              </a:extLst>
            </p:cNvPr>
            <p:cNvSpPr txBox="1"/>
            <p:nvPr/>
          </p:nvSpPr>
          <p:spPr>
            <a:xfrm>
              <a:off x="3064874" y="3139076"/>
              <a:ext cx="3156156" cy="1277273"/>
            </a:xfrm>
            <a:prstGeom prst="rect">
              <a:avLst/>
            </a:prstGeom>
            <a:noFill/>
          </p:spPr>
          <p:txBody>
            <a:bodyPr wrap="square" rtlCol="0">
              <a:spAutoFit/>
            </a:bodyPr>
            <a:lstStyle>
              <a:defPPr>
                <a:defRPr lang="en-US"/>
              </a:defPPr>
              <a:lvl1pPr>
                <a:defRPr sz="1100">
                  <a:latin typeface="Open Sans" panose="020B0606030504020204" pitchFamily="34" charset="0"/>
                  <a:ea typeface="Open Sans" panose="020B0606030504020204" pitchFamily="34" charset="0"/>
                  <a:cs typeface="Open Sans" panose="020B0606030504020204" pitchFamily="34" charset="0"/>
                </a:defRPr>
              </a:lvl1pPr>
            </a:lstStyle>
            <a:p>
              <a:r>
                <a:rPr lang="es-MX" altLang="es-MX"/>
                <a:t>Que se caracteriza por poner en práctica el  valor de la </a:t>
              </a:r>
              <a:r>
                <a:rPr lang="es-MX" altLang="es-MX" b="1"/>
                <a:t>adaptación: </a:t>
              </a:r>
            </a:p>
            <a:p>
              <a:endParaRPr lang="es-MX" altLang="es-MX"/>
            </a:p>
            <a:p>
              <a:r>
                <a:rPr lang="es-MX" altLang="es-MX"/>
                <a:t>Entender que la transformación es constante y mantenerse flexibles o abiertos ante los diferente escenarios a los que nos enfrentemos.</a:t>
              </a:r>
              <a:endParaRPr lang="es-MX"/>
            </a:p>
          </p:txBody>
        </p:sp>
        <p:grpSp>
          <p:nvGrpSpPr>
            <p:cNvPr id="8" name="Graphic 4">
              <a:extLst>
                <a:ext uri="{FF2B5EF4-FFF2-40B4-BE49-F238E27FC236}">
                  <a16:creationId xmlns:a16="http://schemas.microsoft.com/office/drawing/2014/main" id="{6F140EAB-5029-F815-292F-4552B0B45CB2}"/>
                </a:ext>
              </a:extLst>
            </p:cNvPr>
            <p:cNvGrpSpPr>
              <a:grpSpLocks noChangeAspect="1"/>
            </p:cNvGrpSpPr>
            <p:nvPr/>
          </p:nvGrpSpPr>
          <p:grpSpPr>
            <a:xfrm>
              <a:off x="7128250" y="2618030"/>
              <a:ext cx="1800000" cy="1798299"/>
              <a:chOff x="1953033" y="3339623"/>
              <a:chExt cx="362313" cy="361971"/>
            </a:xfrm>
            <a:solidFill>
              <a:srgbClr val="46B72C"/>
            </a:solidFill>
          </p:grpSpPr>
          <p:sp>
            <p:nvSpPr>
              <p:cNvPr id="9" name="Graphic 4">
                <a:extLst>
                  <a:ext uri="{FF2B5EF4-FFF2-40B4-BE49-F238E27FC236}">
                    <a16:creationId xmlns:a16="http://schemas.microsoft.com/office/drawing/2014/main" id="{B763862B-57C3-0D7A-DCE6-967FBC841588}"/>
                  </a:ext>
                </a:extLst>
              </p:cNvPr>
              <p:cNvSpPr/>
              <p:nvPr/>
            </p:nvSpPr>
            <p:spPr>
              <a:xfrm>
                <a:off x="2106026" y="3455149"/>
                <a:ext cx="56327" cy="68971"/>
              </a:xfrm>
              <a:custGeom>
                <a:avLst/>
                <a:gdLst>
                  <a:gd name="connsiteX0" fmla="*/ 16710 w 56327"/>
                  <a:gd name="connsiteY0" fmla="*/ 68971 h 68971"/>
                  <a:gd name="connsiteX1" fmla="*/ 39075 w 56327"/>
                  <a:gd name="connsiteY1" fmla="*/ 68971 h 68971"/>
                  <a:gd name="connsiteX2" fmla="*/ 49299 w 56327"/>
                  <a:gd name="connsiteY2" fmla="*/ 45989 h 68971"/>
                  <a:gd name="connsiteX3" fmla="*/ 56328 w 56327"/>
                  <a:gd name="connsiteY3" fmla="*/ 26837 h 68971"/>
                  <a:gd name="connsiteX4" fmla="*/ 26934 w 56327"/>
                  <a:gd name="connsiteY4" fmla="*/ 24 h 68971"/>
                  <a:gd name="connsiteX5" fmla="*/ 97 w 56327"/>
                  <a:gd name="connsiteY5" fmla="*/ 26837 h 68971"/>
                  <a:gd name="connsiteX6" fmla="*/ 7125 w 56327"/>
                  <a:gd name="connsiteY6" fmla="*/ 45989 h 68971"/>
                  <a:gd name="connsiteX7" fmla="*/ 16710 w 56327"/>
                  <a:gd name="connsiteY7" fmla="*/ 68971 h 6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327" h="68971">
                    <a:moveTo>
                      <a:pt x="16710" y="68971"/>
                    </a:moveTo>
                    <a:lnTo>
                      <a:pt x="39075" y="68971"/>
                    </a:lnTo>
                    <a:cubicBezTo>
                      <a:pt x="39714" y="60672"/>
                      <a:pt x="43548" y="52373"/>
                      <a:pt x="49299" y="45989"/>
                    </a:cubicBezTo>
                    <a:cubicBezTo>
                      <a:pt x="53772" y="40882"/>
                      <a:pt x="56328" y="33859"/>
                      <a:pt x="56328" y="26837"/>
                    </a:cubicBezTo>
                    <a:cubicBezTo>
                      <a:pt x="55689" y="11516"/>
                      <a:pt x="42270" y="-614"/>
                      <a:pt x="26934" y="24"/>
                    </a:cubicBezTo>
                    <a:cubicBezTo>
                      <a:pt x="12237" y="663"/>
                      <a:pt x="736" y="12154"/>
                      <a:pt x="97" y="26837"/>
                    </a:cubicBezTo>
                    <a:cubicBezTo>
                      <a:pt x="-543" y="33859"/>
                      <a:pt x="2013" y="40882"/>
                      <a:pt x="7125" y="45989"/>
                    </a:cubicBezTo>
                    <a:cubicBezTo>
                      <a:pt x="12237" y="52373"/>
                      <a:pt x="16071" y="60672"/>
                      <a:pt x="16710" y="68971"/>
                    </a:cubicBezTo>
                    <a:close/>
                  </a:path>
                </a:pathLst>
              </a:custGeom>
              <a:grpFill/>
              <a:ln w="6390"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1649AA8B-49BF-8749-4586-3B08AEC54CBD}"/>
                  </a:ext>
                </a:extLst>
              </p:cNvPr>
              <p:cNvSpPr/>
              <p:nvPr/>
            </p:nvSpPr>
            <p:spPr>
              <a:xfrm>
                <a:off x="1953033" y="33396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24926 w 362313"/>
                  <a:gd name="connsiteY6" fmla="*/ 101505 h 361971"/>
                  <a:gd name="connsiteX7" fmla="*/ 237706 w 362313"/>
                  <a:gd name="connsiteY7" fmla="*/ 93206 h 361971"/>
                  <a:gd name="connsiteX8" fmla="*/ 246652 w 362313"/>
                  <a:gd name="connsiteY8" fmla="*/ 95121 h 361971"/>
                  <a:gd name="connsiteX9" fmla="*/ 244735 w 362313"/>
                  <a:gd name="connsiteY9" fmla="*/ 104059 h 361971"/>
                  <a:gd name="connsiteX10" fmla="*/ 231955 w 362313"/>
                  <a:gd name="connsiteY10" fmla="*/ 112358 h 361971"/>
                  <a:gd name="connsiteX11" fmla="*/ 223009 w 362313"/>
                  <a:gd name="connsiteY11" fmla="*/ 110443 h 361971"/>
                  <a:gd name="connsiteX12" fmla="*/ 224926 w 362313"/>
                  <a:gd name="connsiteY12" fmla="*/ 101505 h 361971"/>
                  <a:gd name="connsiteX13" fmla="*/ 175084 w 362313"/>
                  <a:gd name="connsiteY13" fmla="*/ 66394 h 361971"/>
                  <a:gd name="connsiteX14" fmla="*/ 181474 w 362313"/>
                  <a:gd name="connsiteY14" fmla="*/ 60010 h 361971"/>
                  <a:gd name="connsiteX15" fmla="*/ 187864 w 362313"/>
                  <a:gd name="connsiteY15" fmla="*/ 66394 h 361971"/>
                  <a:gd name="connsiteX16" fmla="*/ 187864 w 362313"/>
                  <a:gd name="connsiteY16" fmla="*/ 80438 h 361971"/>
                  <a:gd name="connsiteX17" fmla="*/ 181474 w 362313"/>
                  <a:gd name="connsiteY17" fmla="*/ 86822 h 361971"/>
                  <a:gd name="connsiteX18" fmla="*/ 175084 w 362313"/>
                  <a:gd name="connsiteY18" fmla="*/ 80438 h 361971"/>
                  <a:gd name="connsiteX19" fmla="*/ 175084 w 362313"/>
                  <a:gd name="connsiteY19" fmla="*/ 66394 h 361971"/>
                  <a:gd name="connsiteX20" fmla="*/ 181474 w 362313"/>
                  <a:gd name="connsiteY20" fmla="*/ 102144 h 361971"/>
                  <a:gd name="connsiteX21" fmla="*/ 222370 w 362313"/>
                  <a:gd name="connsiteY21" fmla="*/ 141086 h 361971"/>
                  <a:gd name="connsiteX22" fmla="*/ 222370 w 362313"/>
                  <a:gd name="connsiteY22" fmla="*/ 141724 h 361971"/>
                  <a:gd name="connsiteX23" fmla="*/ 212785 w 362313"/>
                  <a:gd name="connsiteY23" fmla="*/ 168537 h 361971"/>
                  <a:gd name="connsiteX24" fmla="*/ 205117 w 362313"/>
                  <a:gd name="connsiteY24" fmla="*/ 190243 h 361971"/>
                  <a:gd name="connsiteX25" fmla="*/ 198727 w 362313"/>
                  <a:gd name="connsiteY25" fmla="*/ 196627 h 361971"/>
                  <a:gd name="connsiteX26" fmla="*/ 164221 w 362313"/>
                  <a:gd name="connsiteY26" fmla="*/ 196627 h 361971"/>
                  <a:gd name="connsiteX27" fmla="*/ 157832 w 362313"/>
                  <a:gd name="connsiteY27" fmla="*/ 190243 h 361971"/>
                  <a:gd name="connsiteX28" fmla="*/ 150164 w 362313"/>
                  <a:gd name="connsiteY28" fmla="*/ 168537 h 361971"/>
                  <a:gd name="connsiteX29" fmla="*/ 140579 w 362313"/>
                  <a:gd name="connsiteY29" fmla="*/ 141724 h 361971"/>
                  <a:gd name="connsiteX30" fmla="*/ 180835 w 362313"/>
                  <a:gd name="connsiteY30" fmla="*/ 102144 h 361971"/>
                  <a:gd name="connsiteX31" fmla="*/ 181474 w 362313"/>
                  <a:gd name="connsiteY31" fmla="*/ 102144 h 361971"/>
                  <a:gd name="connsiteX32" fmla="*/ 181474 w 362313"/>
                  <a:gd name="connsiteY32" fmla="*/ 102144 h 361971"/>
                  <a:gd name="connsiteX33" fmla="*/ 204478 w 362313"/>
                  <a:gd name="connsiteY33" fmla="*/ 209395 h 361971"/>
                  <a:gd name="connsiteX34" fmla="*/ 198088 w 362313"/>
                  <a:gd name="connsiteY34" fmla="*/ 215779 h 361971"/>
                  <a:gd name="connsiteX35" fmla="*/ 165499 w 362313"/>
                  <a:gd name="connsiteY35" fmla="*/ 215779 h 361971"/>
                  <a:gd name="connsiteX36" fmla="*/ 159109 w 362313"/>
                  <a:gd name="connsiteY36" fmla="*/ 209395 h 361971"/>
                  <a:gd name="connsiteX37" fmla="*/ 165499 w 362313"/>
                  <a:gd name="connsiteY37" fmla="*/ 203011 h 361971"/>
                  <a:gd name="connsiteX38" fmla="*/ 198088 w 362313"/>
                  <a:gd name="connsiteY38" fmla="*/ 203011 h 361971"/>
                  <a:gd name="connsiteX39" fmla="*/ 204478 w 362313"/>
                  <a:gd name="connsiteY39" fmla="*/ 209395 h 361971"/>
                  <a:gd name="connsiteX40" fmla="*/ 116936 w 362313"/>
                  <a:gd name="connsiteY40" fmla="*/ 95121 h 361971"/>
                  <a:gd name="connsiteX41" fmla="*/ 125882 w 362313"/>
                  <a:gd name="connsiteY41" fmla="*/ 93206 h 361971"/>
                  <a:gd name="connsiteX42" fmla="*/ 138662 w 362313"/>
                  <a:gd name="connsiteY42" fmla="*/ 101505 h 361971"/>
                  <a:gd name="connsiteX43" fmla="*/ 140579 w 362313"/>
                  <a:gd name="connsiteY43" fmla="*/ 110443 h 361971"/>
                  <a:gd name="connsiteX44" fmla="*/ 135467 w 362313"/>
                  <a:gd name="connsiteY44" fmla="*/ 113635 h 361971"/>
                  <a:gd name="connsiteX45" fmla="*/ 131633 w 362313"/>
                  <a:gd name="connsiteY45" fmla="*/ 112358 h 361971"/>
                  <a:gd name="connsiteX46" fmla="*/ 118853 w 362313"/>
                  <a:gd name="connsiteY46" fmla="*/ 104059 h 361971"/>
                  <a:gd name="connsiteX47" fmla="*/ 116936 w 362313"/>
                  <a:gd name="connsiteY47" fmla="*/ 95121 h 361971"/>
                  <a:gd name="connsiteX48" fmla="*/ 116936 w 362313"/>
                  <a:gd name="connsiteY48" fmla="*/ 95121 h 361971"/>
                  <a:gd name="connsiteX49" fmla="*/ 104156 w 362313"/>
                  <a:gd name="connsiteY49" fmla="*/ 157684 h 361971"/>
                  <a:gd name="connsiteX50" fmla="*/ 110546 w 362313"/>
                  <a:gd name="connsiteY50" fmla="*/ 151300 h 361971"/>
                  <a:gd name="connsiteX51" fmla="*/ 125882 w 362313"/>
                  <a:gd name="connsiteY51" fmla="*/ 151300 h 361971"/>
                  <a:gd name="connsiteX52" fmla="*/ 132272 w 362313"/>
                  <a:gd name="connsiteY52" fmla="*/ 157684 h 361971"/>
                  <a:gd name="connsiteX53" fmla="*/ 125882 w 362313"/>
                  <a:gd name="connsiteY53" fmla="*/ 164068 h 361971"/>
                  <a:gd name="connsiteX54" fmla="*/ 110546 w 362313"/>
                  <a:gd name="connsiteY54" fmla="*/ 164068 h 361971"/>
                  <a:gd name="connsiteX55" fmla="*/ 104156 w 362313"/>
                  <a:gd name="connsiteY55" fmla="*/ 157684 h 361971"/>
                  <a:gd name="connsiteX56" fmla="*/ 104156 w 362313"/>
                  <a:gd name="connsiteY56" fmla="*/ 157684 h 361971"/>
                  <a:gd name="connsiteX57" fmla="*/ 256876 w 362313"/>
                  <a:gd name="connsiteY57" fmla="*/ 295578 h 361971"/>
                  <a:gd name="connsiteX58" fmla="*/ 250486 w 362313"/>
                  <a:gd name="connsiteY58" fmla="*/ 301962 h 361971"/>
                  <a:gd name="connsiteX59" fmla="*/ 244096 w 362313"/>
                  <a:gd name="connsiteY59" fmla="*/ 295578 h 361971"/>
                  <a:gd name="connsiteX60" fmla="*/ 244096 w 362313"/>
                  <a:gd name="connsiteY60" fmla="*/ 284087 h 361971"/>
                  <a:gd name="connsiteX61" fmla="*/ 200644 w 362313"/>
                  <a:gd name="connsiteY61" fmla="*/ 236846 h 361971"/>
                  <a:gd name="connsiteX62" fmla="*/ 162304 w 362313"/>
                  <a:gd name="connsiteY62" fmla="*/ 236846 h 361971"/>
                  <a:gd name="connsiteX63" fmla="*/ 118853 w 362313"/>
                  <a:gd name="connsiteY63" fmla="*/ 284087 h 361971"/>
                  <a:gd name="connsiteX64" fmla="*/ 118853 w 362313"/>
                  <a:gd name="connsiteY64" fmla="*/ 295578 h 361971"/>
                  <a:gd name="connsiteX65" fmla="*/ 112463 w 362313"/>
                  <a:gd name="connsiteY65" fmla="*/ 301962 h 361971"/>
                  <a:gd name="connsiteX66" fmla="*/ 106073 w 362313"/>
                  <a:gd name="connsiteY66" fmla="*/ 295578 h 361971"/>
                  <a:gd name="connsiteX67" fmla="*/ 106073 w 362313"/>
                  <a:gd name="connsiteY67" fmla="*/ 284087 h 361971"/>
                  <a:gd name="connsiteX68" fmla="*/ 162304 w 362313"/>
                  <a:gd name="connsiteY68" fmla="*/ 224078 h 361971"/>
                  <a:gd name="connsiteX69" fmla="*/ 200644 w 362313"/>
                  <a:gd name="connsiteY69" fmla="*/ 224078 h 361971"/>
                  <a:gd name="connsiteX70" fmla="*/ 256876 w 362313"/>
                  <a:gd name="connsiteY70" fmla="*/ 284087 h 361971"/>
                  <a:gd name="connsiteX71" fmla="*/ 256876 w 362313"/>
                  <a:gd name="connsiteY71" fmla="*/ 295578 h 361971"/>
                  <a:gd name="connsiteX72" fmla="*/ 253042 w 362313"/>
                  <a:gd name="connsiteY72" fmla="*/ 164068 h 361971"/>
                  <a:gd name="connsiteX73" fmla="*/ 237706 w 362313"/>
                  <a:gd name="connsiteY73" fmla="*/ 164068 h 361971"/>
                  <a:gd name="connsiteX74" fmla="*/ 231316 w 362313"/>
                  <a:gd name="connsiteY74" fmla="*/ 157684 h 361971"/>
                  <a:gd name="connsiteX75" fmla="*/ 237706 w 362313"/>
                  <a:gd name="connsiteY75" fmla="*/ 151300 h 361971"/>
                  <a:gd name="connsiteX76" fmla="*/ 253042 w 362313"/>
                  <a:gd name="connsiteY76" fmla="*/ 151300 h 361971"/>
                  <a:gd name="connsiteX77" fmla="*/ 259431 w 362313"/>
                  <a:gd name="connsiteY77" fmla="*/ 157684 h 361971"/>
                  <a:gd name="connsiteX78" fmla="*/ 253042 w 362313"/>
                  <a:gd name="connsiteY78" fmla="*/ 16406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close/>
                    <a:moveTo>
                      <a:pt x="224926" y="101505"/>
                    </a:moveTo>
                    <a:lnTo>
                      <a:pt x="237706" y="93206"/>
                    </a:lnTo>
                    <a:cubicBezTo>
                      <a:pt x="240901" y="91291"/>
                      <a:pt x="244735" y="91930"/>
                      <a:pt x="246652" y="95121"/>
                    </a:cubicBezTo>
                    <a:cubicBezTo>
                      <a:pt x="248569" y="98313"/>
                      <a:pt x="247929" y="102144"/>
                      <a:pt x="244735" y="104059"/>
                    </a:cubicBezTo>
                    <a:lnTo>
                      <a:pt x="231955" y="112358"/>
                    </a:lnTo>
                    <a:cubicBezTo>
                      <a:pt x="228760" y="114273"/>
                      <a:pt x="224926" y="113635"/>
                      <a:pt x="223009" y="110443"/>
                    </a:cubicBezTo>
                    <a:cubicBezTo>
                      <a:pt x="221092" y="107889"/>
                      <a:pt x="221731" y="103421"/>
                      <a:pt x="224926" y="101505"/>
                    </a:cubicBezTo>
                    <a:close/>
                    <a:moveTo>
                      <a:pt x="175084" y="66394"/>
                    </a:moveTo>
                    <a:cubicBezTo>
                      <a:pt x="175084" y="62563"/>
                      <a:pt x="177640" y="60010"/>
                      <a:pt x="181474" y="60010"/>
                    </a:cubicBezTo>
                    <a:cubicBezTo>
                      <a:pt x="185308" y="60010"/>
                      <a:pt x="187864" y="62563"/>
                      <a:pt x="187864" y="66394"/>
                    </a:cubicBezTo>
                    <a:lnTo>
                      <a:pt x="187864" y="80438"/>
                    </a:lnTo>
                    <a:cubicBezTo>
                      <a:pt x="187864" y="84269"/>
                      <a:pt x="185308" y="86822"/>
                      <a:pt x="181474" y="86822"/>
                    </a:cubicBezTo>
                    <a:cubicBezTo>
                      <a:pt x="177640" y="86822"/>
                      <a:pt x="175084" y="84269"/>
                      <a:pt x="175084" y="80438"/>
                    </a:cubicBezTo>
                    <a:lnTo>
                      <a:pt x="175084" y="66394"/>
                    </a:lnTo>
                    <a:close/>
                    <a:moveTo>
                      <a:pt x="181474" y="102144"/>
                    </a:moveTo>
                    <a:cubicBezTo>
                      <a:pt x="203839" y="101505"/>
                      <a:pt x="221731" y="119381"/>
                      <a:pt x="222370" y="141086"/>
                    </a:cubicBezTo>
                    <a:cubicBezTo>
                      <a:pt x="222370" y="141086"/>
                      <a:pt x="222370" y="141724"/>
                      <a:pt x="222370" y="141724"/>
                    </a:cubicBezTo>
                    <a:cubicBezTo>
                      <a:pt x="223009" y="151939"/>
                      <a:pt x="219175" y="161515"/>
                      <a:pt x="212785" y="168537"/>
                    </a:cubicBezTo>
                    <a:cubicBezTo>
                      <a:pt x="207673" y="174283"/>
                      <a:pt x="204478" y="182582"/>
                      <a:pt x="205117" y="190243"/>
                    </a:cubicBezTo>
                    <a:cubicBezTo>
                      <a:pt x="205117" y="194073"/>
                      <a:pt x="202561" y="196627"/>
                      <a:pt x="198727" y="196627"/>
                    </a:cubicBezTo>
                    <a:lnTo>
                      <a:pt x="164221" y="196627"/>
                    </a:lnTo>
                    <a:cubicBezTo>
                      <a:pt x="160387" y="196627"/>
                      <a:pt x="157832" y="194073"/>
                      <a:pt x="157832" y="190243"/>
                    </a:cubicBezTo>
                    <a:cubicBezTo>
                      <a:pt x="158470" y="181944"/>
                      <a:pt x="155275" y="174283"/>
                      <a:pt x="150164" y="168537"/>
                    </a:cubicBezTo>
                    <a:cubicBezTo>
                      <a:pt x="143774" y="160876"/>
                      <a:pt x="139940" y="151300"/>
                      <a:pt x="140579" y="141724"/>
                    </a:cubicBezTo>
                    <a:cubicBezTo>
                      <a:pt x="140579" y="119381"/>
                      <a:pt x="158470" y="101505"/>
                      <a:pt x="180835" y="102144"/>
                    </a:cubicBezTo>
                    <a:cubicBezTo>
                      <a:pt x="181474" y="102144"/>
                      <a:pt x="181474" y="102144"/>
                      <a:pt x="181474" y="102144"/>
                    </a:cubicBezTo>
                    <a:lnTo>
                      <a:pt x="181474" y="102144"/>
                    </a:lnTo>
                    <a:close/>
                    <a:moveTo>
                      <a:pt x="204478" y="209395"/>
                    </a:moveTo>
                    <a:cubicBezTo>
                      <a:pt x="204478" y="213225"/>
                      <a:pt x="201922" y="215779"/>
                      <a:pt x="198088" y="215779"/>
                    </a:cubicBezTo>
                    <a:lnTo>
                      <a:pt x="165499" y="215779"/>
                    </a:lnTo>
                    <a:cubicBezTo>
                      <a:pt x="161665" y="215779"/>
                      <a:pt x="159109" y="213225"/>
                      <a:pt x="159109" y="209395"/>
                    </a:cubicBezTo>
                    <a:cubicBezTo>
                      <a:pt x="159109" y="205564"/>
                      <a:pt x="161665" y="203011"/>
                      <a:pt x="165499" y="203011"/>
                    </a:cubicBezTo>
                    <a:lnTo>
                      <a:pt x="198088" y="203011"/>
                    </a:lnTo>
                    <a:cubicBezTo>
                      <a:pt x="201283" y="203011"/>
                      <a:pt x="204478" y="205564"/>
                      <a:pt x="204478" y="209395"/>
                    </a:cubicBezTo>
                    <a:close/>
                    <a:moveTo>
                      <a:pt x="116936" y="95121"/>
                    </a:moveTo>
                    <a:cubicBezTo>
                      <a:pt x="118853" y="91930"/>
                      <a:pt x="122687" y="91291"/>
                      <a:pt x="125882" y="93206"/>
                    </a:cubicBezTo>
                    <a:lnTo>
                      <a:pt x="138662" y="101505"/>
                    </a:lnTo>
                    <a:cubicBezTo>
                      <a:pt x="141857" y="103421"/>
                      <a:pt x="142496" y="107251"/>
                      <a:pt x="140579" y="110443"/>
                    </a:cubicBezTo>
                    <a:cubicBezTo>
                      <a:pt x="139301" y="112358"/>
                      <a:pt x="137384" y="113635"/>
                      <a:pt x="135467" y="113635"/>
                    </a:cubicBezTo>
                    <a:cubicBezTo>
                      <a:pt x="134189" y="113635"/>
                      <a:pt x="132911" y="112997"/>
                      <a:pt x="131633" y="112358"/>
                    </a:cubicBezTo>
                    <a:lnTo>
                      <a:pt x="118853" y="104059"/>
                    </a:lnTo>
                    <a:cubicBezTo>
                      <a:pt x="115658" y="102144"/>
                      <a:pt x="115019" y="97675"/>
                      <a:pt x="116936" y="95121"/>
                    </a:cubicBezTo>
                    <a:cubicBezTo>
                      <a:pt x="116936" y="95121"/>
                      <a:pt x="116936" y="95121"/>
                      <a:pt x="116936" y="95121"/>
                    </a:cubicBezTo>
                    <a:close/>
                    <a:moveTo>
                      <a:pt x="104156" y="157684"/>
                    </a:moveTo>
                    <a:cubicBezTo>
                      <a:pt x="104156" y="153854"/>
                      <a:pt x="106712" y="151300"/>
                      <a:pt x="110546" y="151300"/>
                    </a:cubicBezTo>
                    <a:lnTo>
                      <a:pt x="125882" y="151300"/>
                    </a:lnTo>
                    <a:cubicBezTo>
                      <a:pt x="129716" y="151300"/>
                      <a:pt x="132272" y="153854"/>
                      <a:pt x="132272" y="157684"/>
                    </a:cubicBezTo>
                    <a:cubicBezTo>
                      <a:pt x="132272" y="161515"/>
                      <a:pt x="129716" y="164068"/>
                      <a:pt x="125882" y="164068"/>
                    </a:cubicBezTo>
                    <a:lnTo>
                      <a:pt x="110546" y="164068"/>
                    </a:lnTo>
                    <a:cubicBezTo>
                      <a:pt x="106712" y="164068"/>
                      <a:pt x="104156" y="160876"/>
                      <a:pt x="104156" y="157684"/>
                    </a:cubicBezTo>
                    <a:lnTo>
                      <a:pt x="104156" y="157684"/>
                    </a:lnTo>
                    <a:close/>
                    <a:moveTo>
                      <a:pt x="256876" y="295578"/>
                    </a:moveTo>
                    <a:cubicBezTo>
                      <a:pt x="256876" y="299409"/>
                      <a:pt x="254319" y="301962"/>
                      <a:pt x="250486" y="301962"/>
                    </a:cubicBezTo>
                    <a:cubicBezTo>
                      <a:pt x="246652" y="301962"/>
                      <a:pt x="244096" y="299409"/>
                      <a:pt x="244096" y="295578"/>
                    </a:cubicBezTo>
                    <a:lnTo>
                      <a:pt x="244096" y="284087"/>
                    </a:lnTo>
                    <a:cubicBezTo>
                      <a:pt x="244096" y="257913"/>
                      <a:pt x="224287" y="236846"/>
                      <a:pt x="200644" y="236846"/>
                    </a:cubicBezTo>
                    <a:lnTo>
                      <a:pt x="162304" y="236846"/>
                    </a:lnTo>
                    <a:cubicBezTo>
                      <a:pt x="138023" y="236846"/>
                      <a:pt x="118853" y="257913"/>
                      <a:pt x="118853" y="284087"/>
                    </a:cubicBezTo>
                    <a:lnTo>
                      <a:pt x="118853" y="295578"/>
                    </a:lnTo>
                    <a:cubicBezTo>
                      <a:pt x="118853" y="299409"/>
                      <a:pt x="116297" y="301962"/>
                      <a:pt x="112463" y="301962"/>
                    </a:cubicBezTo>
                    <a:cubicBezTo>
                      <a:pt x="108629" y="301962"/>
                      <a:pt x="106073" y="299409"/>
                      <a:pt x="106073" y="295578"/>
                    </a:cubicBezTo>
                    <a:lnTo>
                      <a:pt x="106073" y="284087"/>
                    </a:lnTo>
                    <a:cubicBezTo>
                      <a:pt x="106073" y="250890"/>
                      <a:pt x="131633" y="224078"/>
                      <a:pt x="162304" y="224078"/>
                    </a:cubicBezTo>
                    <a:lnTo>
                      <a:pt x="200644" y="224078"/>
                    </a:lnTo>
                    <a:cubicBezTo>
                      <a:pt x="231955" y="224078"/>
                      <a:pt x="256876" y="250890"/>
                      <a:pt x="256876" y="284087"/>
                    </a:cubicBezTo>
                    <a:lnTo>
                      <a:pt x="256876" y="295578"/>
                    </a:lnTo>
                    <a:close/>
                    <a:moveTo>
                      <a:pt x="253042" y="164068"/>
                    </a:moveTo>
                    <a:lnTo>
                      <a:pt x="237706" y="164068"/>
                    </a:lnTo>
                    <a:cubicBezTo>
                      <a:pt x="233872" y="164068"/>
                      <a:pt x="231316" y="161515"/>
                      <a:pt x="231316" y="157684"/>
                    </a:cubicBezTo>
                    <a:cubicBezTo>
                      <a:pt x="231316" y="153854"/>
                      <a:pt x="233872" y="151300"/>
                      <a:pt x="237706" y="151300"/>
                    </a:cubicBezTo>
                    <a:lnTo>
                      <a:pt x="253042" y="151300"/>
                    </a:lnTo>
                    <a:cubicBezTo>
                      <a:pt x="256876" y="151300"/>
                      <a:pt x="259431" y="153854"/>
                      <a:pt x="259431" y="157684"/>
                    </a:cubicBezTo>
                    <a:cubicBezTo>
                      <a:pt x="259431" y="161515"/>
                      <a:pt x="256237" y="164068"/>
                      <a:pt x="253042" y="164068"/>
                    </a:cubicBezTo>
                    <a:close/>
                  </a:path>
                </a:pathLst>
              </a:custGeom>
              <a:grpFill/>
              <a:ln w="639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964974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3DAEA87-23F5-5E1C-E85F-52BE88E4D657}"/>
              </a:ext>
            </a:extLst>
          </p:cNvPr>
          <p:cNvGrpSpPr/>
          <p:nvPr/>
        </p:nvGrpSpPr>
        <p:grpSpPr>
          <a:xfrm>
            <a:off x="2563585" y="1246414"/>
            <a:ext cx="7064829" cy="4365172"/>
            <a:chOff x="631371" y="947057"/>
            <a:chExt cx="7064829" cy="4365172"/>
          </a:xfrm>
        </p:grpSpPr>
        <p:sp>
          <p:nvSpPr>
            <p:cNvPr id="3" name="Rectangle 2">
              <a:extLst>
                <a:ext uri="{FF2B5EF4-FFF2-40B4-BE49-F238E27FC236}">
                  <a16:creationId xmlns:a16="http://schemas.microsoft.com/office/drawing/2014/main" id="{DA7E0455-1471-0666-F379-F94A339AF76A}"/>
                </a:ext>
              </a:extLst>
            </p:cNvPr>
            <p:cNvSpPr/>
            <p:nvPr/>
          </p:nvSpPr>
          <p:spPr bwMode="gray">
            <a:xfrm>
              <a:off x="631371" y="947057"/>
              <a:ext cx="7064829" cy="4365172"/>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Light"/>
              </a:endParaRPr>
            </a:p>
          </p:txBody>
        </p:sp>
        <p:pic>
          <p:nvPicPr>
            <p:cNvPr id="4" name="Picture 3">
              <a:extLst>
                <a:ext uri="{FF2B5EF4-FFF2-40B4-BE49-F238E27FC236}">
                  <a16:creationId xmlns:a16="http://schemas.microsoft.com/office/drawing/2014/main" id="{D94D77F2-65A5-3587-E8C8-E7051DC2B5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752" y="1086594"/>
              <a:ext cx="1897626" cy="772672"/>
            </a:xfrm>
            <a:prstGeom prst="rect">
              <a:avLst/>
            </a:prstGeom>
          </p:spPr>
        </p:pic>
        <p:sp>
          <p:nvSpPr>
            <p:cNvPr id="5" name="TextBox 4">
              <a:extLst>
                <a:ext uri="{FF2B5EF4-FFF2-40B4-BE49-F238E27FC236}">
                  <a16:creationId xmlns:a16="http://schemas.microsoft.com/office/drawing/2014/main" id="{A91EF600-120B-3CE4-9C57-30062520FE4D}"/>
                </a:ext>
              </a:extLst>
            </p:cNvPr>
            <p:cNvSpPr txBox="1"/>
            <p:nvPr/>
          </p:nvSpPr>
          <p:spPr>
            <a:xfrm>
              <a:off x="1098500" y="1867064"/>
              <a:ext cx="3156156"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 </a:t>
              </a:r>
              <a:r>
                <a:rPr kumimoji="0" 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 nombre)</a:t>
              </a:r>
              <a:r>
                <a:rPr kumimoji="0" 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reconozco en: </a:t>
              </a:r>
              <a:r>
                <a:rPr kumimoji="0" 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mbre del profesional a reconocer)</a:t>
              </a:r>
            </a:p>
          </p:txBody>
        </p:sp>
        <p:sp>
          <p:nvSpPr>
            <p:cNvPr id="6" name="Rectangle 5">
              <a:extLst>
                <a:ext uri="{FF2B5EF4-FFF2-40B4-BE49-F238E27FC236}">
                  <a16:creationId xmlns:a16="http://schemas.microsoft.com/office/drawing/2014/main" id="{FBEFA5AA-729A-5D7C-5684-4704CF94EB2C}"/>
                </a:ext>
              </a:extLst>
            </p:cNvPr>
            <p:cNvSpPr/>
            <p:nvPr/>
          </p:nvSpPr>
          <p:spPr bwMode="gray">
            <a:xfrm>
              <a:off x="1098500" y="4052568"/>
              <a:ext cx="3353755" cy="946167"/>
            </a:xfrm>
            <a:prstGeom prst="rect">
              <a:avLst/>
            </a:prstGeom>
            <a:solidFill>
              <a:sysClr val="window" lastClr="FFFFFF">
                <a:lumMod val="95000"/>
              </a:sysClr>
            </a:solidFill>
            <a:ln w="19050" algn="ctr">
              <a:noFill/>
              <a:miter lim="800000"/>
              <a:headEnd/>
              <a:tailEnd/>
            </a:ln>
          </p:spPr>
          <p:txBody>
            <a:bodyPr wrap="square" lIns="88900" tIns="88900" rIns="88900" bIns="88900" rtlCol="0" anchor="t"/>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s-MX" sz="1000" b="0" i="0" u="none" strike="noStrike" kern="0" cap="none" spc="0" normalizeH="0" baseline="0" noProof="0">
                  <a:ln>
                    <a:noFill/>
                  </a:ln>
                  <a:solidFill>
                    <a:prstClr val="black"/>
                  </a:solidFill>
                  <a:effectLst/>
                  <a:uLnTx/>
                  <a:uFillTx/>
                  <a:latin typeface="Calibri Light"/>
                </a:rPr>
                <a:t>Si tienes algún comentario adicional colócalo aquí</a:t>
              </a:r>
              <a:endParaRPr kumimoji="0" lang="en-US" sz="1000" b="0" i="0" u="none" strike="noStrike" kern="0" cap="none" spc="0" normalizeH="0" baseline="0" noProof="0">
                <a:ln>
                  <a:noFill/>
                </a:ln>
                <a:solidFill>
                  <a:prstClr val="black"/>
                </a:solidFill>
                <a:effectLst/>
                <a:uLnTx/>
                <a:uFillTx/>
                <a:latin typeface="Calibri Light"/>
              </a:endParaRPr>
            </a:p>
          </p:txBody>
        </p:sp>
        <p:sp>
          <p:nvSpPr>
            <p:cNvPr id="7" name="TextBox 6">
              <a:extLst>
                <a:ext uri="{FF2B5EF4-FFF2-40B4-BE49-F238E27FC236}">
                  <a16:creationId xmlns:a16="http://schemas.microsoft.com/office/drawing/2014/main" id="{E332CFF0-FA18-8AD1-296B-C6AAFA0D4A90}"/>
                </a:ext>
              </a:extLst>
            </p:cNvPr>
            <p:cNvSpPr txBox="1"/>
            <p:nvPr/>
          </p:nvSpPr>
          <p:spPr>
            <a:xfrm>
              <a:off x="1098500" y="2700182"/>
              <a:ext cx="3156156" cy="1107996"/>
            </a:xfrm>
            <a:prstGeom prst="rect">
              <a:avLst/>
            </a:prstGeom>
            <a:noFill/>
          </p:spPr>
          <p:txBody>
            <a:bodyPr wrap="square" rtlCol="0">
              <a:spAutoFit/>
            </a:bodyPr>
            <a:lstStyle>
              <a:defPPr>
                <a:defRPr lang="en-US"/>
              </a:defPPr>
              <a:lvl1pPr>
                <a:defRPr sz="11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e se caracteriza por poner en práctica el  valor de la </a:t>
              </a:r>
              <a:r>
                <a:rPr kumimoji="0" lang="es-MX" alt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lerancia: </a:t>
              </a:r>
            </a:p>
            <a:p>
              <a:pPr marL="0" marR="0" lvl="0" indent="0" defTabSz="914400" eaLnBrk="1" fontAlgn="auto" latinLnBrk="0" hangingPunct="1">
                <a:lnSpc>
                  <a:spcPct val="100000"/>
                </a:lnSpc>
                <a:spcBef>
                  <a:spcPts val="0"/>
                </a:spcBef>
                <a:spcAft>
                  <a:spcPts val="0"/>
                </a:spcAft>
                <a:buClrTx/>
                <a:buSzTx/>
                <a:buFontTx/>
                <a:buNone/>
                <a:tabLst/>
                <a:defRPr/>
              </a:pPr>
              <a:endPar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render que la diversidad humana no es un obstáculo para generar un ambiente de trabajo sano y armonioso.</a:t>
              </a:r>
            </a:p>
          </p:txBody>
        </p:sp>
        <p:sp>
          <p:nvSpPr>
            <p:cNvPr id="8" name="Graphic 4">
              <a:extLst>
                <a:ext uri="{FF2B5EF4-FFF2-40B4-BE49-F238E27FC236}">
                  <a16:creationId xmlns:a16="http://schemas.microsoft.com/office/drawing/2014/main" id="{3A678994-B081-82E4-5112-85EBD4C68454}"/>
                </a:ext>
              </a:extLst>
            </p:cNvPr>
            <p:cNvSpPr/>
            <p:nvPr/>
          </p:nvSpPr>
          <p:spPr>
            <a:xfrm>
              <a:off x="5108273" y="2108201"/>
              <a:ext cx="1836000" cy="1836000"/>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1 w 361670"/>
                <a:gd name="connsiteY3" fmla="*/ 180667 h 361333"/>
                <a:gd name="connsiteX4" fmla="*/ 180836 w 361670"/>
                <a:gd name="connsiteY4" fmla="*/ 0 h 361333"/>
                <a:gd name="connsiteX5" fmla="*/ 95849 w 361670"/>
                <a:gd name="connsiteY5" fmla="*/ 208756 h 361333"/>
                <a:gd name="connsiteX6" fmla="*/ 93293 w 361670"/>
                <a:gd name="connsiteY6" fmla="*/ 211310 h 361333"/>
                <a:gd name="connsiteX7" fmla="*/ 84986 w 361670"/>
                <a:gd name="connsiteY7" fmla="*/ 220247 h 361333"/>
                <a:gd name="connsiteX8" fmla="*/ 84347 w 361670"/>
                <a:gd name="connsiteY8" fmla="*/ 220247 h 361333"/>
                <a:gd name="connsiteX9" fmla="*/ 84347 w 361670"/>
                <a:gd name="connsiteY9" fmla="*/ 220247 h 361333"/>
                <a:gd name="connsiteX10" fmla="*/ 84347 w 361670"/>
                <a:gd name="connsiteY10" fmla="*/ 220247 h 361333"/>
                <a:gd name="connsiteX11" fmla="*/ 83708 w 361670"/>
                <a:gd name="connsiteY11" fmla="*/ 220247 h 361333"/>
                <a:gd name="connsiteX12" fmla="*/ 72845 w 361670"/>
                <a:gd name="connsiteY12" fmla="*/ 208756 h 361333"/>
                <a:gd name="connsiteX13" fmla="*/ 72845 w 361670"/>
                <a:gd name="connsiteY13" fmla="*/ 198542 h 361333"/>
                <a:gd name="connsiteX14" fmla="*/ 77957 w 361670"/>
                <a:gd name="connsiteY14" fmla="*/ 196627 h 361333"/>
                <a:gd name="connsiteX15" fmla="*/ 83069 w 361670"/>
                <a:gd name="connsiteY15" fmla="*/ 198542 h 361333"/>
                <a:gd name="connsiteX16" fmla="*/ 84986 w 361670"/>
                <a:gd name="connsiteY16" fmla="*/ 200457 h 361333"/>
                <a:gd name="connsiteX17" fmla="*/ 86903 w 361670"/>
                <a:gd name="connsiteY17" fmla="*/ 198542 h 361333"/>
                <a:gd name="connsiteX18" fmla="*/ 92015 w 361670"/>
                <a:gd name="connsiteY18" fmla="*/ 196627 h 361333"/>
                <a:gd name="connsiteX19" fmla="*/ 97127 w 361670"/>
                <a:gd name="connsiteY19" fmla="*/ 198542 h 361333"/>
                <a:gd name="connsiteX20" fmla="*/ 95849 w 361670"/>
                <a:gd name="connsiteY20" fmla="*/ 208756 h 361333"/>
                <a:gd name="connsiteX21" fmla="*/ 120131 w 361670"/>
                <a:gd name="connsiteY21" fmla="*/ 222801 h 361333"/>
                <a:gd name="connsiteX22" fmla="*/ 116936 w 361670"/>
                <a:gd name="connsiteY22" fmla="*/ 234292 h 361333"/>
                <a:gd name="connsiteX23" fmla="*/ 116936 w 361670"/>
                <a:gd name="connsiteY23" fmla="*/ 265574 h 361333"/>
                <a:gd name="connsiteX24" fmla="*/ 111185 w 361670"/>
                <a:gd name="connsiteY24" fmla="*/ 271319 h 361333"/>
                <a:gd name="connsiteX25" fmla="*/ 105434 w 361670"/>
                <a:gd name="connsiteY25" fmla="*/ 265574 h 361333"/>
                <a:gd name="connsiteX26" fmla="*/ 105434 w 361670"/>
                <a:gd name="connsiteY26" fmla="*/ 233654 h 361333"/>
                <a:gd name="connsiteX27" fmla="*/ 109268 w 361670"/>
                <a:gd name="connsiteY27" fmla="*/ 218332 h 361333"/>
                <a:gd name="connsiteX28" fmla="*/ 113741 w 361670"/>
                <a:gd name="connsiteY28" fmla="*/ 200457 h 361333"/>
                <a:gd name="connsiteX29" fmla="*/ 113741 w 361670"/>
                <a:gd name="connsiteY29" fmla="*/ 158961 h 361333"/>
                <a:gd name="connsiteX30" fmla="*/ 113102 w 361670"/>
                <a:gd name="connsiteY30" fmla="*/ 157046 h 361333"/>
                <a:gd name="connsiteX31" fmla="*/ 111824 w 361670"/>
                <a:gd name="connsiteY31" fmla="*/ 156408 h 361333"/>
                <a:gd name="connsiteX32" fmla="*/ 111824 w 361670"/>
                <a:gd name="connsiteY32" fmla="*/ 156408 h 361333"/>
                <a:gd name="connsiteX33" fmla="*/ 110546 w 361670"/>
                <a:gd name="connsiteY33" fmla="*/ 157046 h 361333"/>
                <a:gd name="connsiteX34" fmla="*/ 109907 w 361670"/>
                <a:gd name="connsiteY34" fmla="*/ 158323 h 361333"/>
                <a:gd name="connsiteX35" fmla="*/ 109907 w 361670"/>
                <a:gd name="connsiteY35" fmla="*/ 158961 h 361333"/>
                <a:gd name="connsiteX36" fmla="*/ 109907 w 361670"/>
                <a:gd name="connsiteY36" fmla="*/ 183220 h 361333"/>
                <a:gd name="connsiteX37" fmla="*/ 104156 w 361670"/>
                <a:gd name="connsiteY37" fmla="*/ 188966 h 361333"/>
                <a:gd name="connsiteX38" fmla="*/ 98405 w 361670"/>
                <a:gd name="connsiteY38" fmla="*/ 183220 h 361333"/>
                <a:gd name="connsiteX39" fmla="*/ 98405 w 361670"/>
                <a:gd name="connsiteY39" fmla="*/ 182582 h 361333"/>
                <a:gd name="connsiteX40" fmla="*/ 98405 w 361670"/>
                <a:gd name="connsiteY40" fmla="*/ 149385 h 361333"/>
                <a:gd name="connsiteX41" fmla="*/ 98405 w 361670"/>
                <a:gd name="connsiteY41" fmla="*/ 139171 h 361333"/>
                <a:gd name="connsiteX42" fmla="*/ 96488 w 361670"/>
                <a:gd name="connsiteY42" fmla="*/ 137256 h 361333"/>
                <a:gd name="connsiteX43" fmla="*/ 96488 w 361670"/>
                <a:gd name="connsiteY43" fmla="*/ 137256 h 361333"/>
                <a:gd name="connsiteX44" fmla="*/ 94571 w 361670"/>
                <a:gd name="connsiteY44" fmla="*/ 139171 h 361333"/>
                <a:gd name="connsiteX45" fmla="*/ 94571 w 361670"/>
                <a:gd name="connsiteY45" fmla="*/ 139809 h 361333"/>
                <a:gd name="connsiteX46" fmla="*/ 94571 w 361670"/>
                <a:gd name="connsiteY46" fmla="*/ 176836 h 361333"/>
                <a:gd name="connsiteX47" fmla="*/ 88820 w 361670"/>
                <a:gd name="connsiteY47" fmla="*/ 182582 h 361333"/>
                <a:gd name="connsiteX48" fmla="*/ 88820 w 361670"/>
                <a:gd name="connsiteY48" fmla="*/ 182582 h 361333"/>
                <a:gd name="connsiteX49" fmla="*/ 83069 w 361670"/>
                <a:gd name="connsiteY49" fmla="*/ 176836 h 361333"/>
                <a:gd name="connsiteX50" fmla="*/ 83069 w 361670"/>
                <a:gd name="connsiteY50" fmla="*/ 132148 h 361333"/>
                <a:gd name="connsiteX51" fmla="*/ 81152 w 361670"/>
                <a:gd name="connsiteY51" fmla="*/ 129595 h 361333"/>
                <a:gd name="connsiteX52" fmla="*/ 79235 w 361670"/>
                <a:gd name="connsiteY52" fmla="*/ 131510 h 361333"/>
                <a:gd name="connsiteX53" fmla="*/ 79235 w 361670"/>
                <a:gd name="connsiteY53" fmla="*/ 132148 h 361333"/>
                <a:gd name="connsiteX54" fmla="*/ 79235 w 361670"/>
                <a:gd name="connsiteY54" fmla="*/ 137256 h 361333"/>
                <a:gd name="connsiteX55" fmla="*/ 79235 w 361670"/>
                <a:gd name="connsiteY55" fmla="*/ 138532 h 361333"/>
                <a:gd name="connsiteX56" fmla="*/ 79235 w 361670"/>
                <a:gd name="connsiteY56" fmla="*/ 139171 h 361333"/>
                <a:gd name="connsiteX57" fmla="*/ 79235 w 361670"/>
                <a:gd name="connsiteY57" fmla="*/ 176198 h 361333"/>
                <a:gd name="connsiteX58" fmla="*/ 73484 w 361670"/>
                <a:gd name="connsiteY58" fmla="*/ 181944 h 361333"/>
                <a:gd name="connsiteX59" fmla="*/ 73484 w 361670"/>
                <a:gd name="connsiteY59" fmla="*/ 181944 h 361333"/>
                <a:gd name="connsiteX60" fmla="*/ 67734 w 361670"/>
                <a:gd name="connsiteY60" fmla="*/ 176198 h 361333"/>
                <a:gd name="connsiteX61" fmla="*/ 67734 w 361670"/>
                <a:gd name="connsiteY61" fmla="*/ 138532 h 361333"/>
                <a:gd name="connsiteX62" fmla="*/ 67094 w 361670"/>
                <a:gd name="connsiteY62" fmla="*/ 137256 h 361333"/>
                <a:gd name="connsiteX63" fmla="*/ 65817 w 361670"/>
                <a:gd name="connsiteY63" fmla="*/ 136617 h 361333"/>
                <a:gd name="connsiteX64" fmla="*/ 65817 w 361670"/>
                <a:gd name="connsiteY64" fmla="*/ 136617 h 361333"/>
                <a:gd name="connsiteX65" fmla="*/ 63899 w 361670"/>
                <a:gd name="connsiteY65" fmla="*/ 138532 h 361333"/>
                <a:gd name="connsiteX66" fmla="*/ 63899 w 361670"/>
                <a:gd name="connsiteY66" fmla="*/ 139171 h 361333"/>
                <a:gd name="connsiteX67" fmla="*/ 63899 w 361670"/>
                <a:gd name="connsiteY67" fmla="*/ 193435 h 361333"/>
                <a:gd name="connsiteX68" fmla="*/ 61344 w 361670"/>
                <a:gd name="connsiteY68" fmla="*/ 197903 h 361333"/>
                <a:gd name="connsiteX69" fmla="*/ 56232 w 361670"/>
                <a:gd name="connsiteY69" fmla="*/ 198542 h 361333"/>
                <a:gd name="connsiteX70" fmla="*/ 53676 w 361670"/>
                <a:gd name="connsiteY70" fmla="*/ 195988 h 361333"/>
                <a:gd name="connsiteX71" fmla="*/ 43452 w 361670"/>
                <a:gd name="connsiteY71" fmla="*/ 176198 h 361333"/>
                <a:gd name="connsiteX72" fmla="*/ 40896 w 361670"/>
                <a:gd name="connsiteY72" fmla="*/ 175560 h 361333"/>
                <a:gd name="connsiteX73" fmla="*/ 39618 w 361670"/>
                <a:gd name="connsiteY73" fmla="*/ 178752 h 361333"/>
                <a:gd name="connsiteX74" fmla="*/ 46647 w 361670"/>
                <a:gd name="connsiteY74" fmla="*/ 194073 h 361333"/>
                <a:gd name="connsiteX75" fmla="*/ 61982 w 361670"/>
                <a:gd name="connsiteY75" fmla="*/ 216417 h 361333"/>
                <a:gd name="connsiteX76" fmla="*/ 67734 w 361670"/>
                <a:gd name="connsiteY76" fmla="*/ 232377 h 361333"/>
                <a:gd name="connsiteX77" fmla="*/ 67734 w 361670"/>
                <a:gd name="connsiteY77" fmla="*/ 263658 h 361333"/>
                <a:gd name="connsiteX78" fmla="*/ 61982 w 361670"/>
                <a:gd name="connsiteY78" fmla="*/ 269404 h 361333"/>
                <a:gd name="connsiteX79" fmla="*/ 56232 w 361670"/>
                <a:gd name="connsiteY79" fmla="*/ 263658 h 361333"/>
                <a:gd name="connsiteX80" fmla="*/ 56232 w 361670"/>
                <a:gd name="connsiteY80" fmla="*/ 232377 h 361333"/>
                <a:gd name="connsiteX81" fmla="*/ 53037 w 361670"/>
                <a:gd name="connsiteY81" fmla="*/ 222801 h 361333"/>
                <a:gd name="connsiteX82" fmla="*/ 36423 w 361670"/>
                <a:gd name="connsiteY82" fmla="*/ 199180 h 361333"/>
                <a:gd name="connsiteX83" fmla="*/ 28116 w 361670"/>
                <a:gd name="connsiteY83" fmla="*/ 181944 h 361333"/>
                <a:gd name="connsiteX84" fmla="*/ 28116 w 361670"/>
                <a:gd name="connsiteY84" fmla="*/ 181305 h 361333"/>
                <a:gd name="connsiteX85" fmla="*/ 35784 w 361670"/>
                <a:gd name="connsiteY85" fmla="*/ 164707 h 361333"/>
                <a:gd name="connsiteX86" fmla="*/ 52398 w 361670"/>
                <a:gd name="connsiteY86" fmla="*/ 169814 h 361333"/>
                <a:gd name="connsiteX87" fmla="*/ 52398 w 361670"/>
                <a:gd name="connsiteY87" fmla="*/ 137894 h 361333"/>
                <a:gd name="connsiteX88" fmla="*/ 52398 w 361670"/>
                <a:gd name="connsiteY88" fmla="*/ 137256 h 361333"/>
                <a:gd name="connsiteX89" fmla="*/ 65817 w 361670"/>
                <a:gd name="connsiteY89" fmla="*/ 124488 h 361333"/>
                <a:gd name="connsiteX90" fmla="*/ 69012 w 361670"/>
                <a:gd name="connsiteY90" fmla="*/ 125126 h 361333"/>
                <a:gd name="connsiteX91" fmla="*/ 81152 w 361670"/>
                <a:gd name="connsiteY91" fmla="*/ 117465 h 361333"/>
                <a:gd name="connsiteX92" fmla="*/ 81152 w 361670"/>
                <a:gd name="connsiteY92" fmla="*/ 117465 h 361333"/>
                <a:gd name="connsiteX93" fmla="*/ 90737 w 361670"/>
                <a:gd name="connsiteY93" fmla="*/ 121296 h 361333"/>
                <a:gd name="connsiteX94" fmla="*/ 93293 w 361670"/>
                <a:gd name="connsiteY94" fmla="*/ 125126 h 361333"/>
                <a:gd name="connsiteX95" fmla="*/ 96488 w 361670"/>
                <a:gd name="connsiteY95" fmla="*/ 124488 h 361333"/>
                <a:gd name="connsiteX96" fmla="*/ 109907 w 361670"/>
                <a:gd name="connsiteY96" fmla="*/ 137894 h 361333"/>
                <a:gd name="connsiteX97" fmla="*/ 109907 w 361670"/>
                <a:gd name="connsiteY97" fmla="*/ 144278 h 361333"/>
                <a:gd name="connsiteX98" fmla="*/ 112463 w 361670"/>
                <a:gd name="connsiteY98" fmla="*/ 144278 h 361333"/>
                <a:gd name="connsiteX99" fmla="*/ 122048 w 361670"/>
                <a:gd name="connsiteY99" fmla="*/ 148108 h 361333"/>
                <a:gd name="connsiteX100" fmla="*/ 125882 w 361670"/>
                <a:gd name="connsiteY100" fmla="*/ 157684 h 361333"/>
                <a:gd name="connsiteX101" fmla="*/ 125882 w 361670"/>
                <a:gd name="connsiteY101" fmla="*/ 199819 h 361333"/>
                <a:gd name="connsiteX102" fmla="*/ 120131 w 361670"/>
                <a:gd name="connsiteY102" fmla="*/ 222801 h 361333"/>
                <a:gd name="connsiteX103" fmla="*/ 198088 w 361670"/>
                <a:gd name="connsiteY103" fmla="*/ 182582 h 361333"/>
                <a:gd name="connsiteX104" fmla="*/ 194893 w 361670"/>
                <a:gd name="connsiteY104" fmla="*/ 185774 h 361333"/>
                <a:gd name="connsiteX105" fmla="*/ 185308 w 361670"/>
                <a:gd name="connsiteY105" fmla="*/ 195988 h 361333"/>
                <a:gd name="connsiteX106" fmla="*/ 184669 w 361670"/>
                <a:gd name="connsiteY106" fmla="*/ 196627 h 361333"/>
                <a:gd name="connsiteX107" fmla="*/ 184669 w 361670"/>
                <a:gd name="connsiteY107" fmla="*/ 196627 h 361333"/>
                <a:gd name="connsiteX108" fmla="*/ 184669 w 361670"/>
                <a:gd name="connsiteY108" fmla="*/ 196627 h 361333"/>
                <a:gd name="connsiteX109" fmla="*/ 184031 w 361670"/>
                <a:gd name="connsiteY109" fmla="*/ 195988 h 361333"/>
                <a:gd name="connsiteX110" fmla="*/ 171251 w 361670"/>
                <a:gd name="connsiteY110" fmla="*/ 182582 h 361333"/>
                <a:gd name="connsiteX111" fmla="*/ 171251 w 361670"/>
                <a:gd name="connsiteY111" fmla="*/ 170452 h 361333"/>
                <a:gd name="connsiteX112" fmla="*/ 177001 w 361670"/>
                <a:gd name="connsiteY112" fmla="*/ 167899 h 361333"/>
                <a:gd name="connsiteX113" fmla="*/ 182752 w 361670"/>
                <a:gd name="connsiteY113" fmla="*/ 170452 h 361333"/>
                <a:gd name="connsiteX114" fmla="*/ 184669 w 361670"/>
                <a:gd name="connsiteY114" fmla="*/ 172368 h 361333"/>
                <a:gd name="connsiteX115" fmla="*/ 186586 w 361670"/>
                <a:gd name="connsiteY115" fmla="*/ 170452 h 361333"/>
                <a:gd name="connsiteX116" fmla="*/ 192337 w 361670"/>
                <a:gd name="connsiteY116" fmla="*/ 167899 h 361333"/>
                <a:gd name="connsiteX117" fmla="*/ 198088 w 361670"/>
                <a:gd name="connsiteY117" fmla="*/ 170452 h 361333"/>
                <a:gd name="connsiteX118" fmla="*/ 198088 w 361670"/>
                <a:gd name="connsiteY118" fmla="*/ 182582 h 361333"/>
                <a:gd name="connsiteX119" fmla="*/ 219175 w 361670"/>
                <a:gd name="connsiteY119" fmla="*/ 193435 h 361333"/>
                <a:gd name="connsiteX120" fmla="*/ 215980 w 361670"/>
                <a:gd name="connsiteY120" fmla="*/ 204926 h 361333"/>
                <a:gd name="connsiteX121" fmla="*/ 215980 w 361670"/>
                <a:gd name="connsiteY121" fmla="*/ 265574 h 361333"/>
                <a:gd name="connsiteX122" fmla="*/ 210229 w 361670"/>
                <a:gd name="connsiteY122" fmla="*/ 271319 h 361333"/>
                <a:gd name="connsiteX123" fmla="*/ 204478 w 361670"/>
                <a:gd name="connsiteY123" fmla="*/ 265574 h 361333"/>
                <a:gd name="connsiteX124" fmla="*/ 204478 w 361670"/>
                <a:gd name="connsiteY124" fmla="*/ 204287 h 361333"/>
                <a:gd name="connsiteX125" fmla="*/ 208312 w 361670"/>
                <a:gd name="connsiteY125" fmla="*/ 188966 h 361333"/>
                <a:gd name="connsiteX126" fmla="*/ 212785 w 361670"/>
                <a:gd name="connsiteY126" fmla="*/ 171091 h 361333"/>
                <a:gd name="connsiteX127" fmla="*/ 212785 w 361670"/>
                <a:gd name="connsiteY127" fmla="*/ 120019 h 361333"/>
                <a:gd name="connsiteX128" fmla="*/ 210868 w 361670"/>
                <a:gd name="connsiteY128" fmla="*/ 117465 h 361333"/>
                <a:gd name="connsiteX129" fmla="*/ 210868 w 361670"/>
                <a:gd name="connsiteY129" fmla="*/ 117465 h 361333"/>
                <a:gd name="connsiteX130" fmla="*/ 208951 w 361670"/>
                <a:gd name="connsiteY130" fmla="*/ 119380 h 361333"/>
                <a:gd name="connsiteX131" fmla="*/ 208951 w 361670"/>
                <a:gd name="connsiteY131" fmla="*/ 120019 h 361333"/>
                <a:gd name="connsiteX132" fmla="*/ 208312 w 361670"/>
                <a:gd name="connsiteY132" fmla="*/ 154492 h 361333"/>
                <a:gd name="connsiteX133" fmla="*/ 202561 w 361670"/>
                <a:gd name="connsiteY133" fmla="*/ 160238 h 361333"/>
                <a:gd name="connsiteX134" fmla="*/ 202561 w 361670"/>
                <a:gd name="connsiteY134" fmla="*/ 160238 h 361333"/>
                <a:gd name="connsiteX135" fmla="*/ 196810 w 361670"/>
                <a:gd name="connsiteY135" fmla="*/ 154492 h 361333"/>
                <a:gd name="connsiteX136" fmla="*/ 196810 w 361670"/>
                <a:gd name="connsiteY136" fmla="*/ 153854 h 361333"/>
                <a:gd name="connsiteX137" fmla="*/ 196810 w 361670"/>
                <a:gd name="connsiteY137" fmla="*/ 111081 h 361333"/>
                <a:gd name="connsiteX138" fmla="*/ 196810 w 361670"/>
                <a:gd name="connsiteY138" fmla="*/ 100867 h 361333"/>
                <a:gd name="connsiteX139" fmla="*/ 194893 w 361670"/>
                <a:gd name="connsiteY139" fmla="*/ 98952 h 361333"/>
                <a:gd name="connsiteX140" fmla="*/ 194893 w 361670"/>
                <a:gd name="connsiteY140" fmla="*/ 98952 h 361333"/>
                <a:gd name="connsiteX141" fmla="*/ 193615 w 361670"/>
                <a:gd name="connsiteY141" fmla="*/ 99590 h 361333"/>
                <a:gd name="connsiteX142" fmla="*/ 192976 w 361670"/>
                <a:gd name="connsiteY142" fmla="*/ 100867 h 361333"/>
                <a:gd name="connsiteX143" fmla="*/ 192976 w 361670"/>
                <a:gd name="connsiteY143" fmla="*/ 101505 h 361333"/>
                <a:gd name="connsiteX144" fmla="*/ 192976 w 361670"/>
                <a:gd name="connsiteY144" fmla="*/ 148108 h 361333"/>
                <a:gd name="connsiteX145" fmla="*/ 187225 w 361670"/>
                <a:gd name="connsiteY145" fmla="*/ 153854 h 361333"/>
                <a:gd name="connsiteX146" fmla="*/ 187225 w 361670"/>
                <a:gd name="connsiteY146" fmla="*/ 153854 h 361333"/>
                <a:gd name="connsiteX147" fmla="*/ 181474 w 361670"/>
                <a:gd name="connsiteY147" fmla="*/ 148108 h 361333"/>
                <a:gd name="connsiteX148" fmla="*/ 181474 w 361670"/>
                <a:gd name="connsiteY148" fmla="*/ 93844 h 361333"/>
                <a:gd name="connsiteX149" fmla="*/ 180836 w 361670"/>
                <a:gd name="connsiteY149" fmla="*/ 91929 h 361333"/>
                <a:gd name="connsiteX150" fmla="*/ 179557 w 361670"/>
                <a:gd name="connsiteY150" fmla="*/ 91291 h 361333"/>
                <a:gd name="connsiteX151" fmla="*/ 179557 w 361670"/>
                <a:gd name="connsiteY151" fmla="*/ 91291 h 361333"/>
                <a:gd name="connsiteX152" fmla="*/ 178279 w 361670"/>
                <a:gd name="connsiteY152" fmla="*/ 91929 h 361333"/>
                <a:gd name="connsiteX153" fmla="*/ 177641 w 361670"/>
                <a:gd name="connsiteY153" fmla="*/ 93206 h 361333"/>
                <a:gd name="connsiteX154" fmla="*/ 177641 w 361670"/>
                <a:gd name="connsiteY154" fmla="*/ 93844 h 361333"/>
                <a:gd name="connsiteX155" fmla="*/ 177641 w 361670"/>
                <a:gd name="connsiteY155" fmla="*/ 99590 h 361333"/>
                <a:gd name="connsiteX156" fmla="*/ 177641 w 361670"/>
                <a:gd name="connsiteY156" fmla="*/ 100228 h 361333"/>
                <a:gd name="connsiteX157" fmla="*/ 177641 w 361670"/>
                <a:gd name="connsiteY157" fmla="*/ 148108 h 361333"/>
                <a:gd name="connsiteX158" fmla="*/ 171889 w 361670"/>
                <a:gd name="connsiteY158" fmla="*/ 153854 h 361333"/>
                <a:gd name="connsiteX159" fmla="*/ 171889 w 361670"/>
                <a:gd name="connsiteY159" fmla="*/ 153854 h 361333"/>
                <a:gd name="connsiteX160" fmla="*/ 166138 w 361670"/>
                <a:gd name="connsiteY160" fmla="*/ 148108 h 361333"/>
                <a:gd name="connsiteX161" fmla="*/ 166138 w 361670"/>
                <a:gd name="connsiteY161" fmla="*/ 100228 h 361333"/>
                <a:gd name="connsiteX162" fmla="*/ 165500 w 361670"/>
                <a:gd name="connsiteY162" fmla="*/ 98952 h 361333"/>
                <a:gd name="connsiteX163" fmla="*/ 164221 w 361670"/>
                <a:gd name="connsiteY163" fmla="*/ 98313 h 361333"/>
                <a:gd name="connsiteX164" fmla="*/ 162943 w 361670"/>
                <a:gd name="connsiteY164" fmla="*/ 98952 h 361333"/>
                <a:gd name="connsiteX165" fmla="*/ 162305 w 361670"/>
                <a:gd name="connsiteY165" fmla="*/ 100228 h 361333"/>
                <a:gd name="connsiteX166" fmla="*/ 162305 w 361670"/>
                <a:gd name="connsiteY166" fmla="*/ 100867 h 361333"/>
                <a:gd name="connsiteX167" fmla="*/ 162305 w 361670"/>
                <a:gd name="connsiteY167" fmla="*/ 164707 h 361333"/>
                <a:gd name="connsiteX168" fmla="*/ 159748 w 361670"/>
                <a:gd name="connsiteY168" fmla="*/ 169176 h 361333"/>
                <a:gd name="connsiteX169" fmla="*/ 154637 w 361670"/>
                <a:gd name="connsiteY169" fmla="*/ 169814 h 361333"/>
                <a:gd name="connsiteX170" fmla="*/ 152081 w 361670"/>
                <a:gd name="connsiteY170" fmla="*/ 167260 h 361333"/>
                <a:gd name="connsiteX171" fmla="*/ 141857 w 361670"/>
                <a:gd name="connsiteY171" fmla="*/ 147470 h 361333"/>
                <a:gd name="connsiteX172" fmla="*/ 139301 w 361670"/>
                <a:gd name="connsiteY172" fmla="*/ 146832 h 361333"/>
                <a:gd name="connsiteX173" fmla="*/ 138662 w 361670"/>
                <a:gd name="connsiteY173" fmla="*/ 150662 h 361333"/>
                <a:gd name="connsiteX174" fmla="*/ 145691 w 361670"/>
                <a:gd name="connsiteY174" fmla="*/ 165345 h 361333"/>
                <a:gd name="connsiteX175" fmla="*/ 161027 w 361670"/>
                <a:gd name="connsiteY175" fmla="*/ 187689 h 361333"/>
                <a:gd name="connsiteX176" fmla="*/ 166778 w 361670"/>
                <a:gd name="connsiteY176" fmla="*/ 203649 h 361333"/>
                <a:gd name="connsiteX177" fmla="*/ 166778 w 361670"/>
                <a:gd name="connsiteY177" fmla="*/ 264297 h 361333"/>
                <a:gd name="connsiteX178" fmla="*/ 161027 w 361670"/>
                <a:gd name="connsiteY178" fmla="*/ 270042 h 361333"/>
                <a:gd name="connsiteX179" fmla="*/ 155276 w 361670"/>
                <a:gd name="connsiteY179" fmla="*/ 264297 h 361333"/>
                <a:gd name="connsiteX180" fmla="*/ 155276 w 361670"/>
                <a:gd name="connsiteY180" fmla="*/ 203649 h 361333"/>
                <a:gd name="connsiteX181" fmla="*/ 152081 w 361670"/>
                <a:gd name="connsiteY181" fmla="*/ 194073 h 361333"/>
                <a:gd name="connsiteX182" fmla="*/ 135467 w 361670"/>
                <a:gd name="connsiteY182" fmla="*/ 170452 h 361333"/>
                <a:gd name="connsiteX183" fmla="*/ 127160 w 361670"/>
                <a:gd name="connsiteY183" fmla="*/ 153216 h 361333"/>
                <a:gd name="connsiteX184" fmla="*/ 134828 w 361670"/>
                <a:gd name="connsiteY184" fmla="*/ 135979 h 361333"/>
                <a:gd name="connsiteX185" fmla="*/ 151442 w 361670"/>
                <a:gd name="connsiteY185" fmla="*/ 141086 h 361333"/>
                <a:gd name="connsiteX186" fmla="*/ 151442 w 361670"/>
                <a:gd name="connsiteY186" fmla="*/ 99590 h 361333"/>
                <a:gd name="connsiteX187" fmla="*/ 151442 w 361670"/>
                <a:gd name="connsiteY187" fmla="*/ 98952 h 361333"/>
                <a:gd name="connsiteX188" fmla="*/ 155276 w 361670"/>
                <a:gd name="connsiteY188" fmla="*/ 90014 h 361333"/>
                <a:gd name="connsiteX189" fmla="*/ 164861 w 361670"/>
                <a:gd name="connsiteY189" fmla="*/ 86184 h 361333"/>
                <a:gd name="connsiteX190" fmla="*/ 168056 w 361670"/>
                <a:gd name="connsiteY190" fmla="*/ 86822 h 361333"/>
                <a:gd name="connsiteX191" fmla="*/ 170611 w 361670"/>
                <a:gd name="connsiteY191" fmla="*/ 82992 h 361333"/>
                <a:gd name="connsiteX192" fmla="*/ 180196 w 361670"/>
                <a:gd name="connsiteY192" fmla="*/ 79161 h 361333"/>
                <a:gd name="connsiteX193" fmla="*/ 189781 w 361670"/>
                <a:gd name="connsiteY193" fmla="*/ 82992 h 361333"/>
                <a:gd name="connsiteX194" fmla="*/ 192337 w 361670"/>
                <a:gd name="connsiteY194" fmla="*/ 86822 h 361333"/>
                <a:gd name="connsiteX195" fmla="*/ 195532 w 361670"/>
                <a:gd name="connsiteY195" fmla="*/ 86184 h 361333"/>
                <a:gd name="connsiteX196" fmla="*/ 208951 w 361670"/>
                <a:gd name="connsiteY196" fmla="*/ 99590 h 361333"/>
                <a:gd name="connsiteX197" fmla="*/ 208951 w 361670"/>
                <a:gd name="connsiteY197" fmla="*/ 105974 h 361333"/>
                <a:gd name="connsiteX198" fmla="*/ 211507 w 361670"/>
                <a:gd name="connsiteY198" fmla="*/ 105974 h 361333"/>
                <a:gd name="connsiteX199" fmla="*/ 224926 w 361670"/>
                <a:gd name="connsiteY199" fmla="*/ 119380 h 361333"/>
                <a:gd name="connsiteX200" fmla="*/ 224926 w 361670"/>
                <a:gd name="connsiteY200" fmla="*/ 171091 h 361333"/>
                <a:gd name="connsiteX201" fmla="*/ 219175 w 361670"/>
                <a:gd name="connsiteY201" fmla="*/ 193435 h 361333"/>
                <a:gd name="connsiteX202" fmla="*/ 294576 w 361670"/>
                <a:gd name="connsiteY202" fmla="*/ 208756 h 361333"/>
                <a:gd name="connsiteX203" fmla="*/ 292020 w 361670"/>
                <a:gd name="connsiteY203" fmla="*/ 211310 h 361333"/>
                <a:gd name="connsiteX204" fmla="*/ 283713 w 361670"/>
                <a:gd name="connsiteY204" fmla="*/ 220247 h 361333"/>
                <a:gd name="connsiteX205" fmla="*/ 283075 w 361670"/>
                <a:gd name="connsiteY205" fmla="*/ 220247 h 361333"/>
                <a:gd name="connsiteX206" fmla="*/ 283075 w 361670"/>
                <a:gd name="connsiteY206" fmla="*/ 220247 h 361333"/>
                <a:gd name="connsiteX207" fmla="*/ 283075 w 361670"/>
                <a:gd name="connsiteY207" fmla="*/ 220247 h 361333"/>
                <a:gd name="connsiteX208" fmla="*/ 282435 w 361670"/>
                <a:gd name="connsiteY208" fmla="*/ 220247 h 361333"/>
                <a:gd name="connsiteX209" fmla="*/ 271572 w 361670"/>
                <a:gd name="connsiteY209" fmla="*/ 208756 h 361333"/>
                <a:gd name="connsiteX210" fmla="*/ 271572 w 361670"/>
                <a:gd name="connsiteY210" fmla="*/ 198542 h 361333"/>
                <a:gd name="connsiteX211" fmla="*/ 276685 w 361670"/>
                <a:gd name="connsiteY211" fmla="*/ 196627 h 361333"/>
                <a:gd name="connsiteX212" fmla="*/ 281796 w 361670"/>
                <a:gd name="connsiteY212" fmla="*/ 198542 h 361333"/>
                <a:gd name="connsiteX213" fmla="*/ 283713 w 361670"/>
                <a:gd name="connsiteY213" fmla="*/ 200457 h 361333"/>
                <a:gd name="connsiteX214" fmla="*/ 285630 w 361670"/>
                <a:gd name="connsiteY214" fmla="*/ 198542 h 361333"/>
                <a:gd name="connsiteX215" fmla="*/ 290742 w 361670"/>
                <a:gd name="connsiteY215" fmla="*/ 196627 h 361333"/>
                <a:gd name="connsiteX216" fmla="*/ 295854 w 361670"/>
                <a:gd name="connsiteY216" fmla="*/ 198542 h 361333"/>
                <a:gd name="connsiteX217" fmla="*/ 294576 w 361670"/>
                <a:gd name="connsiteY217" fmla="*/ 208756 h 361333"/>
                <a:gd name="connsiteX218" fmla="*/ 314385 w 361670"/>
                <a:gd name="connsiteY218" fmla="*/ 265574 h 361333"/>
                <a:gd name="connsiteX219" fmla="*/ 308634 w 361670"/>
                <a:gd name="connsiteY219" fmla="*/ 271319 h 361333"/>
                <a:gd name="connsiteX220" fmla="*/ 302883 w 361670"/>
                <a:gd name="connsiteY220" fmla="*/ 265574 h 361333"/>
                <a:gd name="connsiteX221" fmla="*/ 302883 w 361670"/>
                <a:gd name="connsiteY221" fmla="*/ 233654 h 361333"/>
                <a:gd name="connsiteX222" fmla="*/ 306717 w 361670"/>
                <a:gd name="connsiteY222" fmla="*/ 218332 h 361333"/>
                <a:gd name="connsiteX223" fmla="*/ 311190 w 361670"/>
                <a:gd name="connsiteY223" fmla="*/ 200457 h 361333"/>
                <a:gd name="connsiteX224" fmla="*/ 311190 w 361670"/>
                <a:gd name="connsiteY224" fmla="*/ 158961 h 361333"/>
                <a:gd name="connsiteX225" fmla="*/ 310551 w 361670"/>
                <a:gd name="connsiteY225" fmla="*/ 157046 h 361333"/>
                <a:gd name="connsiteX226" fmla="*/ 309273 w 361670"/>
                <a:gd name="connsiteY226" fmla="*/ 156408 h 361333"/>
                <a:gd name="connsiteX227" fmla="*/ 309273 w 361670"/>
                <a:gd name="connsiteY227" fmla="*/ 156408 h 361333"/>
                <a:gd name="connsiteX228" fmla="*/ 307995 w 361670"/>
                <a:gd name="connsiteY228" fmla="*/ 157046 h 361333"/>
                <a:gd name="connsiteX229" fmla="*/ 307356 w 361670"/>
                <a:gd name="connsiteY229" fmla="*/ 158323 h 361333"/>
                <a:gd name="connsiteX230" fmla="*/ 307356 w 361670"/>
                <a:gd name="connsiteY230" fmla="*/ 158961 h 361333"/>
                <a:gd name="connsiteX231" fmla="*/ 306717 w 361670"/>
                <a:gd name="connsiteY231" fmla="*/ 183220 h 361333"/>
                <a:gd name="connsiteX232" fmla="*/ 300966 w 361670"/>
                <a:gd name="connsiteY232" fmla="*/ 188966 h 361333"/>
                <a:gd name="connsiteX233" fmla="*/ 300966 w 361670"/>
                <a:gd name="connsiteY233" fmla="*/ 188966 h 361333"/>
                <a:gd name="connsiteX234" fmla="*/ 295215 w 361670"/>
                <a:gd name="connsiteY234" fmla="*/ 183220 h 361333"/>
                <a:gd name="connsiteX235" fmla="*/ 295215 w 361670"/>
                <a:gd name="connsiteY235" fmla="*/ 182582 h 361333"/>
                <a:gd name="connsiteX236" fmla="*/ 295215 w 361670"/>
                <a:gd name="connsiteY236" fmla="*/ 149385 h 361333"/>
                <a:gd name="connsiteX237" fmla="*/ 295215 w 361670"/>
                <a:gd name="connsiteY237" fmla="*/ 139171 h 361333"/>
                <a:gd name="connsiteX238" fmla="*/ 293298 w 361670"/>
                <a:gd name="connsiteY238" fmla="*/ 137256 h 361333"/>
                <a:gd name="connsiteX239" fmla="*/ 293298 w 361670"/>
                <a:gd name="connsiteY239" fmla="*/ 137256 h 361333"/>
                <a:gd name="connsiteX240" fmla="*/ 291381 w 361670"/>
                <a:gd name="connsiteY240" fmla="*/ 139171 h 361333"/>
                <a:gd name="connsiteX241" fmla="*/ 291381 w 361670"/>
                <a:gd name="connsiteY241" fmla="*/ 139809 h 361333"/>
                <a:gd name="connsiteX242" fmla="*/ 291381 w 361670"/>
                <a:gd name="connsiteY242" fmla="*/ 176836 h 361333"/>
                <a:gd name="connsiteX243" fmla="*/ 285630 w 361670"/>
                <a:gd name="connsiteY243" fmla="*/ 182582 h 361333"/>
                <a:gd name="connsiteX244" fmla="*/ 285630 w 361670"/>
                <a:gd name="connsiteY244" fmla="*/ 182582 h 361333"/>
                <a:gd name="connsiteX245" fmla="*/ 279880 w 361670"/>
                <a:gd name="connsiteY245" fmla="*/ 176836 h 361333"/>
                <a:gd name="connsiteX246" fmla="*/ 279880 w 361670"/>
                <a:gd name="connsiteY246" fmla="*/ 132148 h 361333"/>
                <a:gd name="connsiteX247" fmla="*/ 277962 w 361670"/>
                <a:gd name="connsiteY247" fmla="*/ 129595 h 361333"/>
                <a:gd name="connsiteX248" fmla="*/ 277962 w 361670"/>
                <a:gd name="connsiteY248" fmla="*/ 129595 h 361333"/>
                <a:gd name="connsiteX249" fmla="*/ 276045 w 361670"/>
                <a:gd name="connsiteY249" fmla="*/ 131510 h 361333"/>
                <a:gd name="connsiteX250" fmla="*/ 276045 w 361670"/>
                <a:gd name="connsiteY250" fmla="*/ 132148 h 361333"/>
                <a:gd name="connsiteX251" fmla="*/ 276045 w 361670"/>
                <a:gd name="connsiteY251" fmla="*/ 137894 h 361333"/>
                <a:gd name="connsiteX252" fmla="*/ 276045 w 361670"/>
                <a:gd name="connsiteY252" fmla="*/ 138532 h 361333"/>
                <a:gd name="connsiteX253" fmla="*/ 276045 w 361670"/>
                <a:gd name="connsiteY253" fmla="*/ 139171 h 361333"/>
                <a:gd name="connsiteX254" fmla="*/ 276045 w 361670"/>
                <a:gd name="connsiteY254" fmla="*/ 176198 h 361333"/>
                <a:gd name="connsiteX255" fmla="*/ 270295 w 361670"/>
                <a:gd name="connsiteY255" fmla="*/ 181944 h 361333"/>
                <a:gd name="connsiteX256" fmla="*/ 270295 w 361670"/>
                <a:gd name="connsiteY256" fmla="*/ 181944 h 361333"/>
                <a:gd name="connsiteX257" fmla="*/ 264544 w 361670"/>
                <a:gd name="connsiteY257" fmla="*/ 176198 h 361333"/>
                <a:gd name="connsiteX258" fmla="*/ 264544 w 361670"/>
                <a:gd name="connsiteY258" fmla="*/ 138532 h 361333"/>
                <a:gd name="connsiteX259" fmla="*/ 263905 w 361670"/>
                <a:gd name="connsiteY259" fmla="*/ 137256 h 361333"/>
                <a:gd name="connsiteX260" fmla="*/ 262627 w 361670"/>
                <a:gd name="connsiteY260" fmla="*/ 136617 h 361333"/>
                <a:gd name="connsiteX261" fmla="*/ 262627 w 361670"/>
                <a:gd name="connsiteY261" fmla="*/ 136617 h 361333"/>
                <a:gd name="connsiteX262" fmla="*/ 260710 w 361670"/>
                <a:gd name="connsiteY262" fmla="*/ 138532 h 361333"/>
                <a:gd name="connsiteX263" fmla="*/ 260710 w 361670"/>
                <a:gd name="connsiteY263" fmla="*/ 139171 h 361333"/>
                <a:gd name="connsiteX264" fmla="*/ 260710 w 361670"/>
                <a:gd name="connsiteY264" fmla="*/ 193435 h 361333"/>
                <a:gd name="connsiteX265" fmla="*/ 258154 w 361670"/>
                <a:gd name="connsiteY265" fmla="*/ 197903 h 361333"/>
                <a:gd name="connsiteX266" fmla="*/ 253042 w 361670"/>
                <a:gd name="connsiteY266" fmla="*/ 198542 h 361333"/>
                <a:gd name="connsiteX267" fmla="*/ 250486 w 361670"/>
                <a:gd name="connsiteY267" fmla="*/ 195988 h 361333"/>
                <a:gd name="connsiteX268" fmla="*/ 240262 w 361670"/>
                <a:gd name="connsiteY268" fmla="*/ 176198 h 361333"/>
                <a:gd name="connsiteX269" fmla="*/ 237706 w 361670"/>
                <a:gd name="connsiteY269" fmla="*/ 175560 h 361333"/>
                <a:gd name="connsiteX270" fmla="*/ 236428 w 361670"/>
                <a:gd name="connsiteY270" fmla="*/ 178752 h 361333"/>
                <a:gd name="connsiteX271" fmla="*/ 243457 w 361670"/>
                <a:gd name="connsiteY271" fmla="*/ 194073 h 361333"/>
                <a:gd name="connsiteX272" fmla="*/ 258792 w 361670"/>
                <a:gd name="connsiteY272" fmla="*/ 216417 h 361333"/>
                <a:gd name="connsiteX273" fmla="*/ 264544 w 361670"/>
                <a:gd name="connsiteY273" fmla="*/ 232377 h 361333"/>
                <a:gd name="connsiteX274" fmla="*/ 264544 w 361670"/>
                <a:gd name="connsiteY274" fmla="*/ 263658 h 361333"/>
                <a:gd name="connsiteX275" fmla="*/ 258792 w 361670"/>
                <a:gd name="connsiteY275" fmla="*/ 269404 h 361333"/>
                <a:gd name="connsiteX276" fmla="*/ 253042 w 361670"/>
                <a:gd name="connsiteY276" fmla="*/ 263658 h 361333"/>
                <a:gd name="connsiteX277" fmla="*/ 253042 w 361670"/>
                <a:gd name="connsiteY277" fmla="*/ 232377 h 361333"/>
                <a:gd name="connsiteX278" fmla="*/ 249847 w 361670"/>
                <a:gd name="connsiteY278" fmla="*/ 222801 h 361333"/>
                <a:gd name="connsiteX279" fmla="*/ 233233 w 361670"/>
                <a:gd name="connsiteY279" fmla="*/ 199180 h 361333"/>
                <a:gd name="connsiteX280" fmla="*/ 224926 w 361670"/>
                <a:gd name="connsiteY280" fmla="*/ 181944 h 361333"/>
                <a:gd name="connsiteX281" fmla="*/ 224926 w 361670"/>
                <a:gd name="connsiteY281" fmla="*/ 181305 h 361333"/>
                <a:gd name="connsiteX282" fmla="*/ 232594 w 361670"/>
                <a:gd name="connsiteY282" fmla="*/ 164707 h 361333"/>
                <a:gd name="connsiteX283" fmla="*/ 249208 w 361670"/>
                <a:gd name="connsiteY283" fmla="*/ 169814 h 361333"/>
                <a:gd name="connsiteX284" fmla="*/ 249208 w 361670"/>
                <a:gd name="connsiteY284" fmla="*/ 137894 h 361333"/>
                <a:gd name="connsiteX285" fmla="*/ 249208 w 361670"/>
                <a:gd name="connsiteY285" fmla="*/ 137256 h 361333"/>
                <a:gd name="connsiteX286" fmla="*/ 262627 w 361670"/>
                <a:gd name="connsiteY286" fmla="*/ 124488 h 361333"/>
                <a:gd name="connsiteX287" fmla="*/ 265822 w 361670"/>
                <a:gd name="connsiteY287" fmla="*/ 125126 h 361333"/>
                <a:gd name="connsiteX288" fmla="*/ 277962 w 361670"/>
                <a:gd name="connsiteY288" fmla="*/ 117465 h 361333"/>
                <a:gd name="connsiteX289" fmla="*/ 290103 w 361670"/>
                <a:gd name="connsiteY289" fmla="*/ 125126 h 361333"/>
                <a:gd name="connsiteX290" fmla="*/ 293298 w 361670"/>
                <a:gd name="connsiteY290" fmla="*/ 124488 h 361333"/>
                <a:gd name="connsiteX291" fmla="*/ 306717 w 361670"/>
                <a:gd name="connsiteY291" fmla="*/ 137894 h 361333"/>
                <a:gd name="connsiteX292" fmla="*/ 306717 w 361670"/>
                <a:gd name="connsiteY292" fmla="*/ 144278 h 361333"/>
                <a:gd name="connsiteX293" fmla="*/ 309273 w 361670"/>
                <a:gd name="connsiteY293" fmla="*/ 144278 h 361333"/>
                <a:gd name="connsiteX294" fmla="*/ 318858 w 361670"/>
                <a:gd name="connsiteY294" fmla="*/ 148108 h 361333"/>
                <a:gd name="connsiteX295" fmla="*/ 322692 w 361670"/>
                <a:gd name="connsiteY295" fmla="*/ 157684 h 361333"/>
                <a:gd name="connsiteX296" fmla="*/ 322692 w 361670"/>
                <a:gd name="connsiteY296" fmla="*/ 199819 h 361333"/>
                <a:gd name="connsiteX297" fmla="*/ 317580 w 361670"/>
                <a:gd name="connsiteY297" fmla="*/ 221524 h 361333"/>
                <a:gd name="connsiteX298" fmla="*/ 314385 w 361670"/>
                <a:gd name="connsiteY298" fmla="*/ 233015 h 361333"/>
                <a:gd name="connsiteX299" fmla="*/ 314385 w 361670"/>
                <a:gd name="connsiteY299" fmla="*/ 26557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361670" h="361333">
                  <a:moveTo>
                    <a:pt x="180836" y="0"/>
                  </a:moveTo>
                  <a:cubicBezTo>
                    <a:pt x="80513" y="0"/>
                    <a:pt x="0" y="81076"/>
                    <a:pt x="0" y="180667"/>
                  </a:cubicBezTo>
                  <a:cubicBezTo>
                    <a:pt x="0" y="280895"/>
                    <a:pt x="81152" y="361333"/>
                    <a:pt x="180836" y="361333"/>
                  </a:cubicBezTo>
                  <a:cubicBezTo>
                    <a:pt x="280518" y="361333"/>
                    <a:pt x="361671" y="280257"/>
                    <a:pt x="361671" y="180667"/>
                  </a:cubicBezTo>
                  <a:cubicBezTo>
                    <a:pt x="361671" y="81076"/>
                    <a:pt x="280518" y="0"/>
                    <a:pt x="180836" y="0"/>
                  </a:cubicBezTo>
                  <a:close/>
                  <a:moveTo>
                    <a:pt x="95849" y="208756"/>
                  </a:moveTo>
                  <a:lnTo>
                    <a:pt x="93293" y="211310"/>
                  </a:lnTo>
                  <a:lnTo>
                    <a:pt x="84986" y="220247"/>
                  </a:lnTo>
                  <a:cubicBezTo>
                    <a:pt x="84986" y="220247"/>
                    <a:pt x="84347" y="220247"/>
                    <a:pt x="84347" y="220247"/>
                  </a:cubicBezTo>
                  <a:cubicBezTo>
                    <a:pt x="84347" y="220247"/>
                    <a:pt x="84347" y="220247"/>
                    <a:pt x="84347" y="220247"/>
                  </a:cubicBezTo>
                  <a:cubicBezTo>
                    <a:pt x="84347" y="220247"/>
                    <a:pt x="84347" y="220247"/>
                    <a:pt x="84347" y="220247"/>
                  </a:cubicBezTo>
                  <a:cubicBezTo>
                    <a:pt x="84347" y="220247"/>
                    <a:pt x="83708" y="220247"/>
                    <a:pt x="83708" y="220247"/>
                  </a:cubicBezTo>
                  <a:lnTo>
                    <a:pt x="72845" y="208756"/>
                  </a:lnTo>
                  <a:cubicBezTo>
                    <a:pt x="70289" y="206203"/>
                    <a:pt x="70289" y="201734"/>
                    <a:pt x="72845" y="198542"/>
                  </a:cubicBezTo>
                  <a:cubicBezTo>
                    <a:pt x="74124" y="197265"/>
                    <a:pt x="76040" y="196627"/>
                    <a:pt x="77957" y="196627"/>
                  </a:cubicBezTo>
                  <a:cubicBezTo>
                    <a:pt x="79874" y="196627"/>
                    <a:pt x="81792" y="197265"/>
                    <a:pt x="83069" y="198542"/>
                  </a:cubicBezTo>
                  <a:lnTo>
                    <a:pt x="84986" y="200457"/>
                  </a:lnTo>
                  <a:lnTo>
                    <a:pt x="86903" y="198542"/>
                  </a:lnTo>
                  <a:cubicBezTo>
                    <a:pt x="88181" y="197265"/>
                    <a:pt x="90098" y="196627"/>
                    <a:pt x="92015" y="196627"/>
                  </a:cubicBezTo>
                  <a:cubicBezTo>
                    <a:pt x="93932" y="196627"/>
                    <a:pt x="95849" y="197265"/>
                    <a:pt x="97127" y="198542"/>
                  </a:cubicBezTo>
                  <a:cubicBezTo>
                    <a:pt x="98405" y="201095"/>
                    <a:pt x="98405" y="206203"/>
                    <a:pt x="95849" y="208756"/>
                  </a:cubicBezTo>
                  <a:close/>
                  <a:moveTo>
                    <a:pt x="120131" y="222801"/>
                  </a:moveTo>
                  <a:cubicBezTo>
                    <a:pt x="118853" y="226631"/>
                    <a:pt x="117575" y="229823"/>
                    <a:pt x="116936" y="234292"/>
                  </a:cubicBezTo>
                  <a:lnTo>
                    <a:pt x="116936" y="265574"/>
                  </a:lnTo>
                  <a:cubicBezTo>
                    <a:pt x="116936" y="268766"/>
                    <a:pt x="114380" y="271319"/>
                    <a:pt x="111185" y="271319"/>
                  </a:cubicBezTo>
                  <a:cubicBezTo>
                    <a:pt x="107990" y="271319"/>
                    <a:pt x="105434" y="268766"/>
                    <a:pt x="105434" y="265574"/>
                  </a:cubicBezTo>
                  <a:lnTo>
                    <a:pt x="105434" y="233654"/>
                  </a:lnTo>
                  <a:cubicBezTo>
                    <a:pt x="106073" y="227270"/>
                    <a:pt x="107351" y="222801"/>
                    <a:pt x="109268" y="218332"/>
                  </a:cubicBezTo>
                  <a:cubicBezTo>
                    <a:pt x="111185" y="213225"/>
                    <a:pt x="113102" y="208118"/>
                    <a:pt x="113741" y="200457"/>
                  </a:cubicBezTo>
                  <a:lnTo>
                    <a:pt x="113741" y="158961"/>
                  </a:lnTo>
                  <a:cubicBezTo>
                    <a:pt x="113741" y="157684"/>
                    <a:pt x="113102" y="157046"/>
                    <a:pt x="113102" y="157046"/>
                  </a:cubicBezTo>
                  <a:cubicBezTo>
                    <a:pt x="113102" y="157046"/>
                    <a:pt x="112463" y="156408"/>
                    <a:pt x="111824" y="156408"/>
                  </a:cubicBezTo>
                  <a:cubicBezTo>
                    <a:pt x="111824" y="156408"/>
                    <a:pt x="111824" y="156408"/>
                    <a:pt x="111824" y="156408"/>
                  </a:cubicBezTo>
                  <a:cubicBezTo>
                    <a:pt x="111185" y="156408"/>
                    <a:pt x="110546" y="157046"/>
                    <a:pt x="110546" y="157046"/>
                  </a:cubicBezTo>
                  <a:cubicBezTo>
                    <a:pt x="110546" y="157046"/>
                    <a:pt x="109907" y="157684"/>
                    <a:pt x="109907" y="158323"/>
                  </a:cubicBezTo>
                  <a:cubicBezTo>
                    <a:pt x="109907" y="158323"/>
                    <a:pt x="109907" y="158961"/>
                    <a:pt x="109907" y="158961"/>
                  </a:cubicBezTo>
                  <a:lnTo>
                    <a:pt x="109907" y="183220"/>
                  </a:lnTo>
                  <a:cubicBezTo>
                    <a:pt x="109907" y="186412"/>
                    <a:pt x="107351" y="188966"/>
                    <a:pt x="104156" y="188966"/>
                  </a:cubicBezTo>
                  <a:cubicBezTo>
                    <a:pt x="100961" y="188966"/>
                    <a:pt x="98405" y="186412"/>
                    <a:pt x="98405" y="183220"/>
                  </a:cubicBezTo>
                  <a:lnTo>
                    <a:pt x="98405" y="182582"/>
                  </a:lnTo>
                  <a:lnTo>
                    <a:pt x="98405" y="149385"/>
                  </a:lnTo>
                  <a:lnTo>
                    <a:pt x="98405" y="139171"/>
                  </a:lnTo>
                  <a:cubicBezTo>
                    <a:pt x="98405" y="137894"/>
                    <a:pt x="97127" y="137256"/>
                    <a:pt x="96488" y="137256"/>
                  </a:cubicBezTo>
                  <a:cubicBezTo>
                    <a:pt x="96488" y="137256"/>
                    <a:pt x="96488" y="137256"/>
                    <a:pt x="96488" y="137256"/>
                  </a:cubicBezTo>
                  <a:cubicBezTo>
                    <a:pt x="95210" y="137256"/>
                    <a:pt x="94571" y="138532"/>
                    <a:pt x="94571" y="139171"/>
                  </a:cubicBezTo>
                  <a:cubicBezTo>
                    <a:pt x="94571" y="139171"/>
                    <a:pt x="94571" y="139809"/>
                    <a:pt x="94571" y="139809"/>
                  </a:cubicBezTo>
                  <a:lnTo>
                    <a:pt x="94571" y="176836"/>
                  </a:lnTo>
                  <a:cubicBezTo>
                    <a:pt x="94571" y="180028"/>
                    <a:pt x="92015" y="182582"/>
                    <a:pt x="88820" y="182582"/>
                  </a:cubicBezTo>
                  <a:cubicBezTo>
                    <a:pt x="88820" y="182582"/>
                    <a:pt x="88820" y="182582"/>
                    <a:pt x="88820" y="182582"/>
                  </a:cubicBezTo>
                  <a:cubicBezTo>
                    <a:pt x="85625" y="182582"/>
                    <a:pt x="83069" y="180028"/>
                    <a:pt x="83069" y="176836"/>
                  </a:cubicBezTo>
                  <a:lnTo>
                    <a:pt x="83069" y="132148"/>
                  </a:lnTo>
                  <a:cubicBezTo>
                    <a:pt x="83069" y="130233"/>
                    <a:pt x="81792" y="129595"/>
                    <a:pt x="81152" y="129595"/>
                  </a:cubicBezTo>
                  <a:cubicBezTo>
                    <a:pt x="79874" y="129595"/>
                    <a:pt x="79235" y="130872"/>
                    <a:pt x="79235" y="131510"/>
                  </a:cubicBezTo>
                  <a:cubicBezTo>
                    <a:pt x="79235" y="131510"/>
                    <a:pt x="79235" y="132148"/>
                    <a:pt x="79235" y="132148"/>
                  </a:cubicBezTo>
                  <a:lnTo>
                    <a:pt x="79235" y="137256"/>
                  </a:lnTo>
                  <a:cubicBezTo>
                    <a:pt x="79235" y="137894"/>
                    <a:pt x="79235" y="137894"/>
                    <a:pt x="79235" y="138532"/>
                  </a:cubicBezTo>
                  <a:cubicBezTo>
                    <a:pt x="79235" y="138532"/>
                    <a:pt x="79235" y="139171"/>
                    <a:pt x="79235" y="139171"/>
                  </a:cubicBezTo>
                  <a:lnTo>
                    <a:pt x="79235" y="176198"/>
                  </a:lnTo>
                  <a:cubicBezTo>
                    <a:pt x="79235" y="179390"/>
                    <a:pt x="76679" y="181944"/>
                    <a:pt x="73484" y="181944"/>
                  </a:cubicBezTo>
                  <a:cubicBezTo>
                    <a:pt x="73484" y="181944"/>
                    <a:pt x="73484" y="181944"/>
                    <a:pt x="73484" y="181944"/>
                  </a:cubicBezTo>
                  <a:cubicBezTo>
                    <a:pt x="70289" y="181944"/>
                    <a:pt x="67734" y="179390"/>
                    <a:pt x="67734" y="176198"/>
                  </a:cubicBezTo>
                  <a:lnTo>
                    <a:pt x="67734" y="138532"/>
                  </a:lnTo>
                  <a:cubicBezTo>
                    <a:pt x="67734" y="137894"/>
                    <a:pt x="67094" y="137256"/>
                    <a:pt x="67094" y="137256"/>
                  </a:cubicBezTo>
                  <a:cubicBezTo>
                    <a:pt x="67094" y="137256"/>
                    <a:pt x="66456" y="136617"/>
                    <a:pt x="65817" y="136617"/>
                  </a:cubicBezTo>
                  <a:cubicBezTo>
                    <a:pt x="65817" y="136617"/>
                    <a:pt x="65817" y="136617"/>
                    <a:pt x="65817" y="136617"/>
                  </a:cubicBezTo>
                  <a:cubicBezTo>
                    <a:pt x="64539" y="136617"/>
                    <a:pt x="63899" y="137894"/>
                    <a:pt x="63899" y="138532"/>
                  </a:cubicBezTo>
                  <a:cubicBezTo>
                    <a:pt x="63899" y="138532"/>
                    <a:pt x="63899" y="139171"/>
                    <a:pt x="63899" y="139171"/>
                  </a:cubicBezTo>
                  <a:lnTo>
                    <a:pt x="63899" y="193435"/>
                  </a:lnTo>
                  <a:cubicBezTo>
                    <a:pt x="63899" y="195350"/>
                    <a:pt x="63261" y="197265"/>
                    <a:pt x="61344" y="197903"/>
                  </a:cubicBezTo>
                  <a:cubicBezTo>
                    <a:pt x="59427" y="198542"/>
                    <a:pt x="57509" y="199180"/>
                    <a:pt x="56232" y="198542"/>
                  </a:cubicBezTo>
                  <a:cubicBezTo>
                    <a:pt x="54954" y="197903"/>
                    <a:pt x="54314" y="197265"/>
                    <a:pt x="53676" y="195988"/>
                  </a:cubicBezTo>
                  <a:cubicBezTo>
                    <a:pt x="45369" y="182582"/>
                    <a:pt x="43452" y="176836"/>
                    <a:pt x="43452" y="176198"/>
                  </a:cubicBezTo>
                  <a:cubicBezTo>
                    <a:pt x="43452" y="175560"/>
                    <a:pt x="42174" y="174921"/>
                    <a:pt x="40896" y="175560"/>
                  </a:cubicBezTo>
                  <a:cubicBezTo>
                    <a:pt x="40257" y="175560"/>
                    <a:pt x="39618" y="176198"/>
                    <a:pt x="39618" y="178752"/>
                  </a:cubicBezTo>
                  <a:cubicBezTo>
                    <a:pt x="41535" y="183859"/>
                    <a:pt x="44091" y="188966"/>
                    <a:pt x="46647" y="194073"/>
                  </a:cubicBezTo>
                  <a:cubicBezTo>
                    <a:pt x="50481" y="200457"/>
                    <a:pt x="58149" y="210671"/>
                    <a:pt x="61982" y="216417"/>
                  </a:cubicBezTo>
                  <a:cubicBezTo>
                    <a:pt x="65817" y="220886"/>
                    <a:pt x="67734" y="226631"/>
                    <a:pt x="67734" y="232377"/>
                  </a:cubicBezTo>
                  <a:lnTo>
                    <a:pt x="67734" y="263658"/>
                  </a:lnTo>
                  <a:cubicBezTo>
                    <a:pt x="67734" y="266850"/>
                    <a:pt x="65177" y="269404"/>
                    <a:pt x="61982" y="269404"/>
                  </a:cubicBezTo>
                  <a:cubicBezTo>
                    <a:pt x="58788" y="269404"/>
                    <a:pt x="56232" y="266850"/>
                    <a:pt x="56232" y="263658"/>
                  </a:cubicBezTo>
                  <a:lnTo>
                    <a:pt x="56232" y="232377"/>
                  </a:lnTo>
                  <a:cubicBezTo>
                    <a:pt x="56232" y="229185"/>
                    <a:pt x="54954" y="225993"/>
                    <a:pt x="53037" y="222801"/>
                  </a:cubicBezTo>
                  <a:cubicBezTo>
                    <a:pt x="47925" y="215779"/>
                    <a:pt x="40896" y="206203"/>
                    <a:pt x="36423" y="199180"/>
                  </a:cubicBezTo>
                  <a:cubicBezTo>
                    <a:pt x="33228" y="193435"/>
                    <a:pt x="30672" y="187689"/>
                    <a:pt x="28116" y="181944"/>
                  </a:cubicBezTo>
                  <a:cubicBezTo>
                    <a:pt x="28116" y="181944"/>
                    <a:pt x="28116" y="181305"/>
                    <a:pt x="28116" y="181305"/>
                  </a:cubicBezTo>
                  <a:cubicBezTo>
                    <a:pt x="26199" y="173644"/>
                    <a:pt x="29394" y="167260"/>
                    <a:pt x="35784" y="164707"/>
                  </a:cubicBezTo>
                  <a:cubicBezTo>
                    <a:pt x="41535" y="162153"/>
                    <a:pt x="48564" y="164707"/>
                    <a:pt x="52398" y="169814"/>
                  </a:cubicBezTo>
                  <a:lnTo>
                    <a:pt x="52398" y="137894"/>
                  </a:lnTo>
                  <a:cubicBezTo>
                    <a:pt x="52398" y="137894"/>
                    <a:pt x="52398" y="137256"/>
                    <a:pt x="52398" y="137256"/>
                  </a:cubicBezTo>
                  <a:cubicBezTo>
                    <a:pt x="52398" y="130233"/>
                    <a:pt x="58149" y="124488"/>
                    <a:pt x="65817" y="124488"/>
                  </a:cubicBezTo>
                  <a:cubicBezTo>
                    <a:pt x="67094" y="124488"/>
                    <a:pt x="68372" y="124488"/>
                    <a:pt x="69012" y="125126"/>
                  </a:cubicBezTo>
                  <a:cubicBezTo>
                    <a:pt x="70929" y="120657"/>
                    <a:pt x="76040" y="117465"/>
                    <a:pt x="81152" y="117465"/>
                  </a:cubicBezTo>
                  <a:cubicBezTo>
                    <a:pt x="81152" y="117465"/>
                    <a:pt x="81152" y="117465"/>
                    <a:pt x="81152" y="117465"/>
                  </a:cubicBezTo>
                  <a:cubicBezTo>
                    <a:pt x="84986" y="117465"/>
                    <a:pt x="88181" y="118742"/>
                    <a:pt x="90737" y="121296"/>
                  </a:cubicBezTo>
                  <a:cubicBezTo>
                    <a:pt x="92015" y="122572"/>
                    <a:pt x="92654" y="123849"/>
                    <a:pt x="93293" y="125126"/>
                  </a:cubicBezTo>
                  <a:cubicBezTo>
                    <a:pt x="94571" y="125126"/>
                    <a:pt x="95210" y="124488"/>
                    <a:pt x="96488" y="124488"/>
                  </a:cubicBezTo>
                  <a:cubicBezTo>
                    <a:pt x="103517" y="124488"/>
                    <a:pt x="109907" y="130233"/>
                    <a:pt x="109907" y="137894"/>
                  </a:cubicBezTo>
                  <a:lnTo>
                    <a:pt x="109907" y="144278"/>
                  </a:lnTo>
                  <a:cubicBezTo>
                    <a:pt x="110546" y="144278"/>
                    <a:pt x="111185" y="143640"/>
                    <a:pt x="112463" y="144278"/>
                  </a:cubicBezTo>
                  <a:cubicBezTo>
                    <a:pt x="116297" y="144278"/>
                    <a:pt x="119492" y="145555"/>
                    <a:pt x="122048" y="148108"/>
                  </a:cubicBezTo>
                  <a:cubicBezTo>
                    <a:pt x="124604" y="150662"/>
                    <a:pt x="125882" y="153854"/>
                    <a:pt x="125882" y="157684"/>
                  </a:cubicBezTo>
                  <a:lnTo>
                    <a:pt x="125882" y="199819"/>
                  </a:lnTo>
                  <a:cubicBezTo>
                    <a:pt x="124604" y="211310"/>
                    <a:pt x="122687" y="217055"/>
                    <a:pt x="120131" y="222801"/>
                  </a:cubicBezTo>
                  <a:close/>
                  <a:moveTo>
                    <a:pt x="198088" y="182582"/>
                  </a:moveTo>
                  <a:lnTo>
                    <a:pt x="194893" y="185774"/>
                  </a:lnTo>
                  <a:lnTo>
                    <a:pt x="185308" y="195988"/>
                  </a:lnTo>
                  <a:cubicBezTo>
                    <a:pt x="185308" y="195988"/>
                    <a:pt x="184669" y="196627"/>
                    <a:pt x="184669" y="196627"/>
                  </a:cubicBezTo>
                  <a:cubicBezTo>
                    <a:pt x="184669" y="196627"/>
                    <a:pt x="184669" y="196627"/>
                    <a:pt x="184669" y="196627"/>
                  </a:cubicBezTo>
                  <a:cubicBezTo>
                    <a:pt x="184669" y="196627"/>
                    <a:pt x="184669" y="196627"/>
                    <a:pt x="184669" y="196627"/>
                  </a:cubicBezTo>
                  <a:cubicBezTo>
                    <a:pt x="184669" y="196627"/>
                    <a:pt x="184031" y="196627"/>
                    <a:pt x="184031" y="195988"/>
                  </a:cubicBezTo>
                  <a:lnTo>
                    <a:pt x="171251" y="182582"/>
                  </a:lnTo>
                  <a:cubicBezTo>
                    <a:pt x="168056" y="179390"/>
                    <a:pt x="168056" y="174283"/>
                    <a:pt x="171251" y="170452"/>
                  </a:cubicBezTo>
                  <a:cubicBezTo>
                    <a:pt x="172528" y="169176"/>
                    <a:pt x="175084" y="167899"/>
                    <a:pt x="177001" y="167899"/>
                  </a:cubicBezTo>
                  <a:cubicBezTo>
                    <a:pt x="178918" y="167899"/>
                    <a:pt x="181474" y="168537"/>
                    <a:pt x="182752" y="170452"/>
                  </a:cubicBezTo>
                  <a:lnTo>
                    <a:pt x="184669" y="172368"/>
                  </a:lnTo>
                  <a:lnTo>
                    <a:pt x="186586" y="170452"/>
                  </a:lnTo>
                  <a:cubicBezTo>
                    <a:pt x="187864" y="169176"/>
                    <a:pt x="190420" y="167899"/>
                    <a:pt x="192337" y="167899"/>
                  </a:cubicBezTo>
                  <a:cubicBezTo>
                    <a:pt x="194254" y="167899"/>
                    <a:pt x="196810" y="168537"/>
                    <a:pt x="198088" y="170452"/>
                  </a:cubicBezTo>
                  <a:cubicBezTo>
                    <a:pt x="201283" y="174283"/>
                    <a:pt x="201283" y="179390"/>
                    <a:pt x="198088" y="182582"/>
                  </a:cubicBezTo>
                  <a:close/>
                  <a:moveTo>
                    <a:pt x="219175" y="193435"/>
                  </a:moveTo>
                  <a:cubicBezTo>
                    <a:pt x="217897" y="197265"/>
                    <a:pt x="216619" y="200457"/>
                    <a:pt x="215980" y="204926"/>
                  </a:cubicBezTo>
                  <a:lnTo>
                    <a:pt x="215980" y="265574"/>
                  </a:lnTo>
                  <a:cubicBezTo>
                    <a:pt x="215980" y="268766"/>
                    <a:pt x="213424" y="271319"/>
                    <a:pt x="210229" y="271319"/>
                  </a:cubicBezTo>
                  <a:cubicBezTo>
                    <a:pt x="207034" y="271319"/>
                    <a:pt x="204478" y="268766"/>
                    <a:pt x="204478" y="265574"/>
                  </a:cubicBezTo>
                  <a:lnTo>
                    <a:pt x="204478" y="204287"/>
                  </a:lnTo>
                  <a:cubicBezTo>
                    <a:pt x="205117" y="197903"/>
                    <a:pt x="206395" y="193435"/>
                    <a:pt x="208312" y="188966"/>
                  </a:cubicBezTo>
                  <a:cubicBezTo>
                    <a:pt x="210229" y="183859"/>
                    <a:pt x="212146" y="178752"/>
                    <a:pt x="212785" y="171091"/>
                  </a:cubicBezTo>
                  <a:lnTo>
                    <a:pt x="212785" y="120019"/>
                  </a:lnTo>
                  <a:cubicBezTo>
                    <a:pt x="212785" y="118104"/>
                    <a:pt x="211507" y="117465"/>
                    <a:pt x="210868" y="117465"/>
                  </a:cubicBezTo>
                  <a:cubicBezTo>
                    <a:pt x="210868" y="117465"/>
                    <a:pt x="210868" y="117465"/>
                    <a:pt x="210868" y="117465"/>
                  </a:cubicBezTo>
                  <a:cubicBezTo>
                    <a:pt x="209590" y="117465"/>
                    <a:pt x="208951" y="118742"/>
                    <a:pt x="208951" y="119380"/>
                  </a:cubicBezTo>
                  <a:cubicBezTo>
                    <a:pt x="208951" y="119380"/>
                    <a:pt x="208951" y="120019"/>
                    <a:pt x="208951" y="120019"/>
                  </a:cubicBezTo>
                  <a:lnTo>
                    <a:pt x="208312" y="154492"/>
                  </a:lnTo>
                  <a:cubicBezTo>
                    <a:pt x="208312" y="157684"/>
                    <a:pt x="205756" y="160238"/>
                    <a:pt x="202561" y="160238"/>
                  </a:cubicBezTo>
                  <a:cubicBezTo>
                    <a:pt x="202561" y="160238"/>
                    <a:pt x="202561" y="160238"/>
                    <a:pt x="202561" y="160238"/>
                  </a:cubicBezTo>
                  <a:cubicBezTo>
                    <a:pt x="199366" y="160238"/>
                    <a:pt x="196810" y="157684"/>
                    <a:pt x="196810" y="154492"/>
                  </a:cubicBezTo>
                  <a:lnTo>
                    <a:pt x="196810" y="153854"/>
                  </a:lnTo>
                  <a:lnTo>
                    <a:pt x="196810" y="111081"/>
                  </a:lnTo>
                  <a:lnTo>
                    <a:pt x="196810" y="100867"/>
                  </a:lnTo>
                  <a:cubicBezTo>
                    <a:pt x="196810" y="99590"/>
                    <a:pt x="195532" y="98952"/>
                    <a:pt x="194893" y="98952"/>
                  </a:cubicBezTo>
                  <a:cubicBezTo>
                    <a:pt x="194893" y="98952"/>
                    <a:pt x="194893" y="98952"/>
                    <a:pt x="194893" y="98952"/>
                  </a:cubicBezTo>
                  <a:cubicBezTo>
                    <a:pt x="194254" y="98952"/>
                    <a:pt x="193615" y="99590"/>
                    <a:pt x="193615" y="99590"/>
                  </a:cubicBezTo>
                  <a:cubicBezTo>
                    <a:pt x="193615" y="99590"/>
                    <a:pt x="192976" y="100228"/>
                    <a:pt x="192976" y="100867"/>
                  </a:cubicBezTo>
                  <a:cubicBezTo>
                    <a:pt x="192976" y="100867"/>
                    <a:pt x="192976" y="101505"/>
                    <a:pt x="192976" y="101505"/>
                  </a:cubicBezTo>
                  <a:lnTo>
                    <a:pt x="192976" y="148108"/>
                  </a:lnTo>
                  <a:cubicBezTo>
                    <a:pt x="192976" y="151300"/>
                    <a:pt x="190420" y="153854"/>
                    <a:pt x="187225" y="153854"/>
                  </a:cubicBezTo>
                  <a:cubicBezTo>
                    <a:pt x="187225" y="153854"/>
                    <a:pt x="187225" y="153854"/>
                    <a:pt x="187225" y="153854"/>
                  </a:cubicBezTo>
                  <a:cubicBezTo>
                    <a:pt x="184031" y="153854"/>
                    <a:pt x="181474" y="151300"/>
                    <a:pt x="181474" y="148108"/>
                  </a:cubicBezTo>
                  <a:lnTo>
                    <a:pt x="181474" y="93844"/>
                  </a:lnTo>
                  <a:cubicBezTo>
                    <a:pt x="181474" y="92568"/>
                    <a:pt x="180836" y="91929"/>
                    <a:pt x="180836" y="91929"/>
                  </a:cubicBezTo>
                  <a:cubicBezTo>
                    <a:pt x="180836" y="91929"/>
                    <a:pt x="180196" y="91291"/>
                    <a:pt x="179557" y="91291"/>
                  </a:cubicBezTo>
                  <a:cubicBezTo>
                    <a:pt x="179557" y="91291"/>
                    <a:pt x="179557" y="91291"/>
                    <a:pt x="179557" y="91291"/>
                  </a:cubicBezTo>
                  <a:cubicBezTo>
                    <a:pt x="178918" y="91291"/>
                    <a:pt x="178279" y="91929"/>
                    <a:pt x="178279" y="91929"/>
                  </a:cubicBezTo>
                  <a:cubicBezTo>
                    <a:pt x="178279" y="91929"/>
                    <a:pt x="177641" y="92568"/>
                    <a:pt x="177641" y="93206"/>
                  </a:cubicBezTo>
                  <a:cubicBezTo>
                    <a:pt x="177641" y="93206"/>
                    <a:pt x="177641" y="93844"/>
                    <a:pt x="177641" y="93844"/>
                  </a:cubicBezTo>
                  <a:lnTo>
                    <a:pt x="177641" y="99590"/>
                  </a:lnTo>
                  <a:cubicBezTo>
                    <a:pt x="177641" y="99590"/>
                    <a:pt x="177641" y="100228"/>
                    <a:pt x="177641" y="100228"/>
                  </a:cubicBezTo>
                  <a:lnTo>
                    <a:pt x="177641" y="148108"/>
                  </a:lnTo>
                  <a:cubicBezTo>
                    <a:pt x="177641" y="151300"/>
                    <a:pt x="175084" y="153854"/>
                    <a:pt x="171889" y="153854"/>
                  </a:cubicBezTo>
                  <a:cubicBezTo>
                    <a:pt x="171889" y="153854"/>
                    <a:pt x="171889" y="153854"/>
                    <a:pt x="171889" y="153854"/>
                  </a:cubicBezTo>
                  <a:cubicBezTo>
                    <a:pt x="168695" y="153854"/>
                    <a:pt x="166138" y="151300"/>
                    <a:pt x="166138" y="148108"/>
                  </a:cubicBezTo>
                  <a:lnTo>
                    <a:pt x="166138" y="100228"/>
                  </a:lnTo>
                  <a:cubicBezTo>
                    <a:pt x="166138" y="99590"/>
                    <a:pt x="165500" y="98952"/>
                    <a:pt x="165500" y="98952"/>
                  </a:cubicBezTo>
                  <a:cubicBezTo>
                    <a:pt x="165500" y="98952"/>
                    <a:pt x="164861" y="98313"/>
                    <a:pt x="164221" y="98313"/>
                  </a:cubicBezTo>
                  <a:cubicBezTo>
                    <a:pt x="163583" y="98313"/>
                    <a:pt x="162943" y="98952"/>
                    <a:pt x="162943" y="98952"/>
                  </a:cubicBezTo>
                  <a:cubicBezTo>
                    <a:pt x="162943" y="98952"/>
                    <a:pt x="162305" y="99590"/>
                    <a:pt x="162305" y="100228"/>
                  </a:cubicBezTo>
                  <a:cubicBezTo>
                    <a:pt x="162305" y="100228"/>
                    <a:pt x="162305" y="100867"/>
                    <a:pt x="162305" y="100867"/>
                  </a:cubicBezTo>
                  <a:lnTo>
                    <a:pt x="162305" y="164707"/>
                  </a:lnTo>
                  <a:cubicBezTo>
                    <a:pt x="162305" y="166622"/>
                    <a:pt x="161666" y="168537"/>
                    <a:pt x="159748" y="169176"/>
                  </a:cubicBezTo>
                  <a:cubicBezTo>
                    <a:pt x="158471" y="170452"/>
                    <a:pt x="155915" y="170452"/>
                    <a:pt x="154637" y="169814"/>
                  </a:cubicBezTo>
                  <a:cubicBezTo>
                    <a:pt x="153358" y="169176"/>
                    <a:pt x="152720" y="168537"/>
                    <a:pt x="152081" y="167260"/>
                  </a:cubicBezTo>
                  <a:cubicBezTo>
                    <a:pt x="143774" y="153854"/>
                    <a:pt x="141857" y="148108"/>
                    <a:pt x="141857" y="147470"/>
                  </a:cubicBezTo>
                  <a:cubicBezTo>
                    <a:pt x="141857" y="146832"/>
                    <a:pt x="140579" y="146193"/>
                    <a:pt x="139301" y="146832"/>
                  </a:cubicBezTo>
                  <a:cubicBezTo>
                    <a:pt x="138662" y="146832"/>
                    <a:pt x="137384" y="147470"/>
                    <a:pt x="138662" y="150662"/>
                  </a:cubicBezTo>
                  <a:cubicBezTo>
                    <a:pt x="140579" y="155131"/>
                    <a:pt x="143135" y="160876"/>
                    <a:pt x="145691" y="165345"/>
                  </a:cubicBezTo>
                  <a:cubicBezTo>
                    <a:pt x="149525" y="172368"/>
                    <a:pt x="157193" y="181944"/>
                    <a:pt x="161027" y="187689"/>
                  </a:cubicBezTo>
                  <a:cubicBezTo>
                    <a:pt x="164861" y="192158"/>
                    <a:pt x="166778" y="197903"/>
                    <a:pt x="166778" y="203649"/>
                  </a:cubicBezTo>
                  <a:lnTo>
                    <a:pt x="166778" y="264297"/>
                  </a:lnTo>
                  <a:cubicBezTo>
                    <a:pt x="166778" y="267489"/>
                    <a:pt x="164221" y="270042"/>
                    <a:pt x="161027" y="270042"/>
                  </a:cubicBezTo>
                  <a:cubicBezTo>
                    <a:pt x="157832" y="270042"/>
                    <a:pt x="155276" y="267489"/>
                    <a:pt x="155276" y="264297"/>
                  </a:cubicBezTo>
                  <a:lnTo>
                    <a:pt x="155276" y="203649"/>
                  </a:lnTo>
                  <a:cubicBezTo>
                    <a:pt x="155276" y="200457"/>
                    <a:pt x="153998" y="197265"/>
                    <a:pt x="152081" y="194073"/>
                  </a:cubicBezTo>
                  <a:cubicBezTo>
                    <a:pt x="146969" y="187051"/>
                    <a:pt x="139940" y="177475"/>
                    <a:pt x="135467" y="170452"/>
                  </a:cubicBezTo>
                  <a:cubicBezTo>
                    <a:pt x="132272" y="164707"/>
                    <a:pt x="129716" y="158961"/>
                    <a:pt x="127160" y="153216"/>
                  </a:cubicBezTo>
                  <a:cubicBezTo>
                    <a:pt x="125243" y="144916"/>
                    <a:pt x="127799" y="138532"/>
                    <a:pt x="134828" y="135979"/>
                  </a:cubicBezTo>
                  <a:cubicBezTo>
                    <a:pt x="140579" y="133425"/>
                    <a:pt x="147608" y="135979"/>
                    <a:pt x="151442" y="141086"/>
                  </a:cubicBezTo>
                  <a:lnTo>
                    <a:pt x="151442" y="99590"/>
                  </a:lnTo>
                  <a:cubicBezTo>
                    <a:pt x="151442" y="99590"/>
                    <a:pt x="151442" y="98952"/>
                    <a:pt x="151442" y="98952"/>
                  </a:cubicBezTo>
                  <a:cubicBezTo>
                    <a:pt x="151442" y="95760"/>
                    <a:pt x="152720" y="92568"/>
                    <a:pt x="155276" y="90014"/>
                  </a:cubicBezTo>
                  <a:cubicBezTo>
                    <a:pt x="157832" y="87460"/>
                    <a:pt x="161027" y="86184"/>
                    <a:pt x="164861" y="86184"/>
                  </a:cubicBezTo>
                  <a:cubicBezTo>
                    <a:pt x="166138" y="86184"/>
                    <a:pt x="167416" y="86184"/>
                    <a:pt x="168056" y="86822"/>
                  </a:cubicBezTo>
                  <a:cubicBezTo>
                    <a:pt x="168695" y="85545"/>
                    <a:pt x="169333" y="84268"/>
                    <a:pt x="170611" y="82992"/>
                  </a:cubicBezTo>
                  <a:cubicBezTo>
                    <a:pt x="173168" y="80438"/>
                    <a:pt x="176363" y="79161"/>
                    <a:pt x="180196" y="79161"/>
                  </a:cubicBezTo>
                  <a:cubicBezTo>
                    <a:pt x="184031" y="79161"/>
                    <a:pt x="187225" y="80438"/>
                    <a:pt x="189781" y="82992"/>
                  </a:cubicBezTo>
                  <a:cubicBezTo>
                    <a:pt x="191059" y="84268"/>
                    <a:pt x="191698" y="85545"/>
                    <a:pt x="192337" y="86822"/>
                  </a:cubicBezTo>
                  <a:cubicBezTo>
                    <a:pt x="193615" y="86822"/>
                    <a:pt x="194893" y="86184"/>
                    <a:pt x="195532" y="86184"/>
                  </a:cubicBezTo>
                  <a:cubicBezTo>
                    <a:pt x="202561" y="86184"/>
                    <a:pt x="208951" y="91929"/>
                    <a:pt x="208951" y="99590"/>
                  </a:cubicBezTo>
                  <a:lnTo>
                    <a:pt x="208951" y="105974"/>
                  </a:lnTo>
                  <a:cubicBezTo>
                    <a:pt x="209590" y="105974"/>
                    <a:pt x="210229" y="105336"/>
                    <a:pt x="211507" y="105974"/>
                  </a:cubicBezTo>
                  <a:cubicBezTo>
                    <a:pt x="218536" y="105974"/>
                    <a:pt x="224926" y="111720"/>
                    <a:pt x="224926" y="119380"/>
                  </a:cubicBezTo>
                  <a:lnTo>
                    <a:pt x="224926" y="171091"/>
                  </a:lnTo>
                  <a:cubicBezTo>
                    <a:pt x="223648" y="181944"/>
                    <a:pt x="221731" y="188327"/>
                    <a:pt x="219175" y="193435"/>
                  </a:cubicBezTo>
                  <a:close/>
                  <a:moveTo>
                    <a:pt x="294576" y="208756"/>
                  </a:moveTo>
                  <a:lnTo>
                    <a:pt x="292020" y="211310"/>
                  </a:lnTo>
                  <a:lnTo>
                    <a:pt x="283713" y="220247"/>
                  </a:lnTo>
                  <a:cubicBezTo>
                    <a:pt x="283713" y="220247"/>
                    <a:pt x="283075" y="220247"/>
                    <a:pt x="283075" y="220247"/>
                  </a:cubicBezTo>
                  <a:cubicBezTo>
                    <a:pt x="283075" y="220247"/>
                    <a:pt x="283075" y="220247"/>
                    <a:pt x="283075" y="220247"/>
                  </a:cubicBezTo>
                  <a:cubicBezTo>
                    <a:pt x="283075" y="220247"/>
                    <a:pt x="283075" y="220247"/>
                    <a:pt x="283075" y="220247"/>
                  </a:cubicBezTo>
                  <a:cubicBezTo>
                    <a:pt x="283075" y="220247"/>
                    <a:pt x="282435" y="220247"/>
                    <a:pt x="282435" y="220247"/>
                  </a:cubicBezTo>
                  <a:lnTo>
                    <a:pt x="271572" y="208756"/>
                  </a:lnTo>
                  <a:cubicBezTo>
                    <a:pt x="269017" y="206203"/>
                    <a:pt x="269017" y="201734"/>
                    <a:pt x="271572" y="198542"/>
                  </a:cubicBezTo>
                  <a:cubicBezTo>
                    <a:pt x="272850" y="197265"/>
                    <a:pt x="274767" y="196627"/>
                    <a:pt x="276685" y="196627"/>
                  </a:cubicBezTo>
                  <a:cubicBezTo>
                    <a:pt x="278602" y="196627"/>
                    <a:pt x="280518" y="197265"/>
                    <a:pt x="281796" y="198542"/>
                  </a:cubicBezTo>
                  <a:lnTo>
                    <a:pt x="283713" y="200457"/>
                  </a:lnTo>
                  <a:lnTo>
                    <a:pt x="285630" y="198542"/>
                  </a:lnTo>
                  <a:cubicBezTo>
                    <a:pt x="286908" y="197265"/>
                    <a:pt x="288825" y="196627"/>
                    <a:pt x="290742" y="196627"/>
                  </a:cubicBezTo>
                  <a:cubicBezTo>
                    <a:pt x="292659" y="196627"/>
                    <a:pt x="294576" y="197265"/>
                    <a:pt x="295854" y="198542"/>
                  </a:cubicBezTo>
                  <a:cubicBezTo>
                    <a:pt x="297132" y="201095"/>
                    <a:pt x="297132" y="206203"/>
                    <a:pt x="294576" y="208756"/>
                  </a:cubicBezTo>
                  <a:close/>
                  <a:moveTo>
                    <a:pt x="314385" y="265574"/>
                  </a:moveTo>
                  <a:cubicBezTo>
                    <a:pt x="314385" y="268766"/>
                    <a:pt x="311829" y="271319"/>
                    <a:pt x="308634" y="271319"/>
                  </a:cubicBezTo>
                  <a:cubicBezTo>
                    <a:pt x="305439" y="271319"/>
                    <a:pt x="302883" y="268766"/>
                    <a:pt x="302883" y="265574"/>
                  </a:cubicBezTo>
                  <a:lnTo>
                    <a:pt x="302883" y="233654"/>
                  </a:lnTo>
                  <a:cubicBezTo>
                    <a:pt x="303522" y="227270"/>
                    <a:pt x="304800" y="222801"/>
                    <a:pt x="306717" y="218332"/>
                  </a:cubicBezTo>
                  <a:cubicBezTo>
                    <a:pt x="308634" y="213225"/>
                    <a:pt x="310551" y="208118"/>
                    <a:pt x="311190" y="200457"/>
                  </a:cubicBezTo>
                  <a:lnTo>
                    <a:pt x="311190" y="158961"/>
                  </a:lnTo>
                  <a:cubicBezTo>
                    <a:pt x="311190" y="157684"/>
                    <a:pt x="310551" y="157046"/>
                    <a:pt x="310551" y="157046"/>
                  </a:cubicBezTo>
                  <a:cubicBezTo>
                    <a:pt x="310551" y="157046"/>
                    <a:pt x="309912" y="156408"/>
                    <a:pt x="309273" y="156408"/>
                  </a:cubicBezTo>
                  <a:cubicBezTo>
                    <a:pt x="309273" y="156408"/>
                    <a:pt x="309273" y="156408"/>
                    <a:pt x="309273" y="156408"/>
                  </a:cubicBezTo>
                  <a:cubicBezTo>
                    <a:pt x="308634" y="156408"/>
                    <a:pt x="307995" y="157046"/>
                    <a:pt x="307995" y="157046"/>
                  </a:cubicBezTo>
                  <a:cubicBezTo>
                    <a:pt x="307995" y="157046"/>
                    <a:pt x="307356" y="157684"/>
                    <a:pt x="307356" y="158323"/>
                  </a:cubicBezTo>
                  <a:cubicBezTo>
                    <a:pt x="307356" y="158323"/>
                    <a:pt x="307356" y="158961"/>
                    <a:pt x="307356" y="158961"/>
                  </a:cubicBezTo>
                  <a:lnTo>
                    <a:pt x="306717" y="183220"/>
                  </a:lnTo>
                  <a:cubicBezTo>
                    <a:pt x="306717" y="186412"/>
                    <a:pt x="304161" y="188966"/>
                    <a:pt x="300966" y="188966"/>
                  </a:cubicBezTo>
                  <a:cubicBezTo>
                    <a:pt x="300966" y="188966"/>
                    <a:pt x="300966" y="188966"/>
                    <a:pt x="300966" y="188966"/>
                  </a:cubicBezTo>
                  <a:cubicBezTo>
                    <a:pt x="297771" y="188966"/>
                    <a:pt x="295215" y="186412"/>
                    <a:pt x="295215" y="183220"/>
                  </a:cubicBezTo>
                  <a:lnTo>
                    <a:pt x="295215" y="182582"/>
                  </a:lnTo>
                  <a:lnTo>
                    <a:pt x="295215" y="149385"/>
                  </a:lnTo>
                  <a:lnTo>
                    <a:pt x="295215" y="139171"/>
                  </a:lnTo>
                  <a:cubicBezTo>
                    <a:pt x="295215" y="137894"/>
                    <a:pt x="293937" y="137256"/>
                    <a:pt x="293298" y="137256"/>
                  </a:cubicBezTo>
                  <a:cubicBezTo>
                    <a:pt x="293298" y="137256"/>
                    <a:pt x="293298" y="137256"/>
                    <a:pt x="293298" y="137256"/>
                  </a:cubicBezTo>
                  <a:cubicBezTo>
                    <a:pt x="292020" y="137256"/>
                    <a:pt x="291381" y="138532"/>
                    <a:pt x="291381" y="139171"/>
                  </a:cubicBezTo>
                  <a:cubicBezTo>
                    <a:pt x="291381" y="139171"/>
                    <a:pt x="291381" y="139809"/>
                    <a:pt x="291381" y="139809"/>
                  </a:cubicBezTo>
                  <a:lnTo>
                    <a:pt x="291381" y="176836"/>
                  </a:lnTo>
                  <a:cubicBezTo>
                    <a:pt x="291381" y="180028"/>
                    <a:pt x="288825" y="182582"/>
                    <a:pt x="285630" y="182582"/>
                  </a:cubicBezTo>
                  <a:cubicBezTo>
                    <a:pt x="285630" y="182582"/>
                    <a:pt x="285630" y="182582"/>
                    <a:pt x="285630" y="182582"/>
                  </a:cubicBezTo>
                  <a:cubicBezTo>
                    <a:pt x="282435" y="182582"/>
                    <a:pt x="279880" y="180028"/>
                    <a:pt x="279880" y="176836"/>
                  </a:cubicBezTo>
                  <a:lnTo>
                    <a:pt x="279880" y="132148"/>
                  </a:lnTo>
                  <a:cubicBezTo>
                    <a:pt x="279880" y="130233"/>
                    <a:pt x="278602" y="129595"/>
                    <a:pt x="277962" y="129595"/>
                  </a:cubicBezTo>
                  <a:cubicBezTo>
                    <a:pt x="277962" y="129595"/>
                    <a:pt x="277962" y="129595"/>
                    <a:pt x="277962" y="129595"/>
                  </a:cubicBezTo>
                  <a:cubicBezTo>
                    <a:pt x="276685" y="129595"/>
                    <a:pt x="276045" y="130872"/>
                    <a:pt x="276045" y="131510"/>
                  </a:cubicBezTo>
                  <a:cubicBezTo>
                    <a:pt x="276045" y="131510"/>
                    <a:pt x="276045" y="132148"/>
                    <a:pt x="276045" y="132148"/>
                  </a:cubicBezTo>
                  <a:lnTo>
                    <a:pt x="276045" y="137894"/>
                  </a:lnTo>
                  <a:cubicBezTo>
                    <a:pt x="276045" y="137894"/>
                    <a:pt x="276045" y="138532"/>
                    <a:pt x="276045" y="138532"/>
                  </a:cubicBezTo>
                  <a:cubicBezTo>
                    <a:pt x="276045" y="138532"/>
                    <a:pt x="276045" y="139171"/>
                    <a:pt x="276045" y="139171"/>
                  </a:cubicBezTo>
                  <a:lnTo>
                    <a:pt x="276045" y="176198"/>
                  </a:lnTo>
                  <a:cubicBezTo>
                    <a:pt x="276045" y="179390"/>
                    <a:pt x="273490" y="181944"/>
                    <a:pt x="270295" y="181944"/>
                  </a:cubicBezTo>
                  <a:cubicBezTo>
                    <a:pt x="270295" y="181944"/>
                    <a:pt x="270295" y="181944"/>
                    <a:pt x="270295" y="181944"/>
                  </a:cubicBezTo>
                  <a:cubicBezTo>
                    <a:pt x="267100" y="181944"/>
                    <a:pt x="264544" y="179390"/>
                    <a:pt x="264544" y="176198"/>
                  </a:cubicBezTo>
                  <a:lnTo>
                    <a:pt x="264544" y="138532"/>
                  </a:lnTo>
                  <a:cubicBezTo>
                    <a:pt x="264544" y="137894"/>
                    <a:pt x="263905" y="137256"/>
                    <a:pt x="263905" y="137256"/>
                  </a:cubicBezTo>
                  <a:cubicBezTo>
                    <a:pt x="263905" y="137256"/>
                    <a:pt x="263266" y="136617"/>
                    <a:pt x="262627" y="136617"/>
                  </a:cubicBezTo>
                  <a:cubicBezTo>
                    <a:pt x="262627" y="136617"/>
                    <a:pt x="262627" y="136617"/>
                    <a:pt x="262627" y="136617"/>
                  </a:cubicBezTo>
                  <a:cubicBezTo>
                    <a:pt x="261349" y="136617"/>
                    <a:pt x="260710" y="137894"/>
                    <a:pt x="260710" y="138532"/>
                  </a:cubicBezTo>
                  <a:cubicBezTo>
                    <a:pt x="260710" y="138532"/>
                    <a:pt x="260710" y="139171"/>
                    <a:pt x="260710" y="139171"/>
                  </a:cubicBezTo>
                  <a:lnTo>
                    <a:pt x="260710" y="193435"/>
                  </a:lnTo>
                  <a:cubicBezTo>
                    <a:pt x="260710" y="195350"/>
                    <a:pt x="260071" y="197265"/>
                    <a:pt x="258154" y="197903"/>
                  </a:cubicBezTo>
                  <a:cubicBezTo>
                    <a:pt x="256876" y="199180"/>
                    <a:pt x="254320" y="199180"/>
                    <a:pt x="253042" y="198542"/>
                  </a:cubicBezTo>
                  <a:cubicBezTo>
                    <a:pt x="251764" y="197903"/>
                    <a:pt x="251125" y="197265"/>
                    <a:pt x="250486" y="195988"/>
                  </a:cubicBezTo>
                  <a:cubicBezTo>
                    <a:pt x="242179" y="182582"/>
                    <a:pt x="240262" y="176836"/>
                    <a:pt x="240262" y="176198"/>
                  </a:cubicBezTo>
                  <a:cubicBezTo>
                    <a:pt x="240262" y="175560"/>
                    <a:pt x="238984" y="174921"/>
                    <a:pt x="237706" y="175560"/>
                  </a:cubicBezTo>
                  <a:cubicBezTo>
                    <a:pt x="237067" y="175560"/>
                    <a:pt x="236428" y="176198"/>
                    <a:pt x="236428" y="178752"/>
                  </a:cubicBezTo>
                  <a:cubicBezTo>
                    <a:pt x="238345" y="183859"/>
                    <a:pt x="240901" y="188966"/>
                    <a:pt x="243457" y="194073"/>
                  </a:cubicBezTo>
                  <a:cubicBezTo>
                    <a:pt x="246652" y="199180"/>
                    <a:pt x="251764" y="206841"/>
                    <a:pt x="258792" y="216417"/>
                  </a:cubicBezTo>
                  <a:cubicBezTo>
                    <a:pt x="262627" y="220886"/>
                    <a:pt x="264544" y="226631"/>
                    <a:pt x="264544" y="232377"/>
                  </a:cubicBezTo>
                  <a:lnTo>
                    <a:pt x="264544" y="263658"/>
                  </a:lnTo>
                  <a:cubicBezTo>
                    <a:pt x="264544" y="266850"/>
                    <a:pt x="261987" y="269404"/>
                    <a:pt x="258792" y="269404"/>
                  </a:cubicBezTo>
                  <a:cubicBezTo>
                    <a:pt x="255597" y="269404"/>
                    <a:pt x="253042" y="266850"/>
                    <a:pt x="253042" y="263658"/>
                  </a:cubicBezTo>
                  <a:lnTo>
                    <a:pt x="253042" y="232377"/>
                  </a:lnTo>
                  <a:cubicBezTo>
                    <a:pt x="253042" y="229185"/>
                    <a:pt x="251764" y="225993"/>
                    <a:pt x="249847" y="222801"/>
                  </a:cubicBezTo>
                  <a:cubicBezTo>
                    <a:pt x="244735" y="215779"/>
                    <a:pt x="237706" y="206203"/>
                    <a:pt x="233233" y="199180"/>
                  </a:cubicBezTo>
                  <a:cubicBezTo>
                    <a:pt x="230038" y="193435"/>
                    <a:pt x="227482" y="187689"/>
                    <a:pt x="224926" y="181944"/>
                  </a:cubicBezTo>
                  <a:cubicBezTo>
                    <a:pt x="224926" y="181944"/>
                    <a:pt x="224926" y="181305"/>
                    <a:pt x="224926" y="181305"/>
                  </a:cubicBezTo>
                  <a:cubicBezTo>
                    <a:pt x="223009" y="173644"/>
                    <a:pt x="226204" y="167260"/>
                    <a:pt x="232594" y="164707"/>
                  </a:cubicBezTo>
                  <a:cubicBezTo>
                    <a:pt x="238345" y="162153"/>
                    <a:pt x="245374" y="164707"/>
                    <a:pt x="249208" y="169814"/>
                  </a:cubicBezTo>
                  <a:lnTo>
                    <a:pt x="249208" y="137894"/>
                  </a:lnTo>
                  <a:cubicBezTo>
                    <a:pt x="249208" y="137894"/>
                    <a:pt x="249208" y="137256"/>
                    <a:pt x="249208" y="137256"/>
                  </a:cubicBezTo>
                  <a:cubicBezTo>
                    <a:pt x="249208" y="130233"/>
                    <a:pt x="254959" y="124488"/>
                    <a:pt x="262627" y="124488"/>
                  </a:cubicBezTo>
                  <a:cubicBezTo>
                    <a:pt x="263905" y="124488"/>
                    <a:pt x="265182" y="124488"/>
                    <a:pt x="265822" y="125126"/>
                  </a:cubicBezTo>
                  <a:cubicBezTo>
                    <a:pt x="267739" y="120657"/>
                    <a:pt x="272850" y="117465"/>
                    <a:pt x="277962" y="117465"/>
                  </a:cubicBezTo>
                  <a:cubicBezTo>
                    <a:pt x="283075" y="117465"/>
                    <a:pt x="288186" y="120657"/>
                    <a:pt x="290103" y="125126"/>
                  </a:cubicBezTo>
                  <a:cubicBezTo>
                    <a:pt x="291381" y="125126"/>
                    <a:pt x="292020" y="124488"/>
                    <a:pt x="293298" y="124488"/>
                  </a:cubicBezTo>
                  <a:cubicBezTo>
                    <a:pt x="300327" y="124488"/>
                    <a:pt x="306717" y="130233"/>
                    <a:pt x="306717" y="137894"/>
                  </a:cubicBezTo>
                  <a:lnTo>
                    <a:pt x="306717" y="144278"/>
                  </a:lnTo>
                  <a:cubicBezTo>
                    <a:pt x="307356" y="144278"/>
                    <a:pt x="307995" y="143640"/>
                    <a:pt x="309273" y="144278"/>
                  </a:cubicBezTo>
                  <a:cubicBezTo>
                    <a:pt x="313107" y="144278"/>
                    <a:pt x="316302" y="145555"/>
                    <a:pt x="318858" y="148108"/>
                  </a:cubicBezTo>
                  <a:cubicBezTo>
                    <a:pt x="321414" y="150662"/>
                    <a:pt x="322692" y="153854"/>
                    <a:pt x="322692" y="157684"/>
                  </a:cubicBezTo>
                  <a:lnTo>
                    <a:pt x="322692" y="199819"/>
                  </a:lnTo>
                  <a:cubicBezTo>
                    <a:pt x="322053" y="210033"/>
                    <a:pt x="320136" y="216417"/>
                    <a:pt x="317580" y="221524"/>
                  </a:cubicBezTo>
                  <a:cubicBezTo>
                    <a:pt x="316302" y="225355"/>
                    <a:pt x="315024" y="228546"/>
                    <a:pt x="314385" y="233015"/>
                  </a:cubicBezTo>
                  <a:lnTo>
                    <a:pt x="314385" y="265574"/>
                  </a:lnTo>
                  <a:close/>
                </a:path>
              </a:pathLst>
            </a:custGeom>
            <a:solidFill>
              <a:srgbClr val="00A3E0"/>
            </a:solid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spTree>
    <p:extLst>
      <p:ext uri="{BB962C8B-B14F-4D97-AF65-F5344CB8AC3E}">
        <p14:creationId xmlns:p14="http://schemas.microsoft.com/office/powerpoint/2010/main" val="2022602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964ED62-A9D2-39DA-4830-29DCEFAF97F0}"/>
              </a:ext>
            </a:extLst>
          </p:cNvPr>
          <p:cNvGrpSpPr/>
          <p:nvPr/>
        </p:nvGrpSpPr>
        <p:grpSpPr>
          <a:xfrm>
            <a:off x="2531835" y="1246414"/>
            <a:ext cx="7064829" cy="4365172"/>
            <a:chOff x="631371" y="947057"/>
            <a:chExt cx="7064829" cy="4365172"/>
          </a:xfrm>
        </p:grpSpPr>
        <p:sp>
          <p:nvSpPr>
            <p:cNvPr id="3" name="Rectangle 2">
              <a:extLst>
                <a:ext uri="{FF2B5EF4-FFF2-40B4-BE49-F238E27FC236}">
                  <a16:creationId xmlns:a16="http://schemas.microsoft.com/office/drawing/2014/main" id="{00732173-0A4B-2640-E4CF-C6374E54173F}"/>
                </a:ext>
              </a:extLst>
            </p:cNvPr>
            <p:cNvSpPr/>
            <p:nvPr/>
          </p:nvSpPr>
          <p:spPr bwMode="gray">
            <a:xfrm>
              <a:off x="631371" y="947057"/>
              <a:ext cx="7064829" cy="4365172"/>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Light"/>
              </a:endParaRPr>
            </a:p>
          </p:txBody>
        </p:sp>
        <p:grpSp>
          <p:nvGrpSpPr>
            <p:cNvPr id="4" name="Graphic 4">
              <a:extLst>
                <a:ext uri="{FF2B5EF4-FFF2-40B4-BE49-F238E27FC236}">
                  <a16:creationId xmlns:a16="http://schemas.microsoft.com/office/drawing/2014/main" id="{B9127B0B-4F28-5215-E13E-EF7535C3133A}"/>
                </a:ext>
              </a:extLst>
            </p:cNvPr>
            <p:cNvGrpSpPr/>
            <p:nvPr/>
          </p:nvGrpSpPr>
          <p:grpSpPr>
            <a:xfrm>
              <a:off x="5105563" y="2108697"/>
              <a:ext cx="1800003" cy="1799999"/>
              <a:chOff x="6147119" y="2371173"/>
              <a:chExt cx="361670" cy="361333"/>
            </a:xfrm>
            <a:solidFill>
              <a:srgbClr val="86BC25"/>
            </a:solidFill>
          </p:grpSpPr>
          <p:sp>
            <p:nvSpPr>
              <p:cNvPr id="9" name="Graphic 4">
                <a:extLst>
                  <a:ext uri="{FF2B5EF4-FFF2-40B4-BE49-F238E27FC236}">
                    <a16:creationId xmlns:a16="http://schemas.microsoft.com/office/drawing/2014/main" id="{D6D6EAF5-1F90-2200-3432-41A8925662A3}"/>
                  </a:ext>
                </a:extLst>
              </p:cNvPr>
              <p:cNvSpPr/>
              <p:nvPr/>
            </p:nvSpPr>
            <p:spPr>
              <a:xfrm>
                <a:off x="6231854" y="2594533"/>
                <a:ext cx="46259" cy="34748"/>
              </a:xfrm>
              <a:custGeom>
                <a:avLst/>
                <a:gdLst>
                  <a:gd name="connsiteX0" fmla="*/ 11114 w 46259"/>
                  <a:gd name="connsiteY0" fmla="*/ 34553 h 34748"/>
                  <a:gd name="connsiteX1" fmla="*/ 14309 w 46259"/>
                  <a:gd name="connsiteY1" fmla="*/ 32000 h 34748"/>
                  <a:gd name="connsiteX2" fmla="*/ 45620 w 46259"/>
                  <a:gd name="connsiteY2" fmla="*/ 6464 h 34748"/>
                  <a:gd name="connsiteX3" fmla="*/ 46259 w 46259"/>
                  <a:gd name="connsiteY3" fmla="*/ 5825 h 34748"/>
                  <a:gd name="connsiteX4" fmla="*/ 44342 w 46259"/>
                  <a:gd name="connsiteY4" fmla="*/ 3910 h 34748"/>
                  <a:gd name="connsiteX5" fmla="*/ 32201 w 46259"/>
                  <a:gd name="connsiteY5" fmla="*/ 1995 h 34748"/>
                  <a:gd name="connsiteX6" fmla="*/ 1530 w 46259"/>
                  <a:gd name="connsiteY6" fmla="*/ 21147 h 34748"/>
                  <a:gd name="connsiteX7" fmla="*/ 891 w 46259"/>
                  <a:gd name="connsiteY7" fmla="*/ 28169 h 34748"/>
                  <a:gd name="connsiteX8" fmla="*/ 11114 w 46259"/>
                  <a:gd name="connsiteY8" fmla="*/ 34553 h 3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59" h="34748">
                    <a:moveTo>
                      <a:pt x="11114" y="34553"/>
                    </a:moveTo>
                    <a:cubicBezTo>
                      <a:pt x="14309" y="32638"/>
                      <a:pt x="14309" y="32638"/>
                      <a:pt x="14309" y="32000"/>
                    </a:cubicBezTo>
                    <a:lnTo>
                      <a:pt x="45620" y="6464"/>
                    </a:lnTo>
                    <a:cubicBezTo>
                      <a:pt x="45620" y="6464"/>
                      <a:pt x="45620" y="6464"/>
                      <a:pt x="46259" y="5825"/>
                    </a:cubicBezTo>
                    <a:cubicBezTo>
                      <a:pt x="46259" y="5187"/>
                      <a:pt x="45620" y="4549"/>
                      <a:pt x="44342" y="3910"/>
                    </a:cubicBezTo>
                    <a:cubicBezTo>
                      <a:pt x="41147" y="-559"/>
                      <a:pt x="37313" y="-1197"/>
                      <a:pt x="32201" y="1995"/>
                    </a:cubicBezTo>
                    <a:lnTo>
                      <a:pt x="1530" y="21147"/>
                    </a:lnTo>
                    <a:cubicBezTo>
                      <a:pt x="-387" y="23062"/>
                      <a:pt x="-387" y="26254"/>
                      <a:pt x="891" y="28169"/>
                    </a:cubicBezTo>
                    <a:cubicBezTo>
                      <a:pt x="4725" y="34553"/>
                      <a:pt x="9836" y="35192"/>
                      <a:pt x="11114" y="34553"/>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0" name="Graphic 4">
                <a:extLst>
                  <a:ext uri="{FF2B5EF4-FFF2-40B4-BE49-F238E27FC236}">
                    <a16:creationId xmlns:a16="http://schemas.microsoft.com/office/drawing/2014/main" id="{08F44A60-48A0-DCE4-157E-E26832CAF419}"/>
                  </a:ext>
                </a:extLst>
              </p:cNvPr>
              <p:cNvSpPr/>
              <p:nvPr/>
            </p:nvSpPr>
            <p:spPr>
              <a:xfrm>
                <a:off x="6279391" y="2599720"/>
                <a:ext cx="6389" cy="6383"/>
              </a:xfrm>
              <a:custGeom>
                <a:avLst/>
                <a:gdLst>
                  <a:gd name="connsiteX0" fmla="*/ 0 w 6389"/>
                  <a:gd name="connsiteY0" fmla="*/ 0 h 6383"/>
                  <a:gd name="connsiteX1" fmla="*/ 0 w 6389"/>
                  <a:gd name="connsiteY1" fmla="*/ 0 h 6383"/>
                  <a:gd name="connsiteX2" fmla="*/ 0 w 6389"/>
                  <a:gd name="connsiteY2" fmla="*/ 0 h 6383"/>
                </a:gdLst>
                <a:ahLst/>
                <a:cxnLst>
                  <a:cxn ang="0">
                    <a:pos x="connsiteX0" y="connsiteY0"/>
                  </a:cxn>
                  <a:cxn ang="0">
                    <a:pos x="connsiteX1" y="connsiteY1"/>
                  </a:cxn>
                  <a:cxn ang="0">
                    <a:pos x="connsiteX2" y="connsiteY2"/>
                  </a:cxn>
                </a:cxnLst>
                <a:rect l="l" t="t" r="r" b="b"/>
                <a:pathLst>
                  <a:path w="6389" h="6383">
                    <a:moveTo>
                      <a:pt x="0" y="0"/>
                    </a:moveTo>
                    <a:lnTo>
                      <a:pt x="0" y="0"/>
                    </a:lnTo>
                    <a:lnTo>
                      <a:pt x="0" y="0"/>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1" name="Graphic 4">
                <a:extLst>
                  <a:ext uri="{FF2B5EF4-FFF2-40B4-BE49-F238E27FC236}">
                    <a16:creationId xmlns:a16="http://schemas.microsoft.com/office/drawing/2014/main" id="{5A9F4E69-0617-2916-972C-BD84FED626C8}"/>
                  </a:ext>
                </a:extLst>
              </p:cNvPr>
              <p:cNvSpPr/>
              <p:nvPr/>
            </p:nvSpPr>
            <p:spPr>
              <a:xfrm>
                <a:off x="6250746" y="2600814"/>
                <a:ext cx="58434" cy="48452"/>
              </a:xfrm>
              <a:custGeom>
                <a:avLst/>
                <a:gdLst>
                  <a:gd name="connsiteX0" fmla="*/ 15865 w 58434"/>
                  <a:gd name="connsiteY0" fmla="*/ 47424 h 48452"/>
                  <a:gd name="connsiteX1" fmla="*/ 54205 w 58434"/>
                  <a:gd name="connsiteY1" fmla="*/ 14866 h 48452"/>
                  <a:gd name="connsiteX2" fmla="*/ 54844 w 58434"/>
                  <a:gd name="connsiteY2" fmla="*/ 14228 h 48452"/>
                  <a:gd name="connsiteX3" fmla="*/ 55483 w 58434"/>
                  <a:gd name="connsiteY3" fmla="*/ 13589 h 48452"/>
                  <a:gd name="connsiteX4" fmla="*/ 56761 w 58434"/>
                  <a:gd name="connsiteY4" fmla="*/ 2736 h 48452"/>
                  <a:gd name="connsiteX5" fmla="*/ 45898 w 58434"/>
                  <a:gd name="connsiteY5" fmla="*/ 2098 h 48452"/>
                  <a:gd name="connsiteX6" fmla="*/ 37591 w 58434"/>
                  <a:gd name="connsiteY6" fmla="*/ 7844 h 48452"/>
                  <a:gd name="connsiteX7" fmla="*/ 36952 w 58434"/>
                  <a:gd name="connsiteY7" fmla="*/ 8482 h 48452"/>
                  <a:gd name="connsiteX8" fmla="*/ 3724 w 58434"/>
                  <a:gd name="connsiteY8" fmla="*/ 35933 h 48452"/>
                  <a:gd name="connsiteX9" fmla="*/ 529 w 58434"/>
                  <a:gd name="connsiteY9" fmla="*/ 37848 h 48452"/>
                  <a:gd name="connsiteX10" fmla="*/ 529 w 58434"/>
                  <a:gd name="connsiteY10" fmla="*/ 37848 h 48452"/>
                  <a:gd name="connsiteX11" fmla="*/ 1807 w 58434"/>
                  <a:gd name="connsiteY11" fmla="*/ 43594 h 48452"/>
                  <a:gd name="connsiteX12" fmla="*/ 15865 w 58434"/>
                  <a:gd name="connsiteY12" fmla="*/ 47424 h 4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34" h="48452">
                    <a:moveTo>
                      <a:pt x="15865" y="47424"/>
                    </a:moveTo>
                    <a:lnTo>
                      <a:pt x="54205" y="14866"/>
                    </a:lnTo>
                    <a:cubicBezTo>
                      <a:pt x="54205" y="14866"/>
                      <a:pt x="54844" y="14866"/>
                      <a:pt x="54844" y="14228"/>
                    </a:cubicBezTo>
                    <a:cubicBezTo>
                      <a:pt x="54844" y="13589"/>
                      <a:pt x="55483" y="13589"/>
                      <a:pt x="55483" y="13589"/>
                    </a:cubicBezTo>
                    <a:cubicBezTo>
                      <a:pt x="58039" y="11036"/>
                      <a:pt x="59956" y="6567"/>
                      <a:pt x="56761" y="2736"/>
                    </a:cubicBezTo>
                    <a:cubicBezTo>
                      <a:pt x="52927" y="-1732"/>
                      <a:pt x="48454" y="183"/>
                      <a:pt x="45898" y="2098"/>
                    </a:cubicBezTo>
                    <a:lnTo>
                      <a:pt x="37591" y="7844"/>
                    </a:lnTo>
                    <a:cubicBezTo>
                      <a:pt x="37591" y="7844"/>
                      <a:pt x="37591" y="7844"/>
                      <a:pt x="36952" y="8482"/>
                    </a:cubicBezTo>
                    <a:lnTo>
                      <a:pt x="3724" y="35933"/>
                    </a:lnTo>
                    <a:cubicBezTo>
                      <a:pt x="3086" y="36572"/>
                      <a:pt x="2446" y="36572"/>
                      <a:pt x="529" y="37848"/>
                    </a:cubicBezTo>
                    <a:cubicBezTo>
                      <a:pt x="529" y="37848"/>
                      <a:pt x="529" y="37848"/>
                      <a:pt x="529" y="37848"/>
                    </a:cubicBezTo>
                    <a:cubicBezTo>
                      <a:pt x="-749" y="39763"/>
                      <a:pt x="529" y="42317"/>
                      <a:pt x="1807" y="43594"/>
                    </a:cubicBezTo>
                    <a:cubicBezTo>
                      <a:pt x="5641" y="47424"/>
                      <a:pt x="11392" y="49978"/>
                      <a:pt x="15865" y="47424"/>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2" name="Graphic 4">
                <a:extLst>
                  <a:ext uri="{FF2B5EF4-FFF2-40B4-BE49-F238E27FC236}">
                    <a16:creationId xmlns:a16="http://schemas.microsoft.com/office/drawing/2014/main" id="{E2A29920-EE7C-EF20-0CB7-C5F5E9AA91B7}"/>
                  </a:ext>
                </a:extLst>
              </p:cNvPr>
              <p:cNvSpPr/>
              <p:nvPr/>
            </p:nvSpPr>
            <p:spPr>
              <a:xfrm>
                <a:off x="6303034" y="2645684"/>
                <a:ext cx="27870" cy="22513"/>
              </a:xfrm>
              <a:custGeom>
                <a:avLst/>
                <a:gdLst>
                  <a:gd name="connsiteX0" fmla="*/ 27477 w 27870"/>
                  <a:gd name="connsiteY0" fmla="*/ 3830 h 22513"/>
                  <a:gd name="connsiteX1" fmla="*/ 21726 w 27870"/>
                  <a:gd name="connsiteY1" fmla="*/ 0 h 22513"/>
                  <a:gd name="connsiteX2" fmla="*/ 15336 w 27870"/>
                  <a:gd name="connsiteY2" fmla="*/ 7022 h 22513"/>
                  <a:gd name="connsiteX3" fmla="*/ 9585 w 27870"/>
                  <a:gd name="connsiteY3" fmla="*/ 12768 h 22513"/>
                  <a:gd name="connsiteX4" fmla="*/ 6390 w 27870"/>
                  <a:gd name="connsiteY4" fmla="*/ 15322 h 22513"/>
                  <a:gd name="connsiteX5" fmla="*/ 5112 w 27870"/>
                  <a:gd name="connsiteY5" fmla="*/ 16598 h 22513"/>
                  <a:gd name="connsiteX6" fmla="*/ 0 w 27870"/>
                  <a:gd name="connsiteY6" fmla="*/ 20429 h 22513"/>
                  <a:gd name="connsiteX7" fmla="*/ 8307 w 27870"/>
                  <a:gd name="connsiteY7" fmla="*/ 22344 h 22513"/>
                  <a:gd name="connsiteX8" fmla="*/ 22365 w 27870"/>
                  <a:gd name="connsiteY8" fmla="*/ 10853 h 22513"/>
                  <a:gd name="connsiteX9" fmla="*/ 23004 w 27870"/>
                  <a:gd name="connsiteY9" fmla="*/ 10214 h 22513"/>
                  <a:gd name="connsiteX10" fmla="*/ 27477 w 27870"/>
                  <a:gd name="connsiteY10" fmla="*/ 3830 h 22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870" h="22513">
                    <a:moveTo>
                      <a:pt x="27477" y="3830"/>
                    </a:moveTo>
                    <a:cubicBezTo>
                      <a:pt x="24282" y="638"/>
                      <a:pt x="23004" y="0"/>
                      <a:pt x="21726" y="0"/>
                    </a:cubicBezTo>
                    <a:cubicBezTo>
                      <a:pt x="19809" y="3192"/>
                      <a:pt x="17253" y="5107"/>
                      <a:pt x="15336" y="7022"/>
                    </a:cubicBezTo>
                    <a:lnTo>
                      <a:pt x="9585" y="12768"/>
                    </a:lnTo>
                    <a:cubicBezTo>
                      <a:pt x="8307" y="14045"/>
                      <a:pt x="6390" y="15322"/>
                      <a:pt x="6390" y="15322"/>
                    </a:cubicBezTo>
                    <a:lnTo>
                      <a:pt x="5112" y="16598"/>
                    </a:lnTo>
                    <a:cubicBezTo>
                      <a:pt x="3195" y="17875"/>
                      <a:pt x="1917" y="19152"/>
                      <a:pt x="0" y="20429"/>
                    </a:cubicBezTo>
                    <a:cubicBezTo>
                      <a:pt x="1278" y="21706"/>
                      <a:pt x="4473" y="22982"/>
                      <a:pt x="8307" y="22344"/>
                    </a:cubicBezTo>
                    <a:cubicBezTo>
                      <a:pt x="9585" y="22344"/>
                      <a:pt x="12780" y="20429"/>
                      <a:pt x="22365" y="10853"/>
                    </a:cubicBezTo>
                    <a:lnTo>
                      <a:pt x="23004" y="10214"/>
                    </a:lnTo>
                    <a:cubicBezTo>
                      <a:pt x="26837" y="7661"/>
                      <a:pt x="28755" y="5107"/>
                      <a:pt x="27477" y="3830"/>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3" name="Graphic 4">
                <a:extLst>
                  <a:ext uri="{FF2B5EF4-FFF2-40B4-BE49-F238E27FC236}">
                    <a16:creationId xmlns:a16="http://schemas.microsoft.com/office/drawing/2014/main" id="{99B6BDBC-7043-D876-1517-667FAA69E958}"/>
                  </a:ext>
                </a:extLst>
              </p:cNvPr>
              <p:cNvSpPr/>
              <p:nvPr/>
            </p:nvSpPr>
            <p:spPr>
              <a:xfrm>
                <a:off x="6147119"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08951 w 361670"/>
                  <a:gd name="connsiteY5" fmla="*/ 93845 h 361333"/>
                  <a:gd name="connsiteX6" fmla="*/ 218536 w 361670"/>
                  <a:gd name="connsiteY6" fmla="*/ 72139 h 361333"/>
                  <a:gd name="connsiteX7" fmla="*/ 226843 w 361670"/>
                  <a:gd name="connsiteY7" fmla="*/ 68947 h 361333"/>
                  <a:gd name="connsiteX8" fmla="*/ 230038 w 361670"/>
                  <a:gd name="connsiteY8" fmla="*/ 77246 h 361333"/>
                  <a:gd name="connsiteX9" fmla="*/ 220453 w 361670"/>
                  <a:gd name="connsiteY9" fmla="*/ 98952 h 361333"/>
                  <a:gd name="connsiteX10" fmla="*/ 214702 w 361670"/>
                  <a:gd name="connsiteY10" fmla="*/ 102782 h 361333"/>
                  <a:gd name="connsiteX11" fmla="*/ 212146 w 361670"/>
                  <a:gd name="connsiteY11" fmla="*/ 102144 h 361333"/>
                  <a:gd name="connsiteX12" fmla="*/ 208951 w 361670"/>
                  <a:gd name="connsiteY12" fmla="*/ 93845 h 361333"/>
                  <a:gd name="connsiteX13" fmla="*/ 170611 w 361670"/>
                  <a:gd name="connsiteY13" fmla="*/ 62563 h 361333"/>
                  <a:gd name="connsiteX14" fmla="*/ 177001 w 361670"/>
                  <a:gd name="connsiteY14" fmla="*/ 56179 h 361333"/>
                  <a:gd name="connsiteX15" fmla="*/ 183391 w 361670"/>
                  <a:gd name="connsiteY15" fmla="*/ 62563 h 361333"/>
                  <a:gd name="connsiteX16" fmla="*/ 183391 w 361670"/>
                  <a:gd name="connsiteY16" fmla="*/ 87461 h 361333"/>
                  <a:gd name="connsiteX17" fmla="*/ 177001 w 361670"/>
                  <a:gd name="connsiteY17" fmla="*/ 93845 h 361333"/>
                  <a:gd name="connsiteX18" fmla="*/ 170611 w 361670"/>
                  <a:gd name="connsiteY18" fmla="*/ 87461 h 361333"/>
                  <a:gd name="connsiteX19" fmla="*/ 170611 w 361670"/>
                  <a:gd name="connsiteY19" fmla="*/ 62563 h 361333"/>
                  <a:gd name="connsiteX20" fmla="*/ 125243 w 361670"/>
                  <a:gd name="connsiteY20" fmla="*/ 68947 h 361333"/>
                  <a:gd name="connsiteX21" fmla="*/ 133550 w 361670"/>
                  <a:gd name="connsiteY21" fmla="*/ 72139 h 361333"/>
                  <a:gd name="connsiteX22" fmla="*/ 143135 w 361670"/>
                  <a:gd name="connsiteY22" fmla="*/ 93845 h 361333"/>
                  <a:gd name="connsiteX23" fmla="*/ 139940 w 361670"/>
                  <a:gd name="connsiteY23" fmla="*/ 102144 h 361333"/>
                  <a:gd name="connsiteX24" fmla="*/ 137384 w 361670"/>
                  <a:gd name="connsiteY24" fmla="*/ 102782 h 361333"/>
                  <a:gd name="connsiteX25" fmla="*/ 131633 w 361670"/>
                  <a:gd name="connsiteY25" fmla="*/ 98952 h 361333"/>
                  <a:gd name="connsiteX26" fmla="*/ 122048 w 361670"/>
                  <a:gd name="connsiteY26" fmla="*/ 77246 h 361333"/>
                  <a:gd name="connsiteX27" fmla="*/ 125243 w 361670"/>
                  <a:gd name="connsiteY27" fmla="*/ 68947 h 361333"/>
                  <a:gd name="connsiteX28" fmla="*/ 313107 w 361670"/>
                  <a:gd name="connsiteY28" fmla="*/ 218332 h 361333"/>
                  <a:gd name="connsiteX29" fmla="*/ 286908 w 361670"/>
                  <a:gd name="connsiteY29" fmla="*/ 229185 h 361333"/>
                  <a:gd name="connsiteX30" fmla="*/ 288825 w 361670"/>
                  <a:gd name="connsiteY30" fmla="*/ 235569 h 361333"/>
                  <a:gd name="connsiteX31" fmla="*/ 282435 w 361670"/>
                  <a:gd name="connsiteY31" fmla="*/ 248975 h 361333"/>
                  <a:gd name="connsiteX32" fmla="*/ 272211 w 361670"/>
                  <a:gd name="connsiteY32" fmla="*/ 254721 h 361333"/>
                  <a:gd name="connsiteX33" fmla="*/ 272211 w 361670"/>
                  <a:gd name="connsiteY33" fmla="*/ 255998 h 361333"/>
                  <a:gd name="connsiteX34" fmla="*/ 265182 w 361670"/>
                  <a:gd name="connsiteY34" fmla="*/ 270681 h 361333"/>
                  <a:gd name="connsiteX35" fmla="*/ 251124 w 361670"/>
                  <a:gd name="connsiteY35" fmla="*/ 276427 h 361333"/>
                  <a:gd name="connsiteX36" fmla="*/ 250486 w 361670"/>
                  <a:gd name="connsiteY36" fmla="*/ 276427 h 361333"/>
                  <a:gd name="connsiteX37" fmla="*/ 248569 w 361670"/>
                  <a:gd name="connsiteY37" fmla="*/ 275788 h 361333"/>
                  <a:gd name="connsiteX38" fmla="*/ 242818 w 361670"/>
                  <a:gd name="connsiteY38" fmla="*/ 284726 h 361333"/>
                  <a:gd name="connsiteX39" fmla="*/ 229399 w 361670"/>
                  <a:gd name="connsiteY39" fmla="*/ 290471 h 361333"/>
                  <a:gd name="connsiteX40" fmla="*/ 228760 w 361670"/>
                  <a:gd name="connsiteY40" fmla="*/ 290471 h 361333"/>
                  <a:gd name="connsiteX41" fmla="*/ 222370 w 361670"/>
                  <a:gd name="connsiteY41" fmla="*/ 288556 h 361333"/>
                  <a:gd name="connsiteX42" fmla="*/ 205117 w 361670"/>
                  <a:gd name="connsiteY42" fmla="*/ 298771 h 361333"/>
                  <a:gd name="connsiteX43" fmla="*/ 203839 w 361670"/>
                  <a:gd name="connsiteY43" fmla="*/ 298771 h 361333"/>
                  <a:gd name="connsiteX44" fmla="*/ 191059 w 361670"/>
                  <a:gd name="connsiteY44" fmla="*/ 293663 h 361333"/>
                  <a:gd name="connsiteX45" fmla="*/ 190420 w 361670"/>
                  <a:gd name="connsiteY45" fmla="*/ 293025 h 361333"/>
                  <a:gd name="connsiteX46" fmla="*/ 188503 w 361670"/>
                  <a:gd name="connsiteY46" fmla="*/ 294940 h 361333"/>
                  <a:gd name="connsiteX47" fmla="*/ 187864 w 361670"/>
                  <a:gd name="connsiteY47" fmla="*/ 295579 h 361333"/>
                  <a:gd name="connsiteX48" fmla="*/ 166138 w 361670"/>
                  <a:gd name="connsiteY48" fmla="*/ 310900 h 361333"/>
                  <a:gd name="connsiteX49" fmla="*/ 164221 w 361670"/>
                  <a:gd name="connsiteY49" fmla="*/ 310900 h 361333"/>
                  <a:gd name="connsiteX50" fmla="*/ 146969 w 361670"/>
                  <a:gd name="connsiteY50" fmla="*/ 303878 h 361333"/>
                  <a:gd name="connsiteX51" fmla="*/ 145052 w 361670"/>
                  <a:gd name="connsiteY51" fmla="*/ 301324 h 361333"/>
                  <a:gd name="connsiteX52" fmla="*/ 138022 w 361670"/>
                  <a:gd name="connsiteY52" fmla="*/ 301962 h 361333"/>
                  <a:gd name="connsiteX53" fmla="*/ 117575 w 361670"/>
                  <a:gd name="connsiteY53" fmla="*/ 291748 h 361333"/>
                  <a:gd name="connsiteX54" fmla="*/ 117575 w 361670"/>
                  <a:gd name="connsiteY54" fmla="*/ 291110 h 361333"/>
                  <a:gd name="connsiteX55" fmla="*/ 116297 w 361670"/>
                  <a:gd name="connsiteY55" fmla="*/ 291110 h 361333"/>
                  <a:gd name="connsiteX56" fmla="*/ 97127 w 361670"/>
                  <a:gd name="connsiteY56" fmla="*/ 282172 h 361333"/>
                  <a:gd name="connsiteX57" fmla="*/ 92015 w 361670"/>
                  <a:gd name="connsiteY57" fmla="*/ 270681 h 361333"/>
                  <a:gd name="connsiteX58" fmla="*/ 91376 w 361670"/>
                  <a:gd name="connsiteY58" fmla="*/ 270681 h 361333"/>
                  <a:gd name="connsiteX59" fmla="*/ 76040 w 361670"/>
                  <a:gd name="connsiteY59" fmla="*/ 258551 h 361333"/>
                  <a:gd name="connsiteX60" fmla="*/ 77957 w 361670"/>
                  <a:gd name="connsiteY60" fmla="*/ 236846 h 361333"/>
                  <a:gd name="connsiteX61" fmla="*/ 75401 w 361670"/>
                  <a:gd name="connsiteY61" fmla="*/ 233654 h 361333"/>
                  <a:gd name="connsiteX62" fmla="*/ 75401 w 361670"/>
                  <a:gd name="connsiteY62" fmla="*/ 233654 h 361333"/>
                  <a:gd name="connsiteX63" fmla="*/ 50481 w 361670"/>
                  <a:gd name="connsiteY63" fmla="*/ 219609 h 361333"/>
                  <a:gd name="connsiteX64" fmla="*/ 46646 w 361670"/>
                  <a:gd name="connsiteY64" fmla="*/ 211310 h 361333"/>
                  <a:gd name="connsiteX65" fmla="*/ 54953 w 361670"/>
                  <a:gd name="connsiteY65" fmla="*/ 207479 h 361333"/>
                  <a:gd name="connsiteX66" fmla="*/ 84986 w 361670"/>
                  <a:gd name="connsiteY66" fmla="*/ 225355 h 361333"/>
                  <a:gd name="connsiteX67" fmla="*/ 88820 w 361670"/>
                  <a:gd name="connsiteY67" fmla="*/ 229185 h 361333"/>
                  <a:gd name="connsiteX68" fmla="*/ 111824 w 361670"/>
                  <a:gd name="connsiteY68" fmla="*/ 214502 h 361333"/>
                  <a:gd name="connsiteX69" fmla="*/ 140579 w 361670"/>
                  <a:gd name="connsiteY69" fmla="*/ 219609 h 361333"/>
                  <a:gd name="connsiteX70" fmla="*/ 142496 w 361670"/>
                  <a:gd name="connsiteY70" fmla="*/ 222163 h 361333"/>
                  <a:gd name="connsiteX71" fmla="*/ 143774 w 361670"/>
                  <a:gd name="connsiteY71" fmla="*/ 221524 h 361333"/>
                  <a:gd name="connsiteX72" fmla="*/ 171250 w 361670"/>
                  <a:gd name="connsiteY72" fmla="*/ 224716 h 361333"/>
                  <a:gd name="connsiteX73" fmla="*/ 173167 w 361670"/>
                  <a:gd name="connsiteY73" fmla="*/ 247060 h 361333"/>
                  <a:gd name="connsiteX74" fmla="*/ 180196 w 361670"/>
                  <a:gd name="connsiteY74" fmla="*/ 252806 h 361333"/>
                  <a:gd name="connsiteX75" fmla="*/ 180835 w 361670"/>
                  <a:gd name="connsiteY75" fmla="*/ 253444 h 361333"/>
                  <a:gd name="connsiteX76" fmla="*/ 184030 w 361670"/>
                  <a:gd name="connsiteY76" fmla="*/ 263020 h 361333"/>
                  <a:gd name="connsiteX77" fmla="*/ 193615 w 361670"/>
                  <a:gd name="connsiteY77" fmla="*/ 270043 h 361333"/>
                  <a:gd name="connsiteX78" fmla="*/ 194893 w 361670"/>
                  <a:gd name="connsiteY78" fmla="*/ 271319 h 361333"/>
                  <a:gd name="connsiteX79" fmla="*/ 197449 w 361670"/>
                  <a:gd name="connsiteY79" fmla="*/ 282172 h 361333"/>
                  <a:gd name="connsiteX80" fmla="*/ 198727 w 361670"/>
                  <a:gd name="connsiteY80" fmla="*/ 283449 h 361333"/>
                  <a:gd name="connsiteX81" fmla="*/ 205117 w 361670"/>
                  <a:gd name="connsiteY81" fmla="*/ 286003 h 361333"/>
                  <a:gd name="connsiteX82" fmla="*/ 212146 w 361670"/>
                  <a:gd name="connsiteY82" fmla="*/ 280257 h 361333"/>
                  <a:gd name="connsiteX83" fmla="*/ 208312 w 361670"/>
                  <a:gd name="connsiteY83" fmla="*/ 277065 h 361333"/>
                  <a:gd name="connsiteX84" fmla="*/ 194893 w 361670"/>
                  <a:gd name="connsiteY84" fmla="*/ 265574 h 361333"/>
                  <a:gd name="connsiteX85" fmla="*/ 193615 w 361670"/>
                  <a:gd name="connsiteY85" fmla="*/ 256636 h 361333"/>
                  <a:gd name="connsiteX86" fmla="*/ 202561 w 361670"/>
                  <a:gd name="connsiteY86" fmla="*/ 255359 h 361333"/>
                  <a:gd name="connsiteX87" fmla="*/ 217258 w 361670"/>
                  <a:gd name="connsiteY87" fmla="*/ 268127 h 361333"/>
                  <a:gd name="connsiteX88" fmla="*/ 230038 w 361670"/>
                  <a:gd name="connsiteY88" fmla="*/ 278342 h 361333"/>
                  <a:gd name="connsiteX89" fmla="*/ 230038 w 361670"/>
                  <a:gd name="connsiteY89" fmla="*/ 278342 h 361333"/>
                  <a:gd name="connsiteX90" fmla="*/ 235150 w 361670"/>
                  <a:gd name="connsiteY90" fmla="*/ 275788 h 361333"/>
                  <a:gd name="connsiteX91" fmla="*/ 237706 w 361670"/>
                  <a:gd name="connsiteY91" fmla="*/ 270043 h 361333"/>
                  <a:gd name="connsiteX92" fmla="*/ 236428 w 361670"/>
                  <a:gd name="connsiteY92" fmla="*/ 268766 h 361333"/>
                  <a:gd name="connsiteX93" fmla="*/ 234511 w 361670"/>
                  <a:gd name="connsiteY93" fmla="*/ 266851 h 361333"/>
                  <a:gd name="connsiteX94" fmla="*/ 227482 w 361670"/>
                  <a:gd name="connsiteY94" fmla="*/ 259828 h 361333"/>
                  <a:gd name="connsiteX95" fmla="*/ 227482 w 361670"/>
                  <a:gd name="connsiteY95" fmla="*/ 259828 h 361333"/>
                  <a:gd name="connsiteX96" fmla="*/ 227482 w 361670"/>
                  <a:gd name="connsiteY96" fmla="*/ 259828 h 361333"/>
                  <a:gd name="connsiteX97" fmla="*/ 225565 w 361670"/>
                  <a:gd name="connsiteY97" fmla="*/ 257913 h 361333"/>
                  <a:gd name="connsiteX98" fmla="*/ 212785 w 361670"/>
                  <a:gd name="connsiteY98" fmla="*/ 246422 h 361333"/>
                  <a:gd name="connsiteX99" fmla="*/ 212146 w 361670"/>
                  <a:gd name="connsiteY99" fmla="*/ 237484 h 361333"/>
                  <a:gd name="connsiteX100" fmla="*/ 221092 w 361670"/>
                  <a:gd name="connsiteY100" fmla="*/ 236846 h 361333"/>
                  <a:gd name="connsiteX101" fmla="*/ 234511 w 361670"/>
                  <a:gd name="connsiteY101" fmla="*/ 249614 h 361333"/>
                  <a:gd name="connsiteX102" fmla="*/ 236428 w 361670"/>
                  <a:gd name="connsiteY102" fmla="*/ 250891 h 361333"/>
                  <a:gd name="connsiteX103" fmla="*/ 246651 w 361670"/>
                  <a:gd name="connsiteY103" fmla="*/ 259190 h 361333"/>
                  <a:gd name="connsiteX104" fmla="*/ 253041 w 361670"/>
                  <a:gd name="connsiteY104" fmla="*/ 264297 h 361333"/>
                  <a:gd name="connsiteX105" fmla="*/ 258792 w 361670"/>
                  <a:gd name="connsiteY105" fmla="*/ 261743 h 361333"/>
                  <a:gd name="connsiteX106" fmla="*/ 261349 w 361670"/>
                  <a:gd name="connsiteY106" fmla="*/ 255998 h 361333"/>
                  <a:gd name="connsiteX107" fmla="*/ 259431 w 361670"/>
                  <a:gd name="connsiteY107" fmla="*/ 251529 h 361333"/>
                  <a:gd name="connsiteX108" fmla="*/ 258792 w 361670"/>
                  <a:gd name="connsiteY108" fmla="*/ 250891 h 361333"/>
                  <a:gd name="connsiteX109" fmla="*/ 247929 w 361670"/>
                  <a:gd name="connsiteY109" fmla="*/ 241315 h 361333"/>
                  <a:gd name="connsiteX110" fmla="*/ 233872 w 361670"/>
                  <a:gd name="connsiteY110" fmla="*/ 229185 h 361333"/>
                  <a:gd name="connsiteX111" fmla="*/ 232594 w 361670"/>
                  <a:gd name="connsiteY111" fmla="*/ 220247 h 361333"/>
                  <a:gd name="connsiteX112" fmla="*/ 241540 w 361670"/>
                  <a:gd name="connsiteY112" fmla="*/ 218971 h 361333"/>
                  <a:gd name="connsiteX113" fmla="*/ 256236 w 361670"/>
                  <a:gd name="connsiteY113" fmla="*/ 231739 h 361333"/>
                  <a:gd name="connsiteX114" fmla="*/ 269655 w 361670"/>
                  <a:gd name="connsiteY114" fmla="*/ 242591 h 361333"/>
                  <a:gd name="connsiteX115" fmla="*/ 274767 w 361670"/>
                  <a:gd name="connsiteY115" fmla="*/ 239399 h 361333"/>
                  <a:gd name="connsiteX116" fmla="*/ 276684 w 361670"/>
                  <a:gd name="connsiteY116" fmla="*/ 235569 h 361333"/>
                  <a:gd name="connsiteX117" fmla="*/ 274767 w 361670"/>
                  <a:gd name="connsiteY117" fmla="*/ 232377 h 361333"/>
                  <a:gd name="connsiteX118" fmla="*/ 272850 w 361670"/>
                  <a:gd name="connsiteY118" fmla="*/ 230462 h 361333"/>
                  <a:gd name="connsiteX119" fmla="*/ 260709 w 361670"/>
                  <a:gd name="connsiteY119" fmla="*/ 215779 h 361333"/>
                  <a:gd name="connsiteX120" fmla="*/ 251764 w 361670"/>
                  <a:gd name="connsiteY120" fmla="*/ 204926 h 361333"/>
                  <a:gd name="connsiteX121" fmla="*/ 239623 w 361670"/>
                  <a:gd name="connsiteY121" fmla="*/ 195988 h 361333"/>
                  <a:gd name="connsiteX122" fmla="*/ 207673 w 361670"/>
                  <a:gd name="connsiteY122" fmla="*/ 183220 h 361333"/>
                  <a:gd name="connsiteX123" fmla="*/ 161027 w 361670"/>
                  <a:gd name="connsiteY123" fmla="*/ 187689 h 361333"/>
                  <a:gd name="connsiteX124" fmla="*/ 133550 w 361670"/>
                  <a:gd name="connsiteY124" fmla="*/ 196627 h 361333"/>
                  <a:gd name="connsiteX125" fmla="*/ 111185 w 361670"/>
                  <a:gd name="connsiteY125" fmla="*/ 183859 h 361333"/>
                  <a:gd name="connsiteX126" fmla="*/ 112463 w 361670"/>
                  <a:gd name="connsiteY126" fmla="*/ 171091 h 361333"/>
                  <a:gd name="connsiteX127" fmla="*/ 118853 w 361670"/>
                  <a:gd name="connsiteY127" fmla="*/ 164707 h 361333"/>
                  <a:gd name="connsiteX128" fmla="*/ 141217 w 361670"/>
                  <a:gd name="connsiteY128" fmla="*/ 145555 h 361333"/>
                  <a:gd name="connsiteX129" fmla="*/ 143135 w 361670"/>
                  <a:gd name="connsiteY129" fmla="*/ 144278 h 361333"/>
                  <a:gd name="connsiteX130" fmla="*/ 156553 w 361670"/>
                  <a:gd name="connsiteY130" fmla="*/ 139171 h 361333"/>
                  <a:gd name="connsiteX131" fmla="*/ 155275 w 361670"/>
                  <a:gd name="connsiteY131" fmla="*/ 138533 h 361333"/>
                  <a:gd name="connsiteX132" fmla="*/ 150164 w 361670"/>
                  <a:gd name="connsiteY132" fmla="*/ 139171 h 361333"/>
                  <a:gd name="connsiteX133" fmla="*/ 116936 w 361670"/>
                  <a:gd name="connsiteY133" fmla="*/ 146193 h 361333"/>
                  <a:gd name="connsiteX134" fmla="*/ 113102 w 361670"/>
                  <a:gd name="connsiteY134" fmla="*/ 146832 h 361333"/>
                  <a:gd name="connsiteX135" fmla="*/ 104156 w 361670"/>
                  <a:gd name="connsiteY135" fmla="*/ 145555 h 361333"/>
                  <a:gd name="connsiteX136" fmla="*/ 84986 w 361670"/>
                  <a:gd name="connsiteY136" fmla="*/ 136617 h 361333"/>
                  <a:gd name="connsiteX137" fmla="*/ 81791 w 361670"/>
                  <a:gd name="connsiteY137" fmla="*/ 128318 h 361333"/>
                  <a:gd name="connsiteX138" fmla="*/ 90098 w 361670"/>
                  <a:gd name="connsiteY138" fmla="*/ 125126 h 361333"/>
                  <a:gd name="connsiteX139" fmla="*/ 109268 w 361670"/>
                  <a:gd name="connsiteY139" fmla="*/ 133425 h 361333"/>
                  <a:gd name="connsiteX140" fmla="*/ 114380 w 361670"/>
                  <a:gd name="connsiteY140" fmla="*/ 134064 h 361333"/>
                  <a:gd name="connsiteX141" fmla="*/ 147607 w 361670"/>
                  <a:gd name="connsiteY141" fmla="*/ 127041 h 361333"/>
                  <a:gd name="connsiteX142" fmla="*/ 157832 w 361670"/>
                  <a:gd name="connsiteY142" fmla="*/ 126403 h 361333"/>
                  <a:gd name="connsiteX143" fmla="*/ 159110 w 361670"/>
                  <a:gd name="connsiteY143" fmla="*/ 126403 h 361333"/>
                  <a:gd name="connsiteX144" fmla="*/ 176362 w 361670"/>
                  <a:gd name="connsiteY144" fmla="*/ 132149 h 361333"/>
                  <a:gd name="connsiteX145" fmla="*/ 177001 w 361670"/>
                  <a:gd name="connsiteY145" fmla="*/ 132149 h 361333"/>
                  <a:gd name="connsiteX146" fmla="*/ 205756 w 361670"/>
                  <a:gd name="connsiteY146" fmla="*/ 130233 h 361333"/>
                  <a:gd name="connsiteX147" fmla="*/ 217258 w 361670"/>
                  <a:gd name="connsiteY147" fmla="*/ 130872 h 361333"/>
                  <a:gd name="connsiteX148" fmla="*/ 256876 w 361670"/>
                  <a:gd name="connsiteY148" fmla="*/ 130872 h 361333"/>
                  <a:gd name="connsiteX149" fmla="*/ 256876 w 361670"/>
                  <a:gd name="connsiteY149" fmla="*/ 130872 h 361333"/>
                  <a:gd name="connsiteX150" fmla="*/ 260071 w 361670"/>
                  <a:gd name="connsiteY150" fmla="*/ 130233 h 361333"/>
                  <a:gd name="connsiteX151" fmla="*/ 281796 w 361670"/>
                  <a:gd name="connsiteY151" fmla="*/ 118742 h 361333"/>
                  <a:gd name="connsiteX152" fmla="*/ 290742 w 361670"/>
                  <a:gd name="connsiteY152" fmla="*/ 121296 h 361333"/>
                  <a:gd name="connsiteX153" fmla="*/ 288186 w 361670"/>
                  <a:gd name="connsiteY153" fmla="*/ 130233 h 361333"/>
                  <a:gd name="connsiteX154" fmla="*/ 267099 w 361670"/>
                  <a:gd name="connsiteY154" fmla="*/ 141724 h 361333"/>
                  <a:gd name="connsiteX155" fmla="*/ 257514 w 361670"/>
                  <a:gd name="connsiteY155" fmla="*/ 144278 h 361333"/>
                  <a:gd name="connsiteX156" fmla="*/ 257514 w 361670"/>
                  <a:gd name="connsiteY156" fmla="*/ 144278 h 361333"/>
                  <a:gd name="connsiteX157" fmla="*/ 217897 w 361670"/>
                  <a:gd name="connsiteY157" fmla="*/ 144278 h 361333"/>
                  <a:gd name="connsiteX158" fmla="*/ 205117 w 361670"/>
                  <a:gd name="connsiteY158" fmla="*/ 143640 h 361333"/>
                  <a:gd name="connsiteX159" fmla="*/ 182113 w 361670"/>
                  <a:gd name="connsiteY159" fmla="*/ 144278 h 361333"/>
                  <a:gd name="connsiteX160" fmla="*/ 150164 w 361670"/>
                  <a:gd name="connsiteY160" fmla="*/ 156408 h 361333"/>
                  <a:gd name="connsiteX161" fmla="*/ 124604 w 361670"/>
                  <a:gd name="connsiteY161" fmla="*/ 178752 h 361333"/>
                  <a:gd name="connsiteX162" fmla="*/ 156553 w 361670"/>
                  <a:gd name="connsiteY162" fmla="*/ 175560 h 361333"/>
                  <a:gd name="connsiteX163" fmla="*/ 159110 w 361670"/>
                  <a:gd name="connsiteY163" fmla="*/ 174921 h 361333"/>
                  <a:gd name="connsiteX164" fmla="*/ 208951 w 361670"/>
                  <a:gd name="connsiteY164" fmla="*/ 169814 h 361333"/>
                  <a:gd name="connsiteX165" fmla="*/ 208951 w 361670"/>
                  <a:gd name="connsiteY165" fmla="*/ 169814 h 361333"/>
                  <a:gd name="connsiteX166" fmla="*/ 210229 w 361670"/>
                  <a:gd name="connsiteY166" fmla="*/ 169814 h 361333"/>
                  <a:gd name="connsiteX167" fmla="*/ 211507 w 361670"/>
                  <a:gd name="connsiteY167" fmla="*/ 169814 h 361333"/>
                  <a:gd name="connsiteX168" fmla="*/ 211507 w 361670"/>
                  <a:gd name="connsiteY168" fmla="*/ 169814 h 361333"/>
                  <a:gd name="connsiteX169" fmla="*/ 245374 w 361670"/>
                  <a:gd name="connsiteY169" fmla="*/ 183220 h 361333"/>
                  <a:gd name="connsiteX170" fmla="*/ 246013 w 361670"/>
                  <a:gd name="connsiteY170" fmla="*/ 183220 h 361333"/>
                  <a:gd name="connsiteX171" fmla="*/ 246013 w 361670"/>
                  <a:gd name="connsiteY171" fmla="*/ 183220 h 361333"/>
                  <a:gd name="connsiteX172" fmla="*/ 280518 w 361670"/>
                  <a:gd name="connsiteY172" fmla="*/ 175560 h 361333"/>
                  <a:gd name="connsiteX173" fmla="*/ 289464 w 361670"/>
                  <a:gd name="connsiteY173" fmla="*/ 177475 h 361333"/>
                  <a:gd name="connsiteX174" fmla="*/ 287547 w 361670"/>
                  <a:gd name="connsiteY174" fmla="*/ 186412 h 361333"/>
                  <a:gd name="connsiteX175" fmla="*/ 261987 w 361670"/>
                  <a:gd name="connsiteY175" fmla="*/ 195350 h 361333"/>
                  <a:gd name="connsiteX176" fmla="*/ 262626 w 361670"/>
                  <a:gd name="connsiteY176" fmla="*/ 195988 h 361333"/>
                  <a:gd name="connsiteX177" fmla="*/ 270934 w 361670"/>
                  <a:gd name="connsiteY177" fmla="*/ 206203 h 361333"/>
                  <a:gd name="connsiteX178" fmla="*/ 280518 w 361670"/>
                  <a:gd name="connsiteY178" fmla="*/ 217694 h 361333"/>
                  <a:gd name="connsiteX179" fmla="*/ 309912 w 361670"/>
                  <a:gd name="connsiteY179" fmla="*/ 205564 h 361333"/>
                  <a:gd name="connsiteX180" fmla="*/ 318219 w 361670"/>
                  <a:gd name="connsiteY180" fmla="*/ 209395 h 361333"/>
                  <a:gd name="connsiteX181" fmla="*/ 313107 w 361670"/>
                  <a:gd name="connsiteY181" fmla="*/ 21833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0518" y="0"/>
                      <a:pt x="180835" y="0"/>
                    </a:cubicBezTo>
                    <a:close/>
                    <a:moveTo>
                      <a:pt x="208951" y="93845"/>
                    </a:moveTo>
                    <a:lnTo>
                      <a:pt x="218536" y="72139"/>
                    </a:lnTo>
                    <a:cubicBezTo>
                      <a:pt x="219814" y="68947"/>
                      <a:pt x="223648" y="67670"/>
                      <a:pt x="226843" y="68947"/>
                    </a:cubicBezTo>
                    <a:cubicBezTo>
                      <a:pt x="230038" y="70224"/>
                      <a:pt x="231316" y="74054"/>
                      <a:pt x="230038" y="77246"/>
                    </a:cubicBezTo>
                    <a:lnTo>
                      <a:pt x="220453" y="98952"/>
                    </a:lnTo>
                    <a:cubicBezTo>
                      <a:pt x="219175" y="101505"/>
                      <a:pt x="217258" y="102782"/>
                      <a:pt x="214702" y="102782"/>
                    </a:cubicBezTo>
                    <a:cubicBezTo>
                      <a:pt x="214063" y="102782"/>
                      <a:pt x="212785" y="102782"/>
                      <a:pt x="212146" y="102144"/>
                    </a:cubicBezTo>
                    <a:cubicBezTo>
                      <a:pt x="208951" y="100867"/>
                      <a:pt x="207673" y="97037"/>
                      <a:pt x="208951" y="93845"/>
                    </a:cubicBezTo>
                    <a:close/>
                    <a:moveTo>
                      <a:pt x="170611" y="62563"/>
                    </a:moveTo>
                    <a:cubicBezTo>
                      <a:pt x="170611" y="58733"/>
                      <a:pt x="173167" y="56179"/>
                      <a:pt x="177001" y="56179"/>
                    </a:cubicBezTo>
                    <a:cubicBezTo>
                      <a:pt x="180835" y="56179"/>
                      <a:pt x="183391" y="58733"/>
                      <a:pt x="183391" y="62563"/>
                    </a:cubicBezTo>
                    <a:lnTo>
                      <a:pt x="183391" y="87461"/>
                    </a:lnTo>
                    <a:cubicBezTo>
                      <a:pt x="183391" y="91291"/>
                      <a:pt x="180835" y="93845"/>
                      <a:pt x="177001" y="93845"/>
                    </a:cubicBezTo>
                    <a:cubicBezTo>
                      <a:pt x="173167" y="93845"/>
                      <a:pt x="170611" y="91291"/>
                      <a:pt x="170611" y="87461"/>
                    </a:cubicBezTo>
                    <a:lnTo>
                      <a:pt x="170611" y="62563"/>
                    </a:lnTo>
                    <a:close/>
                    <a:moveTo>
                      <a:pt x="125243" y="68947"/>
                    </a:moveTo>
                    <a:cubicBezTo>
                      <a:pt x="128438" y="67670"/>
                      <a:pt x="132272" y="68947"/>
                      <a:pt x="133550" y="72139"/>
                    </a:cubicBezTo>
                    <a:lnTo>
                      <a:pt x="143135" y="93845"/>
                    </a:lnTo>
                    <a:cubicBezTo>
                      <a:pt x="144412" y="97037"/>
                      <a:pt x="143135" y="100867"/>
                      <a:pt x="139940" y="102144"/>
                    </a:cubicBezTo>
                    <a:cubicBezTo>
                      <a:pt x="139301" y="102782"/>
                      <a:pt x="138022" y="102782"/>
                      <a:pt x="137384" y="102782"/>
                    </a:cubicBezTo>
                    <a:cubicBezTo>
                      <a:pt x="134828" y="102782"/>
                      <a:pt x="132272" y="101505"/>
                      <a:pt x="131633" y="98952"/>
                    </a:cubicBezTo>
                    <a:lnTo>
                      <a:pt x="122048" y="77246"/>
                    </a:lnTo>
                    <a:cubicBezTo>
                      <a:pt x="120770" y="74054"/>
                      <a:pt x="122048" y="70224"/>
                      <a:pt x="125243" y="68947"/>
                    </a:cubicBezTo>
                    <a:close/>
                    <a:moveTo>
                      <a:pt x="313107" y="218332"/>
                    </a:moveTo>
                    <a:lnTo>
                      <a:pt x="286908" y="229185"/>
                    </a:lnTo>
                    <a:cubicBezTo>
                      <a:pt x="287547" y="231100"/>
                      <a:pt x="288825" y="233015"/>
                      <a:pt x="288825" y="235569"/>
                    </a:cubicBezTo>
                    <a:cubicBezTo>
                      <a:pt x="288825" y="240676"/>
                      <a:pt x="286908" y="245145"/>
                      <a:pt x="282435" y="248975"/>
                    </a:cubicBezTo>
                    <a:cubicBezTo>
                      <a:pt x="279240" y="251529"/>
                      <a:pt x="276045" y="253444"/>
                      <a:pt x="272211" y="254721"/>
                    </a:cubicBezTo>
                    <a:cubicBezTo>
                      <a:pt x="272211" y="255359"/>
                      <a:pt x="272211" y="255998"/>
                      <a:pt x="272211" y="255998"/>
                    </a:cubicBezTo>
                    <a:cubicBezTo>
                      <a:pt x="272211" y="260467"/>
                      <a:pt x="270934" y="265574"/>
                      <a:pt x="265182" y="270681"/>
                    </a:cubicBezTo>
                    <a:cubicBezTo>
                      <a:pt x="260071" y="275150"/>
                      <a:pt x="254959" y="276427"/>
                      <a:pt x="251124" y="276427"/>
                    </a:cubicBezTo>
                    <a:cubicBezTo>
                      <a:pt x="251124" y="276427"/>
                      <a:pt x="250486" y="276427"/>
                      <a:pt x="250486" y="276427"/>
                    </a:cubicBezTo>
                    <a:cubicBezTo>
                      <a:pt x="249846" y="276427"/>
                      <a:pt x="249208" y="276427"/>
                      <a:pt x="248569" y="275788"/>
                    </a:cubicBezTo>
                    <a:cubicBezTo>
                      <a:pt x="247929" y="278980"/>
                      <a:pt x="246013" y="282172"/>
                      <a:pt x="242818" y="284726"/>
                    </a:cubicBezTo>
                    <a:cubicBezTo>
                      <a:pt x="238345" y="288556"/>
                      <a:pt x="233872" y="290471"/>
                      <a:pt x="229399" y="290471"/>
                    </a:cubicBezTo>
                    <a:cubicBezTo>
                      <a:pt x="229399" y="290471"/>
                      <a:pt x="228760" y="290471"/>
                      <a:pt x="228760" y="290471"/>
                    </a:cubicBezTo>
                    <a:cubicBezTo>
                      <a:pt x="226843" y="290471"/>
                      <a:pt x="224926" y="289833"/>
                      <a:pt x="222370" y="288556"/>
                    </a:cubicBezTo>
                    <a:cubicBezTo>
                      <a:pt x="216619" y="296855"/>
                      <a:pt x="210229" y="298771"/>
                      <a:pt x="205117" y="298771"/>
                    </a:cubicBezTo>
                    <a:cubicBezTo>
                      <a:pt x="204478" y="298771"/>
                      <a:pt x="204478" y="298771"/>
                      <a:pt x="203839" y="298771"/>
                    </a:cubicBezTo>
                    <a:cubicBezTo>
                      <a:pt x="201283" y="298771"/>
                      <a:pt x="194254" y="295579"/>
                      <a:pt x="191059" y="293663"/>
                    </a:cubicBezTo>
                    <a:cubicBezTo>
                      <a:pt x="191059" y="293663"/>
                      <a:pt x="190420" y="293663"/>
                      <a:pt x="190420" y="293025"/>
                    </a:cubicBezTo>
                    <a:cubicBezTo>
                      <a:pt x="189781" y="293663"/>
                      <a:pt x="189142" y="294302"/>
                      <a:pt x="188503" y="294940"/>
                    </a:cubicBezTo>
                    <a:lnTo>
                      <a:pt x="187864" y="295579"/>
                    </a:lnTo>
                    <a:cubicBezTo>
                      <a:pt x="178918" y="304516"/>
                      <a:pt x="171889" y="310262"/>
                      <a:pt x="166138" y="310900"/>
                    </a:cubicBezTo>
                    <a:cubicBezTo>
                      <a:pt x="165500" y="310900"/>
                      <a:pt x="164860" y="310900"/>
                      <a:pt x="164221" y="310900"/>
                    </a:cubicBezTo>
                    <a:cubicBezTo>
                      <a:pt x="157192" y="310900"/>
                      <a:pt x="150802" y="308346"/>
                      <a:pt x="146969" y="303878"/>
                    </a:cubicBezTo>
                    <a:cubicBezTo>
                      <a:pt x="146330" y="303239"/>
                      <a:pt x="145690" y="302601"/>
                      <a:pt x="145052" y="301324"/>
                    </a:cubicBezTo>
                    <a:cubicBezTo>
                      <a:pt x="143135" y="301962"/>
                      <a:pt x="140579" y="301962"/>
                      <a:pt x="138022" y="301962"/>
                    </a:cubicBezTo>
                    <a:cubicBezTo>
                      <a:pt x="130355" y="301962"/>
                      <a:pt x="121409" y="299409"/>
                      <a:pt x="117575" y="291748"/>
                    </a:cubicBezTo>
                    <a:cubicBezTo>
                      <a:pt x="117575" y="291748"/>
                      <a:pt x="117575" y="291110"/>
                      <a:pt x="117575" y="291110"/>
                    </a:cubicBezTo>
                    <a:cubicBezTo>
                      <a:pt x="116936" y="291110"/>
                      <a:pt x="116936" y="291110"/>
                      <a:pt x="116297" y="291110"/>
                    </a:cubicBezTo>
                    <a:cubicBezTo>
                      <a:pt x="108629" y="291110"/>
                      <a:pt x="101600" y="287279"/>
                      <a:pt x="97127" y="282172"/>
                    </a:cubicBezTo>
                    <a:cubicBezTo>
                      <a:pt x="93932" y="278342"/>
                      <a:pt x="92015" y="274511"/>
                      <a:pt x="92015" y="270681"/>
                    </a:cubicBezTo>
                    <a:cubicBezTo>
                      <a:pt x="92015" y="270681"/>
                      <a:pt x="91376" y="270681"/>
                      <a:pt x="91376" y="270681"/>
                    </a:cubicBezTo>
                    <a:cubicBezTo>
                      <a:pt x="84986" y="269404"/>
                      <a:pt x="79235" y="264935"/>
                      <a:pt x="76040" y="258551"/>
                    </a:cubicBezTo>
                    <a:cubicBezTo>
                      <a:pt x="72206" y="251529"/>
                      <a:pt x="72845" y="242591"/>
                      <a:pt x="77957" y="236846"/>
                    </a:cubicBezTo>
                    <a:cubicBezTo>
                      <a:pt x="76679" y="235569"/>
                      <a:pt x="76040" y="234931"/>
                      <a:pt x="75401" y="233654"/>
                    </a:cubicBezTo>
                    <a:cubicBezTo>
                      <a:pt x="75401" y="233654"/>
                      <a:pt x="75401" y="233654"/>
                      <a:pt x="75401" y="233654"/>
                    </a:cubicBezTo>
                    <a:cubicBezTo>
                      <a:pt x="75401" y="233654"/>
                      <a:pt x="68372" y="226631"/>
                      <a:pt x="50481" y="219609"/>
                    </a:cubicBezTo>
                    <a:cubicBezTo>
                      <a:pt x="47286" y="218332"/>
                      <a:pt x="45368" y="214502"/>
                      <a:pt x="46646" y="211310"/>
                    </a:cubicBezTo>
                    <a:cubicBezTo>
                      <a:pt x="47925" y="208118"/>
                      <a:pt x="51758" y="206203"/>
                      <a:pt x="54953" y="207479"/>
                    </a:cubicBezTo>
                    <a:cubicBezTo>
                      <a:pt x="76040" y="215779"/>
                      <a:pt x="84347" y="224078"/>
                      <a:pt x="84986" y="225355"/>
                    </a:cubicBezTo>
                    <a:cubicBezTo>
                      <a:pt x="86264" y="226631"/>
                      <a:pt x="87542" y="227908"/>
                      <a:pt x="88820" y="229185"/>
                    </a:cubicBezTo>
                    <a:lnTo>
                      <a:pt x="111824" y="214502"/>
                    </a:lnTo>
                    <a:cubicBezTo>
                      <a:pt x="124604" y="206841"/>
                      <a:pt x="135467" y="212587"/>
                      <a:pt x="140579" y="219609"/>
                    </a:cubicBezTo>
                    <a:cubicBezTo>
                      <a:pt x="141217" y="220247"/>
                      <a:pt x="141857" y="221524"/>
                      <a:pt x="142496" y="222163"/>
                    </a:cubicBezTo>
                    <a:lnTo>
                      <a:pt x="143774" y="221524"/>
                    </a:lnTo>
                    <a:cubicBezTo>
                      <a:pt x="153358" y="214502"/>
                      <a:pt x="164221" y="215779"/>
                      <a:pt x="171250" y="224716"/>
                    </a:cubicBezTo>
                    <a:cubicBezTo>
                      <a:pt x="176362" y="231100"/>
                      <a:pt x="177001" y="239399"/>
                      <a:pt x="173167" y="247060"/>
                    </a:cubicBezTo>
                    <a:cubicBezTo>
                      <a:pt x="175723" y="248337"/>
                      <a:pt x="178279" y="250252"/>
                      <a:pt x="180196" y="252806"/>
                    </a:cubicBezTo>
                    <a:cubicBezTo>
                      <a:pt x="180196" y="252806"/>
                      <a:pt x="180835" y="253444"/>
                      <a:pt x="180835" y="253444"/>
                    </a:cubicBezTo>
                    <a:cubicBezTo>
                      <a:pt x="183391" y="256636"/>
                      <a:pt x="184030" y="259828"/>
                      <a:pt x="184030" y="263020"/>
                    </a:cubicBezTo>
                    <a:cubicBezTo>
                      <a:pt x="188503" y="264935"/>
                      <a:pt x="192337" y="268127"/>
                      <a:pt x="193615" y="270043"/>
                    </a:cubicBezTo>
                    <a:cubicBezTo>
                      <a:pt x="194254" y="270681"/>
                      <a:pt x="194254" y="270681"/>
                      <a:pt x="194893" y="271319"/>
                    </a:cubicBezTo>
                    <a:cubicBezTo>
                      <a:pt x="197449" y="275150"/>
                      <a:pt x="198088" y="278980"/>
                      <a:pt x="197449" y="282172"/>
                    </a:cubicBezTo>
                    <a:cubicBezTo>
                      <a:pt x="198088" y="282811"/>
                      <a:pt x="198088" y="282811"/>
                      <a:pt x="198727" y="283449"/>
                    </a:cubicBezTo>
                    <a:cubicBezTo>
                      <a:pt x="200005" y="284087"/>
                      <a:pt x="203839" y="286003"/>
                      <a:pt x="205117" y="286003"/>
                    </a:cubicBezTo>
                    <a:cubicBezTo>
                      <a:pt x="207673" y="286003"/>
                      <a:pt x="210229" y="282811"/>
                      <a:pt x="212146" y="280257"/>
                    </a:cubicBezTo>
                    <a:cubicBezTo>
                      <a:pt x="210868" y="278980"/>
                      <a:pt x="209590" y="278342"/>
                      <a:pt x="208312" y="277065"/>
                    </a:cubicBezTo>
                    <a:cubicBezTo>
                      <a:pt x="203839" y="273235"/>
                      <a:pt x="199366" y="268766"/>
                      <a:pt x="194893" y="265574"/>
                    </a:cubicBezTo>
                    <a:cubicBezTo>
                      <a:pt x="192337" y="263659"/>
                      <a:pt x="191698" y="259190"/>
                      <a:pt x="193615" y="256636"/>
                    </a:cubicBezTo>
                    <a:cubicBezTo>
                      <a:pt x="195532" y="254083"/>
                      <a:pt x="200005" y="253444"/>
                      <a:pt x="202561" y="255359"/>
                    </a:cubicBezTo>
                    <a:cubicBezTo>
                      <a:pt x="207673" y="259190"/>
                      <a:pt x="212785" y="263659"/>
                      <a:pt x="217258" y="268127"/>
                    </a:cubicBezTo>
                    <a:cubicBezTo>
                      <a:pt x="221731" y="271958"/>
                      <a:pt x="227482" y="277703"/>
                      <a:pt x="230038" y="278342"/>
                    </a:cubicBezTo>
                    <a:cubicBezTo>
                      <a:pt x="230038" y="278342"/>
                      <a:pt x="230038" y="278342"/>
                      <a:pt x="230038" y="278342"/>
                    </a:cubicBezTo>
                    <a:cubicBezTo>
                      <a:pt x="231316" y="278342"/>
                      <a:pt x="233233" y="277703"/>
                      <a:pt x="235150" y="275788"/>
                    </a:cubicBezTo>
                    <a:cubicBezTo>
                      <a:pt x="237067" y="273873"/>
                      <a:pt x="237706" y="272596"/>
                      <a:pt x="237706" y="270043"/>
                    </a:cubicBezTo>
                    <a:cubicBezTo>
                      <a:pt x="237706" y="270043"/>
                      <a:pt x="237067" y="269404"/>
                      <a:pt x="236428" y="268766"/>
                    </a:cubicBezTo>
                    <a:cubicBezTo>
                      <a:pt x="235789" y="268127"/>
                      <a:pt x="235150" y="267489"/>
                      <a:pt x="234511" y="266851"/>
                    </a:cubicBezTo>
                    <a:cubicBezTo>
                      <a:pt x="231955" y="264297"/>
                      <a:pt x="229399" y="262382"/>
                      <a:pt x="227482" y="259828"/>
                    </a:cubicBezTo>
                    <a:cubicBezTo>
                      <a:pt x="227482" y="259828"/>
                      <a:pt x="227482" y="259828"/>
                      <a:pt x="227482" y="259828"/>
                    </a:cubicBezTo>
                    <a:cubicBezTo>
                      <a:pt x="227482" y="259828"/>
                      <a:pt x="227482" y="259828"/>
                      <a:pt x="227482" y="259828"/>
                    </a:cubicBezTo>
                    <a:cubicBezTo>
                      <a:pt x="226843" y="259190"/>
                      <a:pt x="226204" y="258551"/>
                      <a:pt x="225565" y="257913"/>
                    </a:cubicBezTo>
                    <a:cubicBezTo>
                      <a:pt x="221092" y="253444"/>
                      <a:pt x="217258" y="249614"/>
                      <a:pt x="212785" y="246422"/>
                    </a:cubicBezTo>
                    <a:cubicBezTo>
                      <a:pt x="210229" y="243868"/>
                      <a:pt x="209590" y="240038"/>
                      <a:pt x="212146" y="237484"/>
                    </a:cubicBezTo>
                    <a:cubicBezTo>
                      <a:pt x="214702" y="234931"/>
                      <a:pt x="218536" y="234292"/>
                      <a:pt x="221092" y="236846"/>
                    </a:cubicBezTo>
                    <a:cubicBezTo>
                      <a:pt x="225565" y="240676"/>
                      <a:pt x="230038" y="245145"/>
                      <a:pt x="234511" y="249614"/>
                    </a:cubicBezTo>
                    <a:cubicBezTo>
                      <a:pt x="235150" y="250252"/>
                      <a:pt x="235789" y="250891"/>
                      <a:pt x="236428" y="250891"/>
                    </a:cubicBezTo>
                    <a:cubicBezTo>
                      <a:pt x="240901" y="254083"/>
                      <a:pt x="244096" y="257275"/>
                      <a:pt x="246651" y="259190"/>
                    </a:cubicBezTo>
                    <a:cubicBezTo>
                      <a:pt x="249208" y="261743"/>
                      <a:pt x="252403" y="264297"/>
                      <a:pt x="253041" y="264297"/>
                    </a:cubicBezTo>
                    <a:cubicBezTo>
                      <a:pt x="254319" y="264297"/>
                      <a:pt x="256236" y="263659"/>
                      <a:pt x="258792" y="261743"/>
                    </a:cubicBezTo>
                    <a:cubicBezTo>
                      <a:pt x="260709" y="260467"/>
                      <a:pt x="261349" y="259190"/>
                      <a:pt x="261349" y="255998"/>
                    </a:cubicBezTo>
                    <a:cubicBezTo>
                      <a:pt x="261349" y="254083"/>
                      <a:pt x="260709" y="252806"/>
                      <a:pt x="259431" y="251529"/>
                    </a:cubicBezTo>
                    <a:cubicBezTo>
                      <a:pt x="259431" y="251529"/>
                      <a:pt x="259431" y="250891"/>
                      <a:pt x="258792" y="250891"/>
                    </a:cubicBezTo>
                    <a:cubicBezTo>
                      <a:pt x="255597" y="248337"/>
                      <a:pt x="252403" y="245145"/>
                      <a:pt x="247929" y="241315"/>
                    </a:cubicBezTo>
                    <a:cubicBezTo>
                      <a:pt x="243456" y="236846"/>
                      <a:pt x="238345" y="232377"/>
                      <a:pt x="233872" y="229185"/>
                    </a:cubicBezTo>
                    <a:cubicBezTo>
                      <a:pt x="231316" y="227270"/>
                      <a:pt x="230677" y="222801"/>
                      <a:pt x="232594" y="220247"/>
                    </a:cubicBezTo>
                    <a:cubicBezTo>
                      <a:pt x="234511" y="217694"/>
                      <a:pt x="238984" y="217055"/>
                      <a:pt x="241540" y="218971"/>
                    </a:cubicBezTo>
                    <a:cubicBezTo>
                      <a:pt x="246651" y="222801"/>
                      <a:pt x="251764" y="227270"/>
                      <a:pt x="256236" y="231739"/>
                    </a:cubicBezTo>
                    <a:cubicBezTo>
                      <a:pt x="260709" y="235569"/>
                      <a:pt x="267099" y="241953"/>
                      <a:pt x="269655" y="242591"/>
                    </a:cubicBezTo>
                    <a:cubicBezTo>
                      <a:pt x="270294" y="242591"/>
                      <a:pt x="272211" y="241953"/>
                      <a:pt x="274767" y="239399"/>
                    </a:cubicBezTo>
                    <a:cubicBezTo>
                      <a:pt x="276684" y="237484"/>
                      <a:pt x="276684" y="236207"/>
                      <a:pt x="276684" y="235569"/>
                    </a:cubicBezTo>
                    <a:cubicBezTo>
                      <a:pt x="276684" y="234931"/>
                      <a:pt x="276045" y="234292"/>
                      <a:pt x="274767" y="232377"/>
                    </a:cubicBezTo>
                    <a:cubicBezTo>
                      <a:pt x="274128" y="231739"/>
                      <a:pt x="273489" y="231100"/>
                      <a:pt x="272850" y="230462"/>
                    </a:cubicBezTo>
                    <a:cubicBezTo>
                      <a:pt x="268377" y="225355"/>
                      <a:pt x="264544" y="220247"/>
                      <a:pt x="260709" y="215779"/>
                    </a:cubicBezTo>
                    <a:cubicBezTo>
                      <a:pt x="257514" y="211948"/>
                      <a:pt x="254319" y="208118"/>
                      <a:pt x="251764" y="204926"/>
                    </a:cubicBezTo>
                    <a:cubicBezTo>
                      <a:pt x="248569" y="201095"/>
                      <a:pt x="244096" y="197903"/>
                      <a:pt x="239623" y="195988"/>
                    </a:cubicBezTo>
                    <a:lnTo>
                      <a:pt x="207673" y="183220"/>
                    </a:lnTo>
                    <a:lnTo>
                      <a:pt x="161027" y="187689"/>
                    </a:lnTo>
                    <a:cubicBezTo>
                      <a:pt x="149525" y="194073"/>
                      <a:pt x="140579" y="196627"/>
                      <a:pt x="133550" y="196627"/>
                    </a:cubicBezTo>
                    <a:cubicBezTo>
                      <a:pt x="120131" y="196627"/>
                      <a:pt x="113741" y="187689"/>
                      <a:pt x="111185" y="183859"/>
                    </a:cubicBezTo>
                    <a:cubicBezTo>
                      <a:pt x="108629" y="180028"/>
                      <a:pt x="109268" y="174283"/>
                      <a:pt x="112463" y="171091"/>
                    </a:cubicBezTo>
                    <a:lnTo>
                      <a:pt x="118853" y="164707"/>
                    </a:lnTo>
                    <a:lnTo>
                      <a:pt x="141217" y="145555"/>
                    </a:lnTo>
                    <a:cubicBezTo>
                      <a:pt x="141857" y="144916"/>
                      <a:pt x="142496" y="144916"/>
                      <a:pt x="143135" y="144278"/>
                    </a:cubicBezTo>
                    <a:lnTo>
                      <a:pt x="156553" y="139171"/>
                    </a:lnTo>
                    <a:lnTo>
                      <a:pt x="155275" y="138533"/>
                    </a:lnTo>
                    <a:cubicBezTo>
                      <a:pt x="153997" y="138533"/>
                      <a:pt x="152720" y="138533"/>
                      <a:pt x="150164" y="139171"/>
                    </a:cubicBezTo>
                    <a:lnTo>
                      <a:pt x="116936" y="146193"/>
                    </a:lnTo>
                    <a:cubicBezTo>
                      <a:pt x="115658" y="146193"/>
                      <a:pt x="114380" y="146832"/>
                      <a:pt x="113102" y="146832"/>
                    </a:cubicBezTo>
                    <a:cubicBezTo>
                      <a:pt x="110546" y="146832"/>
                      <a:pt x="107351" y="146193"/>
                      <a:pt x="104156" y="145555"/>
                    </a:cubicBezTo>
                    <a:lnTo>
                      <a:pt x="84986" y="136617"/>
                    </a:lnTo>
                    <a:cubicBezTo>
                      <a:pt x="81791" y="135341"/>
                      <a:pt x="80513" y="131510"/>
                      <a:pt x="81791" y="128318"/>
                    </a:cubicBezTo>
                    <a:cubicBezTo>
                      <a:pt x="83069" y="125126"/>
                      <a:pt x="86903" y="123849"/>
                      <a:pt x="90098" y="125126"/>
                    </a:cubicBezTo>
                    <a:lnTo>
                      <a:pt x="109268" y="133425"/>
                    </a:lnTo>
                    <a:cubicBezTo>
                      <a:pt x="111185" y="134064"/>
                      <a:pt x="113741" y="134064"/>
                      <a:pt x="114380" y="134064"/>
                    </a:cubicBezTo>
                    <a:lnTo>
                      <a:pt x="147607" y="127041"/>
                    </a:lnTo>
                    <a:cubicBezTo>
                      <a:pt x="151442" y="126403"/>
                      <a:pt x="154637" y="125765"/>
                      <a:pt x="157832" y="126403"/>
                    </a:cubicBezTo>
                    <a:cubicBezTo>
                      <a:pt x="158470" y="126403"/>
                      <a:pt x="158470" y="126403"/>
                      <a:pt x="159110" y="126403"/>
                    </a:cubicBezTo>
                    <a:lnTo>
                      <a:pt x="176362" y="132149"/>
                    </a:lnTo>
                    <a:lnTo>
                      <a:pt x="177001" y="132149"/>
                    </a:lnTo>
                    <a:cubicBezTo>
                      <a:pt x="186586" y="128318"/>
                      <a:pt x="196171" y="129595"/>
                      <a:pt x="205756" y="130233"/>
                    </a:cubicBezTo>
                    <a:cubicBezTo>
                      <a:pt x="209590" y="130872"/>
                      <a:pt x="213424" y="130872"/>
                      <a:pt x="217258" y="130872"/>
                    </a:cubicBezTo>
                    <a:lnTo>
                      <a:pt x="256876" y="130872"/>
                    </a:lnTo>
                    <a:cubicBezTo>
                      <a:pt x="256876" y="130872"/>
                      <a:pt x="256876" y="130872"/>
                      <a:pt x="256876" y="130872"/>
                    </a:cubicBezTo>
                    <a:cubicBezTo>
                      <a:pt x="258154" y="130872"/>
                      <a:pt x="258792" y="130872"/>
                      <a:pt x="260071" y="130233"/>
                    </a:cubicBezTo>
                    <a:lnTo>
                      <a:pt x="281796" y="118742"/>
                    </a:lnTo>
                    <a:cubicBezTo>
                      <a:pt x="284991" y="116827"/>
                      <a:pt x="288825" y="118104"/>
                      <a:pt x="290742" y="121296"/>
                    </a:cubicBezTo>
                    <a:cubicBezTo>
                      <a:pt x="292659" y="124488"/>
                      <a:pt x="291381" y="128318"/>
                      <a:pt x="288186" y="130233"/>
                    </a:cubicBezTo>
                    <a:lnTo>
                      <a:pt x="267099" y="141724"/>
                    </a:lnTo>
                    <a:cubicBezTo>
                      <a:pt x="264544" y="143640"/>
                      <a:pt x="261349" y="144278"/>
                      <a:pt x="257514" y="144278"/>
                    </a:cubicBezTo>
                    <a:cubicBezTo>
                      <a:pt x="257514" y="144278"/>
                      <a:pt x="257514" y="144278"/>
                      <a:pt x="257514" y="144278"/>
                    </a:cubicBezTo>
                    <a:lnTo>
                      <a:pt x="217897" y="144278"/>
                    </a:lnTo>
                    <a:cubicBezTo>
                      <a:pt x="213424" y="144278"/>
                      <a:pt x="209590" y="143640"/>
                      <a:pt x="205117" y="143640"/>
                    </a:cubicBezTo>
                    <a:cubicBezTo>
                      <a:pt x="196810" y="143001"/>
                      <a:pt x="189142" y="142363"/>
                      <a:pt x="182113" y="144278"/>
                    </a:cubicBezTo>
                    <a:lnTo>
                      <a:pt x="150164" y="156408"/>
                    </a:lnTo>
                    <a:lnTo>
                      <a:pt x="124604" y="178752"/>
                    </a:lnTo>
                    <a:cubicBezTo>
                      <a:pt x="128438" y="183220"/>
                      <a:pt x="136106" y="188327"/>
                      <a:pt x="156553" y="175560"/>
                    </a:cubicBezTo>
                    <a:cubicBezTo>
                      <a:pt x="157192" y="174921"/>
                      <a:pt x="158470" y="174921"/>
                      <a:pt x="159110" y="174921"/>
                    </a:cubicBezTo>
                    <a:lnTo>
                      <a:pt x="208951" y="169814"/>
                    </a:lnTo>
                    <a:cubicBezTo>
                      <a:pt x="208951" y="169814"/>
                      <a:pt x="208951" y="169814"/>
                      <a:pt x="208951" y="169814"/>
                    </a:cubicBezTo>
                    <a:cubicBezTo>
                      <a:pt x="209590" y="169814"/>
                      <a:pt x="210229" y="169814"/>
                      <a:pt x="210229" y="169814"/>
                    </a:cubicBezTo>
                    <a:cubicBezTo>
                      <a:pt x="210868" y="169814"/>
                      <a:pt x="210868" y="169814"/>
                      <a:pt x="211507" y="169814"/>
                    </a:cubicBezTo>
                    <a:cubicBezTo>
                      <a:pt x="211507" y="169814"/>
                      <a:pt x="211507" y="169814"/>
                      <a:pt x="211507" y="169814"/>
                    </a:cubicBezTo>
                    <a:lnTo>
                      <a:pt x="245374" y="183220"/>
                    </a:lnTo>
                    <a:cubicBezTo>
                      <a:pt x="245374" y="183220"/>
                      <a:pt x="246013" y="183220"/>
                      <a:pt x="246013" y="183220"/>
                    </a:cubicBezTo>
                    <a:cubicBezTo>
                      <a:pt x="246013" y="183220"/>
                      <a:pt x="246013" y="183220"/>
                      <a:pt x="246013" y="183220"/>
                    </a:cubicBezTo>
                    <a:cubicBezTo>
                      <a:pt x="250486" y="185135"/>
                      <a:pt x="273489" y="180667"/>
                      <a:pt x="280518" y="175560"/>
                    </a:cubicBezTo>
                    <a:cubicBezTo>
                      <a:pt x="283713" y="173644"/>
                      <a:pt x="287547" y="174283"/>
                      <a:pt x="289464" y="177475"/>
                    </a:cubicBezTo>
                    <a:cubicBezTo>
                      <a:pt x="291381" y="180667"/>
                      <a:pt x="290742" y="184497"/>
                      <a:pt x="287547" y="186412"/>
                    </a:cubicBezTo>
                    <a:cubicBezTo>
                      <a:pt x="283074" y="189604"/>
                      <a:pt x="272211" y="193435"/>
                      <a:pt x="261987" y="195350"/>
                    </a:cubicBezTo>
                    <a:cubicBezTo>
                      <a:pt x="261987" y="195350"/>
                      <a:pt x="262626" y="195988"/>
                      <a:pt x="262626" y="195988"/>
                    </a:cubicBezTo>
                    <a:cubicBezTo>
                      <a:pt x="265182" y="199180"/>
                      <a:pt x="267739" y="202372"/>
                      <a:pt x="270934" y="206203"/>
                    </a:cubicBezTo>
                    <a:cubicBezTo>
                      <a:pt x="274128" y="209395"/>
                      <a:pt x="277323" y="213225"/>
                      <a:pt x="280518" y="217694"/>
                    </a:cubicBezTo>
                    <a:lnTo>
                      <a:pt x="309912" y="205564"/>
                    </a:lnTo>
                    <a:cubicBezTo>
                      <a:pt x="313107" y="204287"/>
                      <a:pt x="316941" y="205564"/>
                      <a:pt x="318219" y="209395"/>
                    </a:cubicBezTo>
                    <a:cubicBezTo>
                      <a:pt x="319497" y="213225"/>
                      <a:pt x="316302" y="217055"/>
                      <a:pt x="313107" y="218332"/>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4" name="Graphic 4">
                <a:extLst>
                  <a:ext uri="{FF2B5EF4-FFF2-40B4-BE49-F238E27FC236}">
                    <a16:creationId xmlns:a16="http://schemas.microsoft.com/office/drawing/2014/main" id="{F8122004-4103-714E-574E-146C37026501}"/>
                  </a:ext>
                </a:extLst>
              </p:cNvPr>
              <p:cNvSpPr/>
              <p:nvPr/>
            </p:nvSpPr>
            <p:spPr>
              <a:xfrm>
                <a:off x="6276196" y="2628448"/>
                <a:ext cx="41277" cy="31764"/>
              </a:xfrm>
              <a:custGeom>
                <a:avLst/>
                <a:gdLst>
                  <a:gd name="connsiteX0" fmla="*/ 24282 w 41277"/>
                  <a:gd name="connsiteY0" fmla="*/ 24259 h 31764"/>
                  <a:gd name="connsiteX1" fmla="*/ 29394 w 41277"/>
                  <a:gd name="connsiteY1" fmla="*/ 19790 h 31764"/>
                  <a:gd name="connsiteX2" fmla="*/ 33867 w 41277"/>
                  <a:gd name="connsiteY2" fmla="*/ 15322 h 31764"/>
                  <a:gd name="connsiteX3" fmla="*/ 40895 w 41277"/>
                  <a:gd name="connsiteY3" fmla="*/ 3830 h 31764"/>
                  <a:gd name="connsiteX4" fmla="*/ 34505 w 41277"/>
                  <a:gd name="connsiteY4" fmla="*/ 0 h 31764"/>
                  <a:gd name="connsiteX5" fmla="*/ 33867 w 41277"/>
                  <a:gd name="connsiteY5" fmla="*/ 0 h 31764"/>
                  <a:gd name="connsiteX6" fmla="*/ 0 w 41277"/>
                  <a:gd name="connsiteY6" fmla="*/ 28728 h 31764"/>
                  <a:gd name="connsiteX7" fmla="*/ 14697 w 41277"/>
                  <a:gd name="connsiteY7" fmla="*/ 31281 h 31764"/>
                  <a:gd name="connsiteX8" fmla="*/ 24282 w 41277"/>
                  <a:gd name="connsiteY8" fmla="*/ 24259 h 3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277" h="31764">
                    <a:moveTo>
                      <a:pt x="24282" y="24259"/>
                    </a:moveTo>
                    <a:lnTo>
                      <a:pt x="29394" y="19790"/>
                    </a:lnTo>
                    <a:lnTo>
                      <a:pt x="33867" y="15322"/>
                    </a:lnTo>
                    <a:cubicBezTo>
                      <a:pt x="37062" y="12130"/>
                      <a:pt x="42813" y="6384"/>
                      <a:pt x="40895" y="3830"/>
                    </a:cubicBezTo>
                    <a:cubicBezTo>
                      <a:pt x="37700" y="638"/>
                      <a:pt x="35783" y="0"/>
                      <a:pt x="34505" y="0"/>
                    </a:cubicBezTo>
                    <a:cubicBezTo>
                      <a:pt x="34505" y="0"/>
                      <a:pt x="33867" y="0"/>
                      <a:pt x="33867" y="0"/>
                    </a:cubicBezTo>
                    <a:lnTo>
                      <a:pt x="0" y="28728"/>
                    </a:lnTo>
                    <a:cubicBezTo>
                      <a:pt x="2556" y="32558"/>
                      <a:pt x="10863" y="31920"/>
                      <a:pt x="14697" y="31281"/>
                    </a:cubicBezTo>
                    <a:cubicBezTo>
                      <a:pt x="16614" y="30643"/>
                      <a:pt x="21087" y="26813"/>
                      <a:pt x="24282" y="24259"/>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pic>
          <p:nvPicPr>
            <p:cNvPr id="5" name="Picture 4">
              <a:extLst>
                <a:ext uri="{FF2B5EF4-FFF2-40B4-BE49-F238E27FC236}">
                  <a16:creationId xmlns:a16="http://schemas.microsoft.com/office/drawing/2014/main" id="{8D52273B-2621-3A8D-B322-FF3D268902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752" y="1086594"/>
              <a:ext cx="1897626" cy="772672"/>
            </a:xfrm>
            <a:prstGeom prst="rect">
              <a:avLst/>
            </a:prstGeom>
          </p:spPr>
        </p:pic>
        <p:sp>
          <p:nvSpPr>
            <p:cNvPr id="6" name="TextBox 5">
              <a:extLst>
                <a:ext uri="{FF2B5EF4-FFF2-40B4-BE49-F238E27FC236}">
                  <a16:creationId xmlns:a16="http://schemas.microsoft.com/office/drawing/2014/main" id="{17960278-E3F2-68B0-329F-F33CA6617F68}"/>
                </a:ext>
              </a:extLst>
            </p:cNvPr>
            <p:cNvSpPr txBox="1"/>
            <p:nvPr/>
          </p:nvSpPr>
          <p:spPr>
            <a:xfrm>
              <a:off x="1098500" y="1867064"/>
              <a:ext cx="3156156"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 </a:t>
              </a:r>
              <a:r>
                <a:rPr kumimoji="0" 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 nombre)</a:t>
              </a:r>
              <a:r>
                <a:rPr kumimoji="0" 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reconozco en: </a:t>
              </a:r>
              <a:r>
                <a:rPr kumimoji="0" 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mbre del profesional a reconocer)</a:t>
              </a:r>
            </a:p>
          </p:txBody>
        </p:sp>
        <p:sp>
          <p:nvSpPr>
            <p:cNvPr id="7" name="Rectangle 6">
              <a:extLst>
                <a:ext uri="{FF2B5EF4-FFF2-40B4-BE49-F238E27FC236}">
                  <a16:creationId xmlns:a16="http://schemas.microsoft.com/office/drawing/2014/main" id="{3A2253E4-82A6-C042-97C4-2D6F3F676D39}"/>
                </a:ext>
              </a:extLst>
            </p:cNvPr>
            <p:cNvSpPr/>
            <p:nvPr/>
          </p:nvSpPr>
          <p:spPr bwMode="gray">
            <a:xfrm>
              <a:off x="1098500" y="4052568"/>
              <a:ext cx="3353755" cy="946167"/>
            </a:xfrm>
            <a:prstGeom prst="rect">
              <a:avLst/>
            </a:prstGeom>
            <a:solidFill>
              <a:sysClr val="window" lastClr="FFFFFF">
                <a:lumMod val="95000"/>
              </a:sysClr>
            </a:solidFill>
            <a:ln w="19050" algn="ctr">
              <a:noFill/>
              <a:miter lim="800000"/>
              <a:headEnd/>
              <a:tailEnd/>
            </a:ln>
          </p:spPr>
          <p:txBody>
            <a:bodyPr wrap="square" lIns="88900" tIns="88900" rIns="88900" bIns="88900" rtlCol="0" anchor="t"/>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s-MX" sz="1000" b="0" i="0" u="none" strike="noStrike" kern="0" cap="none" spc="0" normalizeH="0" baseline="0" noProof="0">
                  <a:ln>
                    <a:noFill/>
                  </a:ln>
                  <a:solidFill>
                    <a:prstClr val="black"/>
                  </a:solidFill>
                  <a:effectLst/>
                  <a:uLnTx/>
                  <a:uFillTx/>
                  <a:latin typeface="Calibri Light"/>
                </a:rPr>
                <a:t>Si tienes algún comentario adicional colócalo aquí</a:t>
              </a:r>
              <a:endParaRPr kumimoji="0" lang="en-US" sz="1000" b="0" i="0" u="none" strike="noStrike" kern="0" cap="none" spc="0" normalizeH="0" baseline="0" noProof="0">
                <a:ln>
                  <a:noFill/>
                </a:ln>
                <a:solidFill>
                  <a:prstClr val="black"/>
                </a:solidFill>
                <a:effectLst/>
                <a:uLnTx/>
                <a:uFillTx/>
                <a:latin typeface="Calibri Light"/>
              </a:endParaRPr>
            </a:p>
          </p:txBody>
        </p:sp>
        <p:sp>
          <p:nvSpPr>
            <p:cNvPr id="8" name="TextBox 7">
              <a:extLst>
                <a:ext uri="{FF2B5EF4-FFF2-40B4-BE49-F238E27FC236}">
                  <a16:creationId xmlns:a16="http://schemas.microsoft.com/office/drawing/2014/main" id="{3E3B2FAC-4521-8CC9-6C78-BD17BB88B541}"/>
                </a:ext>
              </a:extLst>
            </p:cNvPr>
            <p:cNvSpPr txBox="1"/>
            <p:nvPr/>
          </p:nvSpPr>
          <p:spPr>
            <a:xfrm>
              <a:off x="1098500" y="2700182"/>
              <a:ext cx="3156156" cy="1107996"/>
            </a:xfrm>
            <a:prstGeom prst="rect">
              <a:avLst/>
            </a:prstGeom>
            <a:noFill/>
          </p:spPr>
          <p:txBody>
            <a:bodyPr wrap="square" rtlCol="0">
              <a:spAutoFit/>
            </a:bodyPr>
            <a:lstStyle>
              <a:defPPr>
                <a:defRPr lang="en-US"/>
              </a:defPPr>
              <a:lvl1pPr>
                <a:defRPr sz="11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e se caracteriza por poner en práctica el  valor de la </a:t>
              </a:r>
              <a:r>
                <a:rPr kumimoji="0" lang="es-MX" alt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fianza: </a:t>
              </a:r>
            </a:p>
            <a:p>
              <a:pPr marL="0" marR="0" lvl="0" indent="0" defTabSz="914400" eaLnBrk="1" fontAlgn="auto" latinLnBrk="0" hangingPunct="1">
                <a:lnSpc>
                  <a:spcPct val="100000"/>
                </a:lnSpc>
                <a:spcBef>
                  <a:spcPts val="0"/>
                </a:spcBef>
                <a:spcAft>
                  <a:spcPts val="0"/>
                </a:spcAft>
                <a:buClrTx/>
                <a:buSzTx/>
                <a:buFontTx/>
                <a:buNone/>
                <a:tabLst/>
                <a:defRPr/>
              </a:pPr>
              <a:endPar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nerar y mantener relaciones que fomenten la interacción con el equipo de tal manera que se alcancen los objetivos.</a:t>
              </a:r>
            </a:p>
          </p:txBody>
        </p:sp>
      </p:grpSp>
    </p:spTree>
    <p:extLst>
      <p:ext uri="{BB962C8B-B14F-4D97-AF65-F5344CB8AC3E}">
        <p14:creationId xmlns:p14="http://schemas.microsoft.com/office/powerpoint/2010/main" val="9528311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E04B799-A977-8EE1-74F7-91CAC9E07B21}"/>
              </a:ext>
            </a:extLst>
          </p:cNvPr>
          <p:cNvGrpSpPr/>
          <p:nvPr/>
        </p:nvGrpSpPr>
        <p:grpSpPr>
          <a:xfrm>
            <a:off x="2531835" y="1240064"/>
            <a:ext cx="7064829" cy="4365172"/>
            <a:chOff x="631371" y="947057"/>
            <a:chExt cx="7064829" cy="4365172"/>
          </a:xfrm>
        </p:grpSpPr>
        <p:sp>
          <p:nvSpPr>
            <p:cNvPr id="3" name="Rectangle 2">
              <a:extLst>
                <a:ext uri="{FF2B5EF4-FFF2-40B4-BE49-F238E27FC236}">
                  <a16:creationId xmlns:a16="http://schemas.microsoft.com/office/drawing/2014/main" id="{688E8CBE-EAF8-F7D0-0E55-5C1911BAE679}"/>
                </a:ext>
              </a:extLst>
            </p:cNvPr>
            <p:cNvSpPr/>
            <p:nvPr/>
          </p:nvSpPr>
          <p:spPr bwMode="gray">
            <a:xfrm>
              <a:off x="631371" y="947057"/>
              <a:ext cx="7064829" cy="4365172"/>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Light"/>
              </a:endParaRPr>
            </a:p>
          </p:txBody>
        </p:sp>
        <p:pic>
          <p:nvPicPr>
            <p:cNvPr id="4" name="Picture 3">
              <a:extLst>
                <a:ext uri="{FF2B5EF4-FFF2-40B4-BE49-F238E27FC236}">
                  <a16:creationId xmlns:a16="http://schemas.microsoft.com/office/drawing/2014/main" id="{8E4D2B78-1B12-5D46-59F2-34982D04DD0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752" y="1086594"/>
              <a:ext cx="1897626" cy="772672"/>
            </a:xfrm>
            <a:prstGeom prst="rect">
              <a:avLst/>
            </a:prstGeom>
          </p:spPr>
        </p:pic>
        <p:sp>
          <p:nvSpPr>
            <p:cNvPr id="5" name="TextBox 4">
              <a:extLst>
                <a:ext uri="{FF2B5EF4-FFF2-40B4-BE49-F238E27FC236}">
                  <a16:creationId xmlns:a16="http://schemas.microsoft.com/office/drawing/2014/main" id="{F97E489C-C7D5-4C7E-1964-0E58A9579C7D}"/>
                </a:ext>
              </a:extLst>
            </p:cNvPr>
            <p:cNvSpPr txBox="1"/>
            <p:nvPr/>
          </p:nvSpPr>
          <p:spPr>
            <a:xfrm>
              <a:off x="1098500" y="1867064"/>
              <a:ext cx="3156156"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 </a:t>
              </a:r>
              <a:r>
                <a:rPr kumimoji="0" 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 nombre)</a:t>
              </a:r>
              <a:r>
                <a:rPr kumimoji="0" 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reconozco en: </a:t>
              </a:r>
              <a:r>
                <a:rPr kumimoji="0" 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mbre del profesional a reconocer)</a:t>
              </a:r>
            </a:p>
          </p:txBody>
        </p:sp>
        <p:sp>
          <p:nvSpPr>
            <p:cNvPr id="6" name="Rectangle 5">
              <a:extLst>
                <a:ext uri="{FF2B5EF4-FFF2-40B4-BE49-F238E27FC236}">
                  <a16:creationId xmlns:a16="http://schemas.microsoft.com/office/drawing/2014/main" id="{4DEBA74D-FDE3-36FC-1AF5-1F74B29D85C8}"/>
                </a:ext>
              </a:extLst>
            </p:cNvPr>
            <p:cNvSpPr/>
            <p:nvPr/>
          </p:nvSpPr>
          <p:spPr bwMode="gray">
            <a:xfrm>
              <a:off x="1098500" y="4052568"/>
              <a:ext cx="3353755" cy="946167"/>
            </a:xfrm>
            <a:prstGeom prst="rect">
              <a:avLst/>
            </a:prstGeom>
            <a:solidFill>
              <a:sysClr val="window" lastClr="FFFFFF">
                <a:lumMod val="95000"/>
              </a:sysClr>
            </a:solidFill>
            <a:ln w="19050" algn="ctr">
              <a:noFill/>
              <a:miter lim="800000"/>
              <a:headEnd/>
              <a:tailEnd/>
            </a:ln>
          </p:spPr>
          <p:txBody>
            <a:bodyPr wrap="square" lIns="88900" tIns="88900" rIns="88900" bIns="88900" rtlCol="0" anchor="t"/>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s-MX" sz="1000" b="0" i="0" u="none" strike="noStrike" kern="0" cap="none" spc="0" normalizeH="0" baseline="0" noProof="0">
                  <a:ln>
                    <a:noFill/>
                  </a:ln>
                  <a:solidFill>
                    <a:prstClr val="black"/>
                  </a:solidFill>
                  <a:effectLst/>
                  <a:uLnTx/>
                  <a:uFillTx/>
                  <a:latin typeface="Calibri Light"/>
                </a:rPr>
                <a:t>Si tienes algún comentario adicional colócalo aquí</a:t>
              </a:r>
              <a:endParaRPr kumimoji="0" lang="en-US" sz="1000" b="0" i="0" u="none" strike="noStrike" kern="0" cap="none" spc="0" normalizeH="0" baseline="0" noProof="0">
                <a:ln>
                  <a:noFill/>
                </a:ln>
                <a:solidFill>
                  <a:prstClr val="black"/>
                </a:solidFill>
                <a:effectLst/>
                <a:uLnTx/>
                <a:uFillTx/>
                <a:latin typeface="Calibri Light"/>
              </a:endParaRPr>
            </a:p>
          </p:txBody>
        </p:sp>
        <p:sp>
          <p:nvSpPr>
            <p:cNvPr id="7" name="TextBox 6">
              <a:extLst>
                <a:ext uri="{FF2B5EF4-FFF2-40B4-BE49-F238E27FC236}">
                  <a16:creationId xmlns:a16="http://schemas.microsoft.com/office/drawing/2014/main" id="{84BF51AC-C426-91AC-1733-31D38F96E47C}"/>
                </a:ext>
              </a:extLst>
            </p:cNvPr>
            <p:cNvSpPr txBox="1"/>
            <p:nvPr/>
          </p:nvSpPr>
          <p:spPr>
            <a:xfrm>
              <a:off x="1098500" y="2700182"/>
              <a:ext cx="3156156" cy="938719"/>
            </a:xfrm>
            <a:prstGeom prst="rect">
              <a:avLst/>
            </a:prstGeom>
            <a:noFill/>
          </p:spPr>
          <p:txBody>
            <a:bodyPr wrap="square" rtlCol="0">
              <a:spAutoFit/>
            </a:bodyPr>
            <a:lstStyle>
              <a:defPPr>
                <a:defRPr lang="en-US"/>
              </a:defPPr>
              <a:lvl1pPr>
                <a:defRPr sz="11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e se caracteriza por poner en práctica el  valor de la </a:t>
              </a:r>
              <a:r>
                <a:rPr kumimoji="0" lang="es-MX" alt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laboración: </a:t>
              </a:r>
            </a:p>
            <a:p>
              <a:pPr marL="0" marR="0" lvl="0" indent="0" defTabSz="914400" eaLnBrk="1" fontAlgn="auto" latinLnBrk="0" hangingPunct="1">
                <a:lnSpc>
                  <a:spcPct val="100000"/>
                </a:lnSpc>
                <a:spcBef>
                  <a:spcPts val="0"/>
                </a:spcBef>
                <a:spcAft>
                  <a:spcPts val="0"/>
                </a:spcAft>
                <a:buClrTx/>
                <a:buSzTx/>
                <a:buFontTx/>
                <a:buNone/>
                <a:tabLst/>
                <a:defRPr/>
              </a:pPr>
              <a:endPar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piciar la unión de esfuerzos dirigidos hacia los mismos objetivos.</a:t>
              </a:r>
            </a:p>
          </p:txBody>
        </p:sp>
        <p:grpSp>
          <p:nvGrpSpPr>
            <p:cNvPr id="8" name="Graphic 4">
              <a:extLst>
                <a:ext uri="{FF2B5EF4-FFF2-40B4-BE49-F238E27FC236}">
                  <a16:creationId xmlns:a16="http://schemas.microsoft.com/office/drawing/2014/main" id="{13BD6CA2-2AB5-D0C1-947D-495D0E3F8191}"/>
                </a:ext>
              </a:extLst>
            </p:cNvPr>
            <p:cNvGrpSpPr/>
            <p:nvPr/>
          </p:nvGrpSpPr>
          <p:grpSpPr>
            <a:xfrm>
              <a:off x="5163592" y="2138546"/>
              <a:ext cx="1799990" cy="1800000"/>
              <a:chOff x="4046108" y="1893013"/>
              <a:chExt cx="361670" cy="361333"/>
            </a:xfrm>
            <a:solidFill>
              <a:srgbClr val="26890D"/>
            </a:solidFill>
          </p:grpSpPr>
          <p:sp>
            <p:nvSpPr>
              <p:cNvPr id="9" name="Graphic 4">
                <a:extLst>
                  <a:ext uri="{FF2B5EF4-FFF2-40B4-BE49-F238E27FC236}">
                    <a16:creationId xmlns:a16="http://schemas.microsoft.com/office/drawing/2014/main" id="{421EDE9E-C0DA-0122-781B-689283CA5D6F}"/>
                  </a:ext>
                </a:extLst>
              </p:cNvPr>
              <p:cNvSpPr/>
              <p:nvPr/>
            </p:nvSpPr>
            <p:spPr>
              <a:xfrm>
                <a:off x="4122787" y="2003456"/>
                <a:ext cx="11501" cy="11491"/>
              </a:xfrm>
              <a:custGeom>
                <a:avLst/>
                <a:gdLst>
                  <a:gd name="connsiteX0" fmla="*/ 5751 w 11501"/>
                  <a:gd name="connsiteY0" fmla="*/ 11491 h 11491"/>
                  <a:gd name="connsiteX1" fmla="*/ 11502 w 11501"/>
                  <a:gd name="connsiteY1" fmla="*/ 5746 h 11491"/>
                  <a:gd name="connsiteX2" fmla="*/ 5751 w 11501"/>
                  <a:gd name="connsiteY2" fmla="*/ 0 h 11491"/>
                  <a:gd name="connsiteX3" fmla="*/ 0 w 11501"/>
                  <a:gd name="connsiteY3" fmla="*/ 5746 h 11491"/>
                  <a:gd name="connsiteX4" fmla="*/ 5751 w 11501"/>
                  <a:gd name="connsiteY4" fmla="*/ 11491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5751" y="11491"/>
                    </a:moveTo>
                    <a:cubicBezTo>
                      <a:pt x="8946" y="11491"/>
                      <a:pt x="11502" y="8938"/>
                      <a:pt x="11502" y="5746"/>
                    </a:cubicBezTo>
                    <a:cubicBezTo>
                      <a:pt x="11502" y="2554"/>
                      <a:pt x="8946" y="0"/>
                      <a:pt x="5751" y="0"/>
                    </a:cubicBezTo>
                    <a:cubicBezTo>
                      <a:pt x="2556" y="0"/>
                      <a:pt x="0" y="2554"/>
                      <a:pt x="0" y="5746"/>
                    </a:cubicBezTo>
                    <a:cubicBezTo>
                      <a:pt x="0" y="8938"/>
                      <a:pt x="2556" y="11491"/>
                      <a:pt x="5751" y="11491"/>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0" name="Graphic 4">
                <a:extLst>
                  <a:ext uri="{FF2B5EF4-FFF2-40B4-BE49-F238E27FC236}">
                    <a16:creationId xmlns:a16="http://schemas.microsoft.com/office/drawing/2014/main" id="{205CAC63-34F7-29FD-07E3-1792A6915D74}"/>
                  </a:ext>
                </a:extLst>
              </p:cNvPr>
              <p:cNvSpPr/>
              <p:nvPr/>
            </p:nvSpPr>
            <p:spPr>
              <a:xfrm>
                <a:off x="4117036" y="2051974"/>
                <a:ext cx="22364" cy="48518"/>
              </a:xfrm>
              <a:custGeom>
                <a:avLst/>
                <a:gdLst>
                  <a:gd name="connsiteX0" fmla="*/ 12141 w 22364"/>
                  <a:gd name="connsiteY0" fmla="*/ 0 h 48518"/>
                  <a:gd name="connsiteX1" fmla="*/ 10224 w 22364"/>
                  <a:gd name="connsiteY1" fmla="*/ 0 h 48518"/>
                  <a:gd name="connsiteX2" fmla="*/ 0 w 22364"/>
                  <a:gd name="connsiteY2" fmla="*/ 48518 h 48518"/>
                  <a:gd name="connsiteX3" fmla="*/ 22365 w 22364"/>
                  <a:gd name="connsiteY3" fmla="*/ 48518 h 48518"/>
                </a:gdLst>
                <a:ahLst/>
                <a:cxnLst>
                  <a:cxn ang="0">
                    <a:pos x="connsiteX0" y="connsiteY0"/>
                  </a:cxn>
                  <a:cxn ang="0">
                    <a:pos x="connsiteX1" y="connsiteY1"/>
                  </a:cxn>
                  <a:cxn ang="0">
                    <a:pos x="connsiteX2" y="connsiteY2"/>
                  </a:cxn>
                  <a:cxn ang="0">
                    <a:pos x="connsiteX3" y="connsiteY3"/>
                  </a:cxn>
                </a:cxnLst>
                <a:rect l="l" t="t" r="r" b="b"/>
                <a:pathLst>
                  <a:path w="22364" h="48518">
                    <a:moveTo>
                      <a:pt x="12141" y="0"/>
                    </a:moveTo>
                    <a:lnTo>
                      <a:pt x="10224" y="0"/>
                    </a:lnTo>
                    <a:lnTo>
                      <a:pt x="0" y="48518"/>
                    </a:lnTo>
                    <a:lnTo>
                      <a:pt x="22365" y="48518"/>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1" name="Graphic 4">
                <a:extLst>
                  <a:ext uri="{FF2B5EF4-FFF2-40B4-BE49-F238E27FC236}">
                    <a16:creationId xmlns:a16="http://schemas.microsoft.com/office/drawing/2014/main" id="{1E6CC65C-6360-72F4-D4ED-E965E69990B5}"/>
                  </a:ext>
                </a:extLst>
              </p:cNvPr>
              <p:cNvSpPr/>
              <p:nvPr/>
            </p:nvSpPr>
            <p:spPr>
              <a:xfrm>
                <a:off x="4322792" y="2003456"/>
                <a:ext cx="11501" cy="11491"/>
              </a:xfrm>
              <a:custGeom>
                <a:avLst/>
                <a:gdLst>
                  <a:gd name="connsiteX0" fmla="*/ 5751 w 11501"/>
                  <a:gd name="connsiteY0" fmla="*/ 11491 h 11491"/>
                  <a:gd name="connsiteX1" fmla="*/ 11502 w 11501"/>
                  <a:gd name="connsiteY1" fmla="*/ 5746 h 11491"/>
                  <a:gd name="connsiteX2" fmla="*/ 5751 w 11501"/>
                  <a:gd name="connsiteY2" fmla="*/ 0 h 11491"/>
                  <a:gd name="connsiteX3" fmla="*/ 0 w 11501"/>
                  <a:gd name="connsiteY3" fmla="*/ 5746 h 11491"/>
                  <a:gd name="connsiteX4" fmla="*/ 5751 w 11501"/>
                  <a:gd name="connsiteY4" fmla="*/ 11491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5751" y="11491"/>
                    </a:moveTo>
                    <a:cubicBezTo>
                      <a:pt x="8946" y="11491"/>
                      <a:pt x="11502" y="8938"/>
                      <a:pt x="11502" y="5746"/>
                    </a:cubicBezTo>
                    <a:cubicBezTo>
                      <a:pt x="11502" y="2554"/>
                      <a:pt x="8946" y="0"/>
                      <a:pt x="5751" y="0"/>
                    </a:cubicBezTo>
                    <a:cubicBezTo>
                      <a:pt x="2556" y="0"/>
                      <a:pt x="0" y="2554"/>
                      <a:pt x="0" y="5746"/>
                    </a:cubicBezTo>
                    <a:cubicBezTo>
                      <a:pt x="0" y="8938"/>
                      <a:pt x="2556" y="11491"/>
                      <a:pt x="5751" y="11491"/>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2" name="Graphic 4">
                <a:extLst>
                  <a:ext uri="{FF2B5EF4-FFF2-40B4-BE49-F238E27FC236}">
                    <a16:creationId xmlns:a16="http://schemas.microsoft.com/office/drawing/2014/main" id="{3212395B-8DC7-E88F-3211-980273B7D7B0}"/>
                  </a:ext>
                </a:extLst>
              </p:cNvPr>
              <p:cNvSpPr/>
              <p:nvPr/>
            </p:nvSpPr>
            <p:spPr>
              <a:xfrm>
                <a:off x="4317680" y="2051974"/>
                <a:ext cx="21725" cy="48518"/>
              </a:xfrm>
              <a:custGeom>
                <a:avLst/>
                <a:gdLst>
                  <a:gd name="connsiteX0" fmla="*/ 12141 w 21725"/>
                  <a:gd name="connsiteY0" fmla="*/ 0 h 48518"/>
                  <a:gd name="connsiteX1" fmla="*/ 10224 w 21725"/>
                  <a:gd name="connsiteY1" fmla="*/ 0 h 48518"/>
                  <a:gd name="connsiteX2" fmla="*/ 0 w 21725"/>
                  <a:gd name="connsiteY2" fmla="*/ 48518 h 48518"/>
                  <a:gd name="connsiteX3" fmla="*/ 21726 w 21725"/>
                  <a:gd name="connsiteY3" fmla="*/ 48518 h 48518"/>
                </a:gdLst>
                <a:ahLst/>
                <a:cxnLst>
                  <a:cxn ang="0">
                    <a:pos x="connsiteX0" y="connsiteY0"/>
                  </a:cxn>
                  <a:cxn ang="0">
                    <a:pos x="connsiteX1" y="connsiteY1"/>
                  </a:cxn>
                  <a:cxn ang="0">
                    <a:pos x="connsiteX2" y="connsiteY2"/>
                  </a:cxn>
                  <a:cxn ang="0">
                    <a:pos x="connsiteX3" y="connsiteY3"/>
                  </a:cxn>
                </a:cxnLst>
                <a:rect l="l" t="t" r="r" b="b"/>
                <a:pathLst>
                  <a:path w="21725" h="48518">
                    <a:moveTo>
                      <a:pt x="12141" y="0"/>
                    </a:moveTo>
                    <a:lnTo>
                      <a:pt x="10224" y="0"/>
                    </a:lnTo>
                    <a:lnTo>
                      <a:pt x="0" y="48518"/>
                    </a:lnTo>
                    <a:lnTo>
                      <a:pt x="21726" y="48518"/>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3" name="Graphic 4">
                <a:extLst>
                  <a:ext uri="{FF2B5EF4-FFF2-40B4-BE49-F238E27FC236}">
                    <a16:creationId xmlns:a16="http://schemas.microsoft.com/office/drawing/2014/main" id="{CF1B55A5-CB16-26C0-7D3B-B2758728D588}"/>
                  </a:ext>
                </a:extLst>
              </p:cNvPr>
              <p:cNvSpPr/>
              <p:nvPr/>
            </p:nvSpPr>
            <p:spPr>
              <a:xfrm>
                <a:off x="4046108" y="189301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82435 w 361670"/>
                  <a:gd name="connsiteY5" fmla="*/ 97675 h 361333"/>
                  <a:gd name="connsiteX6" fmla="*/ 300966 w 361670"/>
                  <a:gd name="connsiteY6" fmla="*/ 116189 h 361333"/>
                  <a:gd name="connsiteX7" fmla="*/ 282435 w 361670"/>
                  <a:gd name="connsiteY7" fmla="*/ 134702 h 361333"/>
                  <a:gd name="connsiteX8" fmla="*/ 263904 w 361670"/>
                  <a:gd name="connsiteY8" fmla="*/ 116189 h 361333"/>
                  <a:gd name="connsiteX9" fmla="*/ 282435 w 361670"/>
                  <a:gd name="connsiteY9" fmla="*/ 97675 h 361333"/>
                  <a:gd name="connsiteX10" fmla="*/ 182752 w 361670"/>
                  <a:gd name="connsiteY10" fmla="*/ 97675 h 361333"/>
                  <a:gd name="connsiteX11" fmla="*/ 201283 w 361670"/>
                  <a:gd name="connsiteY11" fmla="*/ 116189 h 361333"/>
                  <a:gd name="connsiteX12" fmla="*/ 182752 w 361670"/>
                  <a:gd name="connsiteY12" fmla="*/ 134702 h 361333"/>
                  <a:gd name="connsiteX13" fmla="*/ 164221 w 361670"/>
                  <a:gd name="connsiteY13" fmla="*/ 116189 h 361333"/>
                  <a:gd name="connsiteX14" fmla="*/ 182752 w 361670"/>
                  <a:gd name="connsiteY14" fmla="*/ 97675 h 361333"/>
                  <a:gd name="connsiteX15" fmla="*/ 82430 w 361670"/>
                  <a:gd name="connsiteY15" fmla="*/ 97675 h 361333"/>
                  <a:gd name="connsiteX16" fmla="*/ 100961 w 361670"/>
                  <a:gd name="connsiteY16" fmla="*/ 116189 h 361333"/>
                  <a:gd name="connsiteX17" fmla="*/ 82430 w 361670"/>
                  <a:gd name="connsiteY17" fmla="*/ 134702 h 361333"/>
                  <a:gd name="connsiteX18" fmla="*/ 63899 w 361670"/>
                  <a:gd name="connsiteY18" fmla="*/ 116189 h 361333"/>
                  <a:gd name="connsiteX19" fmla="*/ 82430 w 361670"/>
                  <a:gd name="connsiteY19" fmla="*/ 97675 h 361333"/>
                  <a:gd name="connsiteX20" fmla="*/ 35145 w 361670"/>
                  <a:gd name="connsiteY20" fmla="*/ 196627 h 361333"/>
                  <a:gd name="connsiteX21" fmla="*/ 30033 w 361670"/>
                  <a:gd name="connsiteY21" fmla="*/ 199180 h 361333"/>
                  <a:gd name="connsiteX22" fmla="*/ 26199 w 361670"/>
                  <a:gd name="connsiteY22" fmla="*/ 197903 h 361333"/>
                  <a:gd name="connsiteX23" fmla="*/ 24921 w 361670"/>
                  <a:gd name="connsiteY23" fmla="*/ 188966 h 361333"/>
                  <a:gd name="connsiteX24" fmla="*/ 53036 w 361670"/>
                  <a:gd name="connsiteY24" fmla="*/ 149385 h 361333"/>
                  <a:gd name="connsiteX25" fmla="*/ 61982 w 361670"/>
                  <a:gd name="connsiteY25" fmla="*/ 148108 h 361333"/>
                  <a:gd name="connsiteX26" fmla="*/ 63260 w 361670"/>
                  <a:gd name="connsiteY26" fmla="*/ 157046 h 361333"/>
                  <a:gd name="connsiteX27" fmla="*/ 35145 w 361670"/>
                  <a:gd name="connsiteY27" fmla="*/ 196627 h 361333"/>
                  <a:gd name="connsiteX28" fmla="*/ 106073 w 361670"/>
                  <a:gd name="connsiteY28" fmla="*/ 217694 h 361333"/>
                  <a:gd name="connsiteX29" fmla="*/ 100961 w 361670"/>
                  <a:gd name="connsiteY29" fmla="*/ 220247 h 361333"/>
                  <a:gd name="connsiteX30" fmla="*/ 100961 w 361670"/>
                  <a:gd name="connsiteY30" fmla="*/ 266851 h 361333"/>
                  <a:gd name="connsiteX31" fmla="*/ 94571 w 361670"/>
                  <a:gd name="connsiteY31" fmla="*/ 273235 h 361333"/>
                  <a:gd name="connsiteX32" fmla="*/ 88181 w 361670"/>
                  <a:gd name="connsiteY32" fmla="*/ 266851 h 361333"/>
                  <a:gd name="connsiteX33" fmla="*/ 88181 w 361670"/>
                  <a:gd name="connsiteY33" fmla="*/ 220247 h 361333"/>
                  <a:gd name="connsiteX34" fmla="*/ 76040 w 361670"/>
                  <a:gd name="connsiteY34" fmla="*/ 220247 h 361333"/>
                  <a:gd name="connsiteX35" fmla="*/ 76040 w 361670"/>
                  <a:gd name="connsiteY35" fmla="*/ 266851 h 361333"/>
                  <a:gd name="connsiteX36" fmla="*/ 69650 w 361670"/>
                  <a:gd name="connsiteY36" fmla="*/ 273235 h 361333"/>
                  <a:gd name="connsiteX37" fmla="*/ 63260 w 361670"/>
                  <a:gd name="connsiteY37" fmla="*/ 266851 h 361333"/>
                  <a:gd name="connsiteX38" fmla="*/ 63260 w 361670"/>
                  <a:gd name="connsiteY38" fmla="*/ 220247 h 361333"/>
                  <a:gd name="connsiteX39" fmla="*/ 58148 w 361670"/>
                  <a:gd name="connsiteY39" fmla="*/ 217694 h 361333"/>
                  <a:gd name="connsiteX40" fmla="*/ 56870 w 361670"/>
                  <a:gd name="connsiteY40" fmla="*/ 212587 h 361333"/>
                  <a:gd name="connsiteX41" fmla="*/ 69650 w 361670"/>
                  <a:gd name="connsiteY41" fmla="*/ 151300 h 361333"/>
                  <a:gd name="connsiteX42" fmla="*/ 76040 w 361670"/>
                  <a:gd name="connsiteY42" fmla="*/ 146193 h 361333"/>
                  <a:gd name="connsiteX43" fmla="*/ 88181 w 361670"/>
                  <a:gd name="connsiteY43" fmla="*/ 146193 h 361333"/>
                  <a:gd name="connsiteX44" fmla="*/ 94571 w 361670"/>
                  <a:gd name="connsiteY44" fmla="*/ 151300 h 361333"/>
                  <a:gd name="connsiteX45" fmla="*/ 107351 w 361670"/>
                  <a:gd name="connsiteY45" fmla="*/ 212587 h 361333"/>
                  <a:gd name="connsiteX46" fmla="*/ 106073 w 361670"/>
                  <a:gd name="connsiteY46" fmla="*/ 217694 h 361333"/>
                  <a:gd name="connsiteX47" fmla="*/ 154637 w 361670"/>
                  <a:gd name="connsiteY47" fmla="*/ 148108 h 361333"/>
                  <a:gd name="connsiteX48" fmla="*/ 132911 w 361670"/>
                  <a:gd name="connsiteY48" fmla="*/ 104697 h 361333"/>
                  <a:gd name="connsiteX49" fmla="*/ 111185 w 361670"/>
                  <a:gd name="connsiteY49" fmla="*/ 148108 h 361333"/>
                  <a:gd name="connsiteX50" fmla="*/ 105434 w 361670"/>
                  <a:gd name="connsiteY50" fmla="*/ 151939 h 361333"/>
                  <a:gd name="connsiteX51" fmla="*/ 102878 w 361670"/>
                  <a:gd name="connsiteY51" fmla="*/ 151300 h 361333"/>
                  <a:gd name="connsiteX52" fmla="*/ 100322 w 361670"/>
                  <a:gd name="connsiteY52" fmla="*/ 143001 h 361333"/>
                  <a:gd name="connsiteX53" fmla="*/ 127799 w 361670"/>
                  <a:gd name="connsiteY53" fmla="*/ 88099 h 361333"/>
                  <a:gd name="connsiteX54" fmla="*/ 128438 w 361670"/>
                  <a:gd name="connsiteY54" fmla="*/ 87461 h 361333"/>
                  <a:gd name="connsiteX55" fmla="*/ 129077 w 361670"/>
                  <a:gd name="connsiteY55" fmla="*/ 86184 h 361333"/>
                  <a:gd name="connsiteX56" fmla="*/ 130354 w 361670"/>
                  <a:gd name="connsiteY56" fmla="*/ 85545 h 361333"/>
                  <a:gd name="connsiteX57" fmla="*/ 130994 w 361670"/>
                  <a:gd name="connsiteY57" fmla="*/ 84907 h 361333"/>
                  <a:gd name="connsiteX58" fmla="*/ 131633 w 361670"/>
                  <a:gd name="connsiteY58" fmla="*/ 84907 h 361333"/>
                  <a:gd name="connsiteX59" fmla="*/ 132911 w 361670"/>
                  <a:gd name="connsiteY59" fmla="*/ 84269 h 361333"/>
                  <a:gd name="connsiteX60" fmla="*/ 134189 w 361670"/>
                  <a:gd name="connsiteY60" fmla="*/ 84269 h 361333"/>
                  <a:gd name="connsiteX61" fmla="*/ 135467 w 361670"/>
                  <a:gd name="connsiteY61" fmla="*/ 84269 h 361333"/>
                  <a:gd name="connsiteX62" fmla="*/ 136744 w 361670"/>
                  <a:gd name="connsiteY62" fmla="*/ 84907 h 361333"/>
                  <a:gd name="connsiteX63" fmla="*/ 137384 w 361670"/>
                  <a:gd name="connsiteY63" fmla="*/ 84907 h 361333"/>
                  <a:gd name="connsiteX64" fmla="*/ 138022 w 361670"/>
                  <a:gd name="connsiteY64" fmla="*/ 85545 h 361333"/>
                  <a:gd name="connsiteX65" fmla="*/ 139301 w 361670"/>
                  <a:gd name="connsiteY65" fmla="*/ 86184 h 361333"/>
                  <a:gd name="connsiteX66" fmla="*/ 139939 w 361670"/>
                  <a:gd name="connsiteY66" fmla="*/ 87461 h 361333"/>
                  <a:gd name="connsiteX67" fmla="*/ 140579 w 361670"/>
                  <a:gd name="connsiteY67" fmla="*/ 88099 h 361333"/>
                  <a:gd name="connsiteX68" fmla="*/ 168055 w 361670"/>
                  <a:gd name="connsiteY68" fmla="*/ 143001 h 361333"/>
                  <a:gd name="connsiteX69" fmla="*/ 165499 w 361670"/>
                  <a:gd name="connsiteY69" fmla="*/ 151300 h 361333"/>
                  <a:gd name="connsiteX70" fmla="*/ 162943 w 361670"/>
                  <a:gd name="connsiteY70" fmla="*/ 151939 h 361333"/>
                  <a:gd name="connsiteX71" fmla="*/ 154637 w 361670"/>
                  <a:gd name="connsiteY71" fmla="*/ 148108 h 361333"/>
                  <a:gd name="connsiteX72" fmla="*/ 207034 w 361670"/>
                  <a:gd name="connsiteY72" fmla="*/ 217694 h 361333"/>
                  <a:gd name="connsiteX73" fmla="*/ 201922 w 361670"/>
                  <a:gd name="connsiteY73" fmla="*/ 220247 h 361333"/>
                  <a:gd name="connsiteX74" fmla="*/ 201922 w 361670"/>
                  <a:gd name="connsiteY74" fmla="*/ 266851 h 361333"/>
                  <a:gd name="connsiteX75" fmla="*/ 195532 w 361670"/>
                  <a:gd name="connsiteY75" fmla="*/ 273235 h 361333"/>
                  <a:gd name="connsiteX76" fmla="*/ 189142 w 361670"/>
                  <a:gd name="connsiteY76" fmla="*/ 266851 h 361333"/>
                  <a:gd name="connsiteX77" fmla="*/ 189142 w 361670"/>
                  <a:gd name="connsiteY77" fmla="*/ 220247 h 361333"/>
                  <a:gd name="connsiteX78" fmla="*/ 177001 w 361670"/>
                  <a:gd name="connsiteY78" fmla="*/ 220247 h 361333"/>
                  <a:gd name="connsiteX79" fmla="*/ 177001 w 361670"/>
                  <a:gd name="connsiteY79" fmla="*/ 266851 h 361333"/>
                  <a:gd name="connsiteX80" fmla="*/ 170611 w 361670"/>
                  <a:gd name="connsiteY80" fmla="*/ 273235 h 361333"/>
                  <a:gd name="connsiteX81" fmla="*/ 164221 w 361670"/>
                  <a:gd name="connsiteY81" fmla="*/ 266851 h 361333"/>
                  <a:gd name="connsiteX82" fmla="*/ 164221 w 361670"/>
                  <a:gd name="connsiteY82" fmla="*/ 220247 h 361333"/>
                  <a:gd name="connsiteX83" fmla="*/ 159109 w 361670"/>
                  <a:gd name="connsiteY83" fmla="*/ 217694 h 361333"/>
                  <a:gd name="connsiteX84" fmla="*/ 157832 w 361670"/>
                  <a:gd name="connsiteY84" fmla="*/ 212587 h 361333"/>
                  <a:gd name="connsiteX85" fmla="*/ 170611 w 361670"/>
                  <a:gd name="connsiteY85" fmla="*/ 151300 h 361333"/>
                  <a:gd name="connsiteX86" fmla="*/ 177001 w 361670"/>
                  <a:gd name="connsiteY86" fmla="*/ 146193 h 361333"/>
                  <a:gd name="connsiteX87" fmla="*/ 189142 w 361670"/>
                  <a:gd name="connsiteY87" fmla="*/ 146193 h 361333"/>
                  <a:gd name="connsiteX88" fmla="*/ 195532 w 361670"/>
                  <a:gd name="connsiteY88" fmla="*/ 151300 h 361333"/>
                  <a:gd name="connsiteX89" fmla="*/ 208312 w 361670"/>
                  <a:gd name="connsiteY89" fmla="*/ 212587 h 361333"/>
                  <a:gd name="connsiteX90" fmla="*/ 207034 w 361670"/>
                  <a:gd name="connsiteY90" fmla="*/ 217694 h 361333"/>
                  <a:gd name="connsiteX91" fmla="*/ 254958 w 361670"/>
                  <a:gd name="connsiteY91" fmla="*/ 148108 h 361333"/>
                  <a:gd name="connsiteX92" fmla="*/ 233233 w 361670"/>
                  <a:gd name="connsiteY92" fmla="*/ 104697 h 361333"/>
                  <a:gd name="connsiteX93" fmla="*/ 211507 w 361670"/>
                  <a:gd name="connsiteY93" fmla="*/ 148108 h 361333"/>
                  <a:gd name="connsiteX94" fmla="*/ 205756 w 361670"/>
                  <a:gd name="connsiteY94" fmla="*/ 151939 h 361333"/>
                  <a:gd name="connsiteX95" fmla="*/ 203200 w 361670"/>
                  <a:gd name="connsiteY95" fmla="*/ 151300 h 361333"/>
                  <a:gd name="connsiteX96" fmla="*/ 200644 w 361670"/>
                  <a:gd name="connsiteY96" fmla="*/ 143001 h 361333"/>
                  <a:gd name="connsiteX97" fmla="*/ 228121 w 361670"/>
                  <a:gd name="connsiteY97" fmla="*/ 88099 h 361333"/>
                  <a:gd name="connsiteX98" fmla="*/ 228760 w 361670"/>
                  <a:gd name="connsiteY98" fmla="*/ 87461 h 361333"/>
                  <a:gd name="connsiteX99" fmla="*/ 229399 w 361670"/>
                  <a:gd name="connsiteY99" fmla="*/ 86184 h 361333"/>
                  <a:gd name="connsiteX100" fmla="*/ 230677 w 361670"/>
                  <a:gd name="connsiteY100" fmla="*/ 85545 h 361333"/>
                  <a:gd name="connsiteX101" fmla="*/ 231316 w 361670"/>
                  <a:gd name="connsiteY101" fmla="*/ 84907 h 361333"/>
                  <a:gd name="connsiteX102" fmla="*/ 231955 w 361670"/>
                  <a:gd name="connsiteY102" fmla="*/ 84907 h 361333"/>
                  <a:gd name="connsiteX103" fmla="*/ 233233 w 361670"/>
                  <a:gd name="connsiteY103" fmla="*/ 84269 h 361333"/>
                  <a:gd name="connsiteX104" fmla="*/ 234511 w 361670"/>
                  <a:gd name="connsiteY104" fmla="*/ 84269 h 361333"/>
                  <a:gd name="connsiteX105" fmla="*/ 235788 w 361670"/>
                  <a:gd name="connsiteY105" fmla="*/ 84269 h 361333"/>
                  <a:gd name="connsiteX106" fmla="*/ 237067 w 361670"/>
                  <a:gd name="connsiteY106" fmla="*/ 84907 h 361333"/>
                  <a:gd name="connsiteX107" fmla="*/ 237706 w 361670"/>
                  <a:gd name="connsiteY107" fmla="*/ 84907 h 361333"/>
                  <a:gd name="connsiteX108" fmla="*/ 238345 w 361670"/>
                  <a:gd name="connsiteY108" fmla="*/ 85545 h 361333"/>
                  <a:gd name="connsiteX109" fmla="*/ 239623 w 361670"/>
                  <a:gd name="connsiteY109" fmla="*/ 86184 h 361333"/>
                  <a:gd name="connsiteX110" fmla="*/ 240261 w 361670"/>
                  <a:gd name="connsiteY110" fmla="*/ 87461 h 361333"/>
                  <a:gd name="connsiteX111" fmla="*/ 240901 w 361670"/>
                  <a:gd name="connsiteY111" fmla="*/ 88099 h 361333"/>
                  <a:gd name="connsiteX112" fmla="*/ 268377 w 361670"/>
                  <a:gd name="connsiteY112" fmla="*/ 143001 h 361333"/>
                  <a:gd name="connsiteX113" fmla="*/ 265821 w 361670"/>
                  <a:gd name="connsiteY113" fmla="*/ 151300 h 361333"/>
                  <a:gd name="connsiteX114" fmla="*/ 263266 w 361670"/>
                  <a:gd name="connsiteY114" fmla="*/ 151939 h 361333"/>
                  <a:gd name="connsiteX115" fmla="*/ 254958 w 361670"/>
                  <a:gd name="connsiteY115" fmla="*/ 148108 h 361333"/>
                  <a:gd name="connsiteX116" fmla="*/ 306078 w 361670"/>
                  <a:gd name="connsiteY116" fmla="*/ 217694 h 361333"/>
                  <a:gd name="connsiteX117" fmla="*/ 300966 w 361670"/>
                  <a:gd name="connsiteY117" fmla="*/ 220247 h 361333"/>
                  <a:gd name="connsiteX118" fmla="*/ 300966 w 361670"/>
                  <a:gd name="connsiteY118" fmla="*/ 266851 h 361333"/>
                  <a:gd name="connsiteX119" fmla="*/ 294576 w 361670"/>
                  <a:gd name="connsiteY119" fmla="*/ 273235 h 361333"/>
                  <a:gd name="connsiteX120" fmla="*/ 288186 w 361670"/>
                  <a:gd name="connsiteY120" fmla="*/ 266851 h 361333"/>
                  <a:gd name="connsiteX121" fmla="*/ 288186 w 361670"/>
                  <a:gd name="connsiteY121" fmla="*/ 220247 h 361333"/>
                  <a:gd name="connsiteX122" fmla="*/ 276045 w 361670"/>
                  <a:gd name="connsiteY122" fmla="*/ 220247 h 361333"/>
                  <a:gd name="connsiteX123" fmla="*/ 276045 w 361670"/>
                  <a:gd name="connsiteY123" fmla="*/ 266851 h 361333"/>
                  <a:gd name="connsiteX124" fmla="*/ 269655 w 361670"/>
                  <a:gd name="connsiteY124" fmla="*/ 273235 h 361333"/>
                  <a:gd name="connsiteX125" fmla="*/ 263266 w 361670"/>
                  <a:gd name="connsiteY125" fmla="*/ 266851 h 361333"/>
                  <a:gd name="connsiteX126" fmla="*/ 263266 w 361670"/>
                  <a:gd name="connsiteY126" fmla="*/ 220247 h 361333"/>
                  <a:gd name="connsiteX127" fmla="*/ 258153 w 361670"/>
                  <a:gd name="connsiteY127" fmla="*/ 217694 h 361333"/>
                  <a:gd name="connsiteX128" fmla="*/ 256876 w 361670"/>
                  <a:gd name="connsiteY128" fmla="*/ 212587 h 361333"/>
                  <a:gd name="connsiteX129" fmla="*/ 269655 w 361670"/>
                  <a:gd name="connsiteY129" fmla="*/ 151300 h 361333"/>
                  <a:gd name="connsiteX130" fmla="*/ 276045 w 361670"/>
                  <a:gd name="connsiteY130" fmla="*/ 146193 h 361333"/>
                  <a:gd name="connsiteX131" fmla="*/ 288186 w 361670"/>
                  <a:gd name="connsiteY131" fmla="*/ 146193 h 361333"/>
                  <a:gd name="connsiteX132" fmla="*/ 294576 w 361670"/>
                  <a:gd name="connsiteY132" fmla="*/ 151300 h 361333"/>
                  <a:gd name="connsiteX133" fmla="*/ 307356 w 361670"/>
                  <a:gd name="connsiteY133" fmla="*/ 212587 h 361333"/>
                  <a:gd name="connsiteX134" fmla="*/ 306078 w 361670"/>
                  <a:gd name="connsiteY134" fmla="*/ 217694 h 361333"/>
                  <a:gd name="connsiteX135" fmla="*/ 334832 w 361670"/>
                  <a:gd name="connsiteY135" fmla="*/ 199180 h 361333"/>
                  <a:gd name="connsiteX136" fmla="*/ 329721 w 361670"/>
                  <a:gd name="connsiteY136" fmla="*/ 196627 h 361333"/>
                  <a:gd name="connsiteX137" fmla="*/ 301605 w 361670"/>
                  <a:gd name="connsiteY137" fmla="*/ 157046 h 361333"/>
                  <a:gd name="connsiteX138" fmla="*/ 302883 w 361670"/>
                  <a:gd name="connsiteY138" fmla="*/ 148108 h 361333"/>
                  <a:gd name="connsiteX139" fmla="*/ 311829 w 361670"/>
                  <a:gd name="connsiteY139" fmla="*/ 149385 h 361333"/>
                  <a:gd name="connsiteX140" fmla="*/ 339945 w 361670"/>
                  <a:gd name="connsiteY140" fmla="*/ 188966 h 361333"/>
                  <a:gd name="connsiteX141" fmla="*/ 338667 w 361670"/>
                  <a:gd name="connsiteY141" fmla="*/ 197903 h 361333"/>
                  <a:gd name="connsiteX142" fmla="*/ 334832 w 361670"/>
                  <a:gd name="connsiteY142" fmla="*/ 19918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282435" y="97675"/>
                    </a:moveTo>
                    <a:cubicBezTo>
                      <a:pt x="292659" y="97675"/>
                      <a:pt x="300966" y="105974"/>
                      <a:pt x="300966" y="116189"/>
                    </a:cubicBezTo>
                    <a:cubicBezTo>
                      <a:pt x="300966" y="126403"/>
                      <a:pt x="292659" y="134702"/>
                      <a:pt x="282435" y="134702"/>
                    </a:cubicBezTo>
                    <a:cubicBezTo>
                      <a:pt x="272211" y="134702"/>
                      <a:pt x="263904" y="126403"/>
                      <a:pt x="263904" y="116189"/>
                    </a:cubicBezTo>
                    <a:cubicBezTo>
                      <a:pt x="263904" y="105974"/>
                      <a:pt x="272211" y="97675"/>
                      <a:pt x="282435" y="97675"/>
                    </a:cubicBezTo>
                    <a:close/>
                    <a:moveTo>
                      <a:pt x="182752" y="97675"/>
                    </a:moveTo>
                    <a:cubicBezTo>
                      <a:pt x="192976" y="97675"/>
                      <a:pt x="201283" y="105974"/>
                      <a:pt x="201283" y="116189"/>
                    </a:cubicBezTo>
                    <a:cubicBezTo>
                      <a:pt x="201283" y="126403"/>
                      <a:pt x="192976" y="134702"/>
                      <a:pt x="182752" y="134702"/>
                    </a:cubicBezTo>
                    <a:cubicBezTo>
                      <a:pt x="172528" y="134702"/>
                      <a:pt x="164221" y="126403"/>
                      <a:pt x="164221" y="116189"/>
                    </a:cubicBezTo>
                    <a:cubicBezTo>
                      <a:pt x="164860" y="105974"/>
                      <a:pt x="172528" y="97675"/>
                      <a:pt x="182752" y="97675"/>
                    </a:cubicBezTo>
                    <a:close/>
                    <a:moveTo>
                      <a:pt x="82430" y="97675"/>
                    </a:moveTo>
                    <a:cubicBezTo>
                      <a:pt x="92654" y="97675"/>
                      <a:pt x="100961" y="105974"/>
                      <a:pt x="100961" y="116189"/>
                    </a:cubicBezTo>
                    <a:cubicBezTo>
                      <a:pt x="100961" y="126403"/>
                      <a:pt x="92654" y="134702"/>
                      <a:pt x="82430" y="134702"/>
                    </a:cubicBezTo>
                    <a:cubicBezTo>
                      <a:pt x="72206" y="134702"/>
                      <a:pt x="63899" y="126403"/>
                      <a:pt x="63899" y="116189"/>
                    </a:cubicBezTo>
                    <a:cubicBezTo>
                      <a:pt x="63899" y="105974"/>
                      <a:pt x="72206" y="97675"/>
                      <a:pt x="82430" y="97675"/>
                    </a:cubicBezTo>
                    <a:close/>
                    <a:moveTo>
                      <a:pt x="35145" y="196627"/>
                    </a:moveTo>
                    <a:cubicBezTo>
                      <a:pt x="33867" y="198542"/>
                      <a:pt x="31950" y="199180"/>
                      <a:pt x="30033" y="199180"/>
                    </a:cubicBezTo>
                    <a:cubicBezTo>
                      <a:pt x="28755" y="199180"/>
                      <a:pt x="27477" y="198542"/>
                      <a:pt x="26199" y="197903"/>
                    </a:cubicBezTo>
                    <a:cubicBezTo>
                      <a:pt x="23004" y="195988"/>
                      <a:pt x="22365" y="192158"/>
                      <a:pt x="24921" y="188966"/>
                    </a:cubicBezTo>
                    <a:lnTo>
                      <a:pt x="53036" y="149385"/>
                    </a:lnTo>
                    <a:cubicBezTo>
                      <a:pt x="54953" y="146193"/>
                      <a:pt x="58788" y="145555"/>
                      <a:pt x="61982" y="148108"/>
                    </a:cubicBezTo>
                    <a:cubicBezTo>
                      <a:pt x="65177" y="150024"/>
                      <a:pt x="65816" y="153854"/>
                      <a:pt x="63260" y="157046"/>
                    </a:cubicBezTo>
                    <a:lnTo>
                      <a:pt x="35145" y="196627"/>
                    </a:lnTo>
                    <a:close/>
                    <a:moveTo>
                      <a:pt x="106073" y="217694"/>
                    </a:moveTo>
                    <a:cubicBezTo>
                      <a:pt x="104795" y="218971"/>
                      <a:pt x="102878" y="220247"/>
                      <a:pt x="100961" y="220247"/>
                    </a:cubicBezTo>
                    <a:lnTo>
                      <a:pt x="100961" y="266851"/>
                    </a:lnTo>
                    <a:cubicBezTo>
                      <a:pt x="100961" y="270681"/>
                      <a:pt x="98405" y="273235"/>
                      <a:pt x="94571" y="273235"/>
                    </a:cubicBezTo>
                    <a:cubicBezTo>
                      <a:pt x="90737" y="273235"/>
                      <a:pt x="88181" y="270681"/>
                      <a:pt x="88181" y="266851"/>
                    </a:cubicBezTo>
                    <a:lnTo>
                      <a:pt x="88181" y="220247"/>
                    </a:lnTo>
                    <a:lnTo>
                      <a:pt x="76040" y="220247"/>
                    </a:lnTo>
                    <a:lnTo>
                      <a:pt x="76040" y="266851"/>
                    </a:lnTo>
                    <a:cubicBezTo>
                      <a:pt x="76040" y="270681"/>
                      <a:pt x="73484" y="273235"/>
                      <a:pt x="69650" y="273235"/>
                    </a:cubicBezTo>
                    <a:cubicBezTo>
                      <a:pt x="65816" y="273235"/>
                      <a:pt x="63260" y="270681"/>
                      <a:pt x="63260" y="266851"/>
                    </a:cubicBezTo>
                    <a:lnTo>
                      <a:pt x="63260" y="220247"/>
                    </a:lnTo>
                    <a:cubicBezTo>
                      <a:pt x="61343" y="220247"/>
                      <a:pt x="59426" y="219609"/>
                      <a:pt x="58148" y="217694"/>
                    </a:cubicBezTo>
                    <a:cubicBezTo>
                      <a:pt x="56870" y="216417"/>
                      <a:pt x="56231" y="214502"/>
                      <a:pt x="56870" y="212587"/>
                    </a:cubicBezTo>
                    <a:lnTo>
                      <a:pt x="69650" y="151300"/>
                    </a:lnTo>
                    <a:cubicBezTo>
                      <a:pt x="70289" y="148108"/>
                      <a:pt x="72845" y="146193"/>
                      <a:pt x="76040" y="146193"/>
                    </a:cubicBezTo>
                    <a:lnTo>
                      <a:pt x="88181" y="146193"/>
                    </a:lnTo>
                    <a:cubicBezTo>
                      <a:pt x="91376" y="146193"/>
                      <a:pt x="93932" y="148108"/>
                      <a:pt x="94571" y="151300"/>
                    </a:cubicBezTo>
                    <a:lnTo>
                      <a:pt x="107351" y="212587"/>
                    </a:lnTo>
                    <a:cubicBezTo>
                      <a:pt x="107990" y="214502"/>
                      <a:pt x="107351" y="216417"/>
                      <a:pt x="106073" y="217694"/>
                    </a:cubicBezTo>
                    <a:close/>
                    <a:moveTo>
                      <a:pt x="154637" y="148108"/>
                    </a:moveTo>
                    <a:lnTo>
                      <a:pt x="132911" y="104697"/>
                    </a:lnTo>
                    <a:lnTo>
                      <a:pt x="111185" y="148108"/>
                    </a:lnTo>
                    <a:cubicBezTo>
                      <a:pt x="109907" y="150662"/>
                      <a:pt x="107990" y="151939"/>
                      <a:pt x="105434" y="151939"/>
                    </a:cubicBezTo>
                    <a:cubicBezTo>
                      <a:pt x="104156" y="151939"/>
                      <a:pt x="103517" y="151939"/>
                      <a:pt x="102878" y="151300"/>
                    </a:cubicBezTo>
                    <a:cubicBezTo>
                      <a:pt x="99683" y="150024"/>
                      <a:pt x="98405" y="146193"/>
                      <a:pt x="100322" y="143001"/>
                    </a:cubicBezTo>
                    <a:lnTo>
                      <a:pt x="127799" y="88099"/>
                    </a:lnTo>
                    <a:cubicBezTo>
                      <a:pt x="127799" y="88099"/>
                      <a:pt x="127799" y="87461"/>
                      <a:pt x="128438" y="87461"/>
                    </a:cubicBezTo>
                    <a:cubicBezTo>
                      <a:pt x="128438" y="86822"/>
                      <a:pt x="129077" y="86822"/>
                      <a:pt x="129077" y="86184"/>
                    </a:cubicBezTo>
                    <a:cubicBezTo>
                      <a:pt x="129077" y="86184"/>
                      <a:pt x="129716" y="85545"/>
                      <a:pt x="130354" y="85545"/>
                    </a:cubicBezTo>
                    <a:cubicBezTo>
                      <a:pt x="130354" y="85545"/>
                      <a:pt x="130994" y="84907"/>
                      <a:pt x="130994" y="84907"/>
                    </a:cubicBezTo>
                    <a:cubicBezTo>
                      <a:pt x="130994" y="84907"/>
                      <a:pt x="130994" y="84907"/>
                      <a:pt x="131633" y="84907"/>
                    </a:cubicBezTo>
                    <a:cubicBezTo>
                      <a:pt x="132272" y="84907"/>
                      <a:pt x="132272" y="84907"/>
                      <a:pt x="132911" y="84269"/>
                    </a:cubicBezTo>
                    <a:cubicBezTo>
                      <a:pt x="133549" y="84269"/>
                      <a:pt x="133549" y="84269"/>
                      <a:pt x="134189" y="84269"/>
                    </a:cubicBezTo>
                    <a:cubicBezTo>
                      <a:pt x="134828" y="84269"/>
                      <a:pt x="134828" y="84269"/>
                      <a:pt x="135467" y="84269"/>
                    </a:cubicBezTo>
                    <a:cubicBezTo>
                      <a:pt x="136106" y="84269"/>
                      <a:pt x="136106" y="84269"/>
                      <a:pt x="136744" y="84907"/>
                    </a:cubicBezTo>
                    <a:cubicBezTo>
                      <a:pt x="136744" y="84907"/>
                      <a:pt x="136744" y="84907"/>
                      <a:pt x="137384" y="84907"/>
                    </a:cubicBezTo>
                    <a:cubicBezTo>
                      <a:pt x="137384" y="84907"/>
                      <a:pt x="138022" y="85545"/>
                      <a:pt x="138022" y="85545"/>
                    </a:cubicBezTo>
                    <a:cubicBezTo>
                      <a:pt x="138662" y="85545"/>
                      <a:pt x="138662" y="86184"/>
                      <a:pt x="139301" y="86184"/>
                    </a:cubicBezTo>
                    <a:cubicBezTo>
                      <a:pt x="139301" y="86184"/>
                      <a:pt x="139939" y="86822"/>
                      <a:pt x="139939" y="87461"/>
                    </a:cubicBezTo>
                    <a:cubicBezTo>
                      <a:pt x="139939" y="87461"/>
                      <a:pt x="140579" y="88099"/>
                      <a:pt x="140579" y="88099"/>
                    </a:cubicBezTo>
                    <a:lnTo>
                      <a:pt x="168055" y="143001"/>
                    </a:lnTo>
                    <a:cubicBezTo>
                      <a:pt x="169333" y="146193"/>
                      <a:pt x="168055" y="150024"/>
                      <a:pt x="165499" y="151300"/>
                    </a:cubicBezTo>
                    <a:cubicBezTo>
                      <a:pt x="164860" y="151939"/>
                      <a:pt x="163582" y="151939"/>
                      <a:pt x="162943" y="151939"/>
                    </a:cubicBezTo>
                    <a:cubicBezTo>
                      <a:pt x="157832" y="151939"/>
                      <a:pt x="155914" y="150662"/>
                      <a:pt x="154637" y="148108"/>
                    </a:cubicBezTo>
                    <a:close/>
                    <a:moveTo>
                      <a:pt x="207034" y="217694"/>
                    </a:moveTo>
                    <a:cubicBezTo>
                      <a:pt x="205756" y="218971"/>
                      <a:pt x="203839" y="220247"/>
                      <a:pt x="201922" y="220247"/>
                    </a:cubicBezTo>
                    <a:lnTo>
                      <a:pt x="201922" y="266851"/>
                    </a:lnTo>
                    <a:cubicBezTo>
                      <a:pt x="201922" y="270681"/>
                      <a:pt x="199366" y="273235"/>
                      <a:pt x="195532" y="273235"/>
                    </a:cubicBezTo>
                    <a:cubicBezTo>
                      <a:pt x="191698" y="273235"/>
                      <a:pt x="189142" y="270681"/>
                      <a:pt x="189142" y="266851"/>
                    </a:cubicBezTo>
                    <a:lnTo>
                      <a:pt x="189142" y="220247"/>
                    </a:lnTo>
                    <a:lnTo>
                      <a:pt x="177001" y="220247"/>
                    </a:lnTo>
                    <a:lnTo>
                      <a:pt x="177001" y="266851"/>
                    </a:lnTo>
                    <a:cubicBezTo>
                      <a:pt x="177001" y="270681"/>
                      <a:pt x="174445" y="273235"/>
                      <a:pt x="170611" y="273235"/>
                    </a:cubicBezTo>
                    <a:cubicBezTo>
                      <a:pt x="166777" y="273235"/>
                      <a:pt x="164221" y="270681"/>
                      <a:pt x="164221" y="266851"/>
                    </a:cubicBezTo>
                    <a:lnTo>
                      <a:pt x="164221" y="220247"/>
                    </a:lnTo>
                    <a:cubicBezTo>
                      <a:pt x="162304" y="220247"/>
                      <a:pt x="160387" y="219609"/>
                      <a:pt x="159109" y="217694"/>
                    </a:cubicBezTo>
                    <a:cubicBezTo>
                      <a:pt x="157832" y="216417"/>
                      <a:pt x="157192" y="214502"/>
                      <a:pt x="157832" y="212587"/>
                    </a:cubicBezTo>
                    <a:lnTo>
                      <a:pt x="170611" y="151300"/>
                    </a:lnTo>
                    <a:cubicBezTo>
                      <a:pt x="171250" y="148108"/>
                      <a:pt x="173806" y="146193"/>
                      <a:pt x="177001" y="146193"/>
                    </a:cubicBezTo>
                    <a:lnTo>
                      <a:pt x="189142" y="146193"/>
                    </a:lnTo>
                    <a:cubicBezTo>
                      <a:pt x="192337" y="146193"/>
                      <a:pt x="194893" y="148108"/>
                      <a:pt x="195532" y="151300"/>
                    </a:cubicBezTo>
                    <a:lnTo>
                      <a:pt x="208312" y="212587"/>
                    </a:lnTo>
                    <a:cubicBezTo>
                      <a:pt x="208312" y="214502"/>
                      <a:pt x="208312" y="216417"/>
                      <a:pt x="207034" y="217694"/>
                    </a:cubicBezTo>
                    <a:close/>
                    <a:moveTo>
                      <a:pt x="254958" y="148108"/>
                    </a:moveTo>
                    <a:lnTo>
                      <a:pt x="233233" y="104697"/>
                    </a:lnTo>
                    <a:lnTo>
                      <a:pt x="211507" y="148108"/>
                    </a:lnTo>
                    <a:cubicBezTo>
                      <a:pt x="210229" y="150662"/>
                      <a:pt x="208312" y="151939"/>
                      <a:pt x="205756" y="151939"/>
                    </a:cubicBezTo>
                    <a:cubicBezTo>
                      <a:pt x="205117" y="151939"/>
                      <a:pt x="203839" y="151939"/>
                      <a:pt x="203200" y="151300"/>
                    </a:cubicBezTo>
                    <a:cubicBezTo>
                      <a:pt x="200005" y="150024"/>
                      <a:pt x="198727" y="146193"/>
                      <a:pt x="200644" y="143001"/>
                    </a:cubicBezTo>
                    <a:lnTo>
                      <a:pt x="228121" y="88099"/>
                    </a:lnTo>
                    <a:cubicBezTo>
                      <a:pt x="228121" y="88099"/>
                      <a:pt x="228121" y="87461"/>
                      <a:pt x="228760" y="87461"/>
                    </a:cubicBezTo>
                    <a:cubicBezTo>
                      <a:pt x="228760" y="86822"/>
                      <a:pt x="229399" y="86822"/>
                      <a:pt x="229399" y="86184"/>
                    </a:cubicBezTo>
                    <a:cubicBezTo>
                      <a:pt x="229399" y="86184"/>
                      <a:pt x="230038" y="85545"/>
                      <a:pt x="230677" y="85545"/>
                    </a:cubicBezTo>
                    <a:cubicBezTo>
                      <a:pt x="230677" y="85545"/>
                      <a:pt x="231316" y="84907"/>
                      <a:pt x="231316" y="84907"/>
                    </a:cubicBezTo>
                    <a:cubicBezTo>
                      <a:pt x="231316" y="84907"/>
                      <a:pt x="231316" y="84907"/>
                      <a:pt x="231955" y="84907"/>
                    </a:cubicBezTo>
                    <a:cubicBezTo>
                      <a:pt x="232593" y="84907"/>
                      <a:pt x="232593" y="84907"/>
                      <a:pt x="233233" y="84269"/>
                    </a:cubicBezTo>
                    <a:cubicBezTo>
                      <a:pt x="233872" y="84269"/>
                      <a:pt x="233872" y="84269"/>
                      <a:pt x="234511" y="84269"/>
                    </a:cubicBezTo>
                    <a:cubicBezTo>
                      <a:pt x="235150" y="84269"/>
                      <a:pt x="235150" y="84269"/>
                      <a:pt x="235788" y="84269"/>
                    </a:cubicBezTo>
                    <a:cubicBezTo>
                      <a:pt x="236428" y="84269"/>
                      <a:pt x="236428" y="84269"/>
                      <a:pt x="237067" y="84907"/>
                    </a:cubicBezTo>
                    <a:cubicBezTo>
                      <a:pt x="237067" y="84907"/>
                      <a:pt x="237067" y="84907"/>
                      <a:pt x="237706" y="84907"/>
                    </a:cubicBezTo>
                    <a:cubicBezTo>
                      <a:pt x="237706" y="84907"/>
                      <a:pt x="238345" y="85545"/>
                      <a:pt x="238345" y="85545"/>
                    </a:cubicBezTo>
                    <a:cubicBezTo>
                      <a:pt x="238983" y="85545"/>
                      <a:pt x="238983" y="86184"/>
                      <a:pt x="239623" y="86184"/>
                    </a:cubicBezTo>
                    <a:cubicBezTo>
                      <a:pt x="239623" y="86184"/>
                      <a:pt x="240261" y="86822"/>
                      <a:pt x="240261" y="87461"/>
                    </a:cubicBezTo>
                    <a:cubicBezTo>
                      <a:pt x="240261" y="87461"/>
                      <a:pt x="240901" y="88099"/>
                      <a:pt x="240901" y="88099"/>
                    </a:cubicBezTo>
                    <a:lnTo>
                      <a:pt x="268377" y="143001"/>
                    </a:lnTo>
                    <a:cubicBezTo>
                      <a:pt x="269655" y="146193"/>
                      <a:pt x="268377" y="150024"/>
                      <a:pt x="265821" y="151300"/>
                    </a:cubicBezTo>
                    <a:cubicBezTo>
                      <a:pt x="265182" y="151939"/>
                      <a:pt x="263904" y="151939"/>
                      <a:pt x="263266" y="151939"/>
                    </a:cubicBezTo>
                    <a:cubicBezTo>
                      <a:pt x="258153" y="151939"/>
                      <a:pt x="256236" y="150662"/>
                      <a:pt x="254958" y="148108"/>
                    </a:cubicBezTo>
                    <a:close/>
                    <a:moveTo>
                      <a:pt x="306078" y="217694"/>
                    </a:moveTo>
                    <a:cubicBezTo>
                      <a:pt x="304800" y="218971"/>
                      <a:pt x="302883" y="220247"/>
                      <a:pt x="300966" y="220247"/>
                    </a:cubicBezTo>
                    <a:lnTo>
                      <a:pt x="300966" y="266851"/>
                    </a:lnTo>
                    <a:cubicBezTo>
                      <a:pt x="300966" y="270681"/>
                      <a:pt x="298410" y="273235"/>
                      <a:pt x="294576" y="273235"/>
                    </a:cubicBezTo>
                    <a:cubicBezTo>
                      <a:pt x="290742" y="273235"/>
                      <a:pt x="288186" y="270681"/>
                      <a:pt x="288186" y="266851"/>
                    </a:cubicBezTo>
                    <a:lnTo>
                      <a:pt x="288186" y="220247"/>
                    </a:lnTo>
                    <a:lnTo>
                      <a:pt x="276045" y="220247"/>
                    </a:lnTo>
                    <a:lnTo>
                      <a:pt x="276045" y="266851"/>
                    </a:lnTo>
                    <a:cubicBezTo>
                      <a:pt x="276045" y="270681"/>
                      <a:pt x="273489" y="273235"/>
                      <a:pt x="269655" y="273235"/>
                    </a:cubicBezTo>
                    <a:cubicBezTo>
                      <a:pt x="265821" y="273235"/>
                      <a:pt x="263266" y="270681"/>
                      <a:pt x="263266" y="266851"/>
                    </a:cubicBezTo>
                    <a:lnTo>
                      <a:pt x="263266" y="220247"/>
                    </a:lnTo>
                    <a:cubicBezTo>
                      <a:pt x="261348" y="220247"/>
                      <a:pt x="259431" y="219609"/>
                      <a:pt x="258153" y="217694"/>
                    </a:cubicBezTo>
                    <a:cubicBezTo>
                      <a:pt x="256876" y="216417"/>
                      <a:pt x="256236" y="214502"/>
                      <a:pt x="256876" y="212587"/>
                    </a:cubicBezTo>
                    <a:lnTo>
                      <a:pt x="269655" y="151300"/>
                    </a:lnTo>
                    <a:cubicBezTo>
                      <a:pt x="270294" y="148108"/>
                      <a:pt x="272850" y="146193"/>
                      <a:pt x="276045" y="146193"/>
                    </a:cubicBezTo>
                    <a:lnTo>
                      <a:pt x="288186" y="146193"/>
                    </a:lnTo>
                    <a:cubicBezTo>
                      <a:pt x="291381" y="146193"/>
                      <a:pt x="293937" y="148108"/>
                      <a:pt x="294576" y="151300"/>
                    </a:cubicBezTo>
                    <a:lnTo>
                      <a:pt x="307356" y="212587"/>
                    </a:lnTo>
                    <a:cubicBezTo>
                      <a:pt x="307995" y="214502"/>
                      <a:pt x="307356" y="216417"/>
                      <a:pt x="306078" y="217694"/>
                    </a:cubicBezTo>
                    <a:close/>
                    <a:moveTo>
                      <a:pt x="334832" y="199180"/>
                    </a:moveTo>
                    <a:cubicBezTo>
                      <a:pt x="332916" y="199180"/>
                      <a:pt x="330999" y="198542"/>
                      <a:pt x="329721" y="196627"/>
                    </a:cubicBezTo>
                    <a:lnTo>
                      <a:pt x="301605" y="157046"/>
                    </a:lnTo>
                    <a:cubicBezTo>
                      <a:pt x="299688" y="153854"/>
                      <a:pt x="300327" y="150024"/>
                      <a:pt x="302883" y="148108"/>
                    </a:cubicBezTo>
                    <a:cubicBezTo>
                      <a:pt x="306078" y="146193"/>
                      <a:pt x="309912" y="146832"/>
                      <a:pt x="311829" y="149385"/>
                    </a:cubicBezTo>
                    <a:lnTo>
                      <a:pt x="339945" y="188966"/>
                    </a:lnTo>
                    <a:cubicBezTo>
                      <a:pt x="341862" y="192158"/>
                      <a:pt x="341222" y="195988"/>
                      <a:pt x="338667" y="197903"/>
                    </a:cubicBezTo>
                    <a:cubicBezTo>
                      <a:pt x="337389" y="198542"/>
                      <a:pt x="336111" y="199180"/>
                      <a:pt x="334832" y="199180"/>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grpSp>
    </p:spTree>
    <p:extLst>
      <p:ext uri="{BB962C8B-B14F-4D97-AF65-F5344CB8AC3E}">
        <p14:creationId xmlns:p14="http://schemas.microsoft.com/office/powerpoint/2010/main" val="14201908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5C532EC-FF07-F120-62B2-FEB5B0A9AA0C}"/>
              </a:ext>
            </a:extLst>
          </p:cNvPr>
          <p:cNvGrpSpPr/>
          <p:nvPr/>
        </p:nvGrpSpPr>
        <p:grpSpPr>
          <a:xfrm>
            <a:off x="2576285" y="1246414"/>
            <a:ext cx="7064829" cy="4365172"/>
            <a:chOff x="677195" y="947057"/>
            <a:chExt cx="7064829" cy="4365172"/>
          </a:xfrm>
        </p:grpSpPr>
        <p:sp>
          <p:nvSpPr>
            <p:cNvPr id="3" name="Rectangle 2">
              <a:extLst>
                <a:ext uri="{FF2B5EF4-FFF2-40B4-BE49-F238E27FC236}">
                  <a16:creationId xmlns:a16="http://schemas.microsoft.com/office/drawing/2014/main" id="{F5F1D834-11FC-5627-BD85-BE4014834302}"/>
                </a:ext>
              </a:extLst>
            </p:cNvPr>
            <p:cNvSpPr/>
            <p:nvPr/>
          </p:nvSpPr>
          <p:spPr bwMode="gray">
            <a:xfrm>
              <a:off x="677195" y="947057"/>
              <a:ext cx="7064829" cy="4365172"/>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Light"/>
              </a:endParaRPr>
            </a:p>
          </p:txBody>
        </p:sp>
        <p:sp>
          <p:nvSpPr>
            <p:cNvPr id="4" name="Graphic 4">
              <a:extLst>
                <a:ext uri="{FF2B5EF4-FFF2-40B4-BE49-F238E27FC236}">
                  <a16:creationId xmlns:a16="http://schemas.microsoft.com/office/drawing/2014/main" id="{3932883B-D35F-6281-CF22-2E42F9204878}"/>
                </a:ext>
              </a:extLst>
            </p:cNvPr>
            <p:cNvSpPr/>
            <p:nvPr/>
          </p:nvSpPr>
          <p:spPr>
            <a:xfrm>
              <a:off x="5196000" y="2140790"/>
              <a:ext cx="1800000" cy="1800000"/>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29716 w 361670"/>
                <a:gd name="connsiteY5" fmla="*/ 83630 h 361333"/>
                <a:gd name="connsiteX6" fmla="*/ 156553 w 361670"/>
                <a:gd name="connsiteY6" fmla="*/ 70224 h 361333"/>
                <a:gd name="connsiteX7" fmla="*/ 181474 w 361670"/>
                <a:gd name="connsiteY7" fmla="*/ 79800 h 361333"/>
                <a:gd name="connsiteX8" fmla="*/ 206395 w 361670"/>
                <a:gd name="connsiteY8" fmla="*/ 70224 h 361333"/>
                <a:gd name="connsiteX9" fmla="*/ 233233 w 361670"/>
                <a:gd name="connsiteY9" fmla="*/ 83630 h 361333"/>
                <a:gd name="connsiteX10" fmla="*/ 231316 w 361670"/>
                <a:gd name="connsiteY10" fmla="*/ 138532 h 361333"/>
                <a:gd name="connsiteX11" fmla="*/ 185947 w 361670"/>
                <a:gd name="connsiteY11" fmla="*/ 183220 h 361333"/>
                <a:gd name="connsiteX12" fmla="*/ 181474 w 361670"/>
                <a:gd name="connsiteY12" fmla="*/ 185135 h 361333"/>
                <a:gd name="connsiteX13" fmla="*/ 177001 w 361670"/>
                <a:gd name="connsiteY13" fmla="*/ 183220 h 361333"/>
                <a:gd name="connsiteX14" fmla="*/ 131633 w 361670"/>
                <a:gd name="connsiteY14" fmla="*/ 138532 h 361333"/>
                <a:gd name="connsiteX15" fmla="*/ 129716 w 361670"/>
                <a:gd name="connsiteY15" fmla="*/ 83630 h 361333"/>
                <a:gd name="connsiteX16" fmla="*/ 296493 w 361670"/>
                <a:gd name="connsiteY16" fmla="*/ 234930 h 361333"/>
                <a:gd name="connsiteX17" fmla="*/ 279879 w 361670"/>
                <a:gd name="connsiteY17" fmla="*/ 256636 h 361333"/>
                <a:gd name="connsiteX18" fmla="*/ 240901 w 361670"/>
                <a:gd name="connsiteY18" fmla="*/ 285364 h 361333"/>
                <a:gd name="connsiteX19" fmla="*/ 231316 w 361670"/>
                <a:gd name="connsiteY19" fmla="*/ 299409 h 361333"/>
                <a:gd name="connsiteX20" fmla="*/ 224926 w 361670"/>
                <a:gd name="connsiteY20" fmla="*/ 305154 h 361333"/>
                <a:gd name="connsiteX21" fmla="*/ 224287 w 361670"/>
                <a:gd name="connsiteY21" fmla="*/ 305154 h 361333"/>
                <a:gd name="connsiteX22" fmla="*/ 218536 w 361670"/>
                <a:gd name="connsiteY22" fmla="*/ 298132 h 361333"/>
                <a:gd name="connsiteX23" fmla="*/ 233233 w 361670"/>
                <a:gd name="connsiteY23" fmla="*/ 275149 h 361333"/>
                <a:gd name="connsiteX24" fmla="*/ 272211 w 361670"/>
                <a:gd name="connsiteY24" fmla="*/ 246422 h 361333"/>
                <a:gd name="connsiteX25" fmla="*/ 284352 w 361670"/>
                <a:gd name="connsiteY25" fmla="*/ 230462 h 361333"/>
                <a:gd name="connsiteX26" fmla="*/ 300327 w 361670"/>
                <a:gd name="connsiteY26" fmla="*/ 186412 h 361333"/>
                <a:gd name="connsiteX27" fmla="*/ 301605 w 361670"/>
                <a:gd name="connsiteY27" fmla="*/ 175560 h 361333"/>
                <a:gd name="connsiteX28" fmla="*/ 297132 w 361670"/>
                <a:gd name="connsiteY28" fmla="*/ 115550 h 361333"/>
                <a:gd name="connsiteX29" fmla="*/ 297132 w 361670"/>
                <a:gd name="connsiteY29" fmla="*/ 114912 h 361333"/>
                <a:gd name="connsiteX30" fmla="*/ 294576 w 361670"/>
                <a:gd name="connsiteY30" fmla="*/ 115550 h 361333"/>
                <a:gd name="connsiteX31" fmla="*/ 290103 w 361670"/>
                <a:gd name="connsiteY31" fmla="*/ 121296 h 361333"/>
                <a:gd name="connsiteX32" fmla="*/ 284352 w 361670"/>
                <a:gd name="connsiteY32" fmla="*/ 171091 h 361333"/>
                <a:gd name="connsiteX33" fmla="*/ 293937 w 361670"/>
                <a:gd name="connsiteY33" fmla="*/ 176836 h 361333"/>
                <a:gd name="connsiteX34" fmla="*/ 290742 w 361670"/>
                <a:gd name="connsiteY34" fmla="*/ 195350 h 361333"/>
                <a:gd name="connsiteX35" fmla="*/ 272211 w 361670"/>
                <a:gd name="connsiteY35" fmla="*/ 218971 h 361333"/>
                <a:gd name="connsiteX36" fmla="*/ 258153 w 361670"/>
                <a:gd name="connsiteY36" fmla="*/ 229823 h 361333"/>
                <a:gd name="connsiteX37" fmla="*/ 235788 w 361670"/>
                <a:gd name="connsiteY37" fmla="*/ 240676 h 361333"/>
                <a:gd name="connsiteX38" fmla="*/ 227482 w 361670"/>
                <a:gd name="connsiteY38" fmla="*/ 238122 h 361333"/>
                <a:gd name="connsiteX39" fmla="*/ 230038 w 361670"/>
                <a:gd name="connsiteY39" fmla="*/ 229823 h 361333"/>
                <a:gd name="connsiteX40" fmla="*/ 252403 w 361670"/>
                <a:gd name="connsiteY40" fmla="*/ 218971 h 361333"/>
                <a:gd name="connsiteX41" fmla="*/ 261987 w 361670"/>
                <a:gd name="connsiteY41" fmla="*/ 211310 h 361333"/>
                <a:gd name="connsiteX42" fmla="*/ 281157 w 361670"/>
                <a:gd name="connsiteY42" fmla="*/ 187051 h 361333"/>
                <a:gd name="connsiteX43" fmla="*/ 283713 w 361670"/>
                <a:gd name="connsiteY43" fmla="*/ 183859 h 361333"/>
                <a:gd name="connsiteX44" fmla="*/ 270294 w 361670"/>
                <a:gd name="connsiteY44" fmla="*/ 183859 h 361333"/>
                <a:gd name="connsiteX45" fmla="*/ 247929 w 361670"/>
                <a:gd name="connsiteY45" fmla="*/ 201095 h 361333"/>
                <a:gd name="connsiteX46" fmla="*/ 243456 w 361670"/>
                <a:gd name="connsiteY46" fmla="*/ 203011 h 361333"/>
                <a:gd name="connsiteX47" fmla="*/ 235788 w 361670"/>
                <a:gd name="connsiteY47" fmla="*/ 203649 h 361333"/>
                <a:gd name="connsiteX48" fmla="*/ 191059 w 361670"/>
                <a:gd name="connsiteY48" fmla="*/ 242591 h 361333"/>
                <a:gd name="connsiteX49" fmla="*/ 187864 w 361670"/>
                <a:gd name="connsiteY49" fmla="*/ 270681 h 361333"/>
                <a:gd name="connsiteX50" fmla="*/ 181474 w 361670"/>
                <a:gd name="connsiteY50" fmla="*/ 277065 h 361333"/>
                <a:gd name="connsiteX51" fmla="*/ 181474 w 361670"/>
                <a:gd name="connsiteY51" fmla="*/ 277065 h 361333"/>
                <a:gd name="connsiteX52" fmla="*/ 181474 w 361670"/>
                <a:gd name="connsiteY52" fmla="*/ 277065 h 361333"/>
                <a:gd name="connsiteX53" fmla="*/ 175084 w 361670"/>
                <a:gd name="connsiteY53" fmla="*/ 270681 h 361333"/>
                <a:gd name="connsiteX54" fmla="*/ 171889 w 361670"/>
                <a:gd name="connsiteY54" fmla="*/ 242591 h 361333"/>
                <a:gd name="connsiteX55" fmla="*/ 127160 w 361670"/>
                <a:gd name="connsiteY55" fmla="*/ 203649 h 361333"/>
                <a:gd name="connsiteX56" fmla="*/ 119492 w 361670"/>
                <a:gd name="connsiteY56" fmla="*/ 203011 h 361333"/>
                <a:gd name="connsiteX57" fmla="*/ 115019 w 361670"/>
                <a:gd name="connsiteY57" fmla="*/ 201095 h 361333"/>
                <a:gd name="connsiteX58" fmla="*/ 92654 w 361670"/>
                <a:gd name="connsiteY58" fmla="*/ 183859 h 361333"/>
                <a:gd name="connsiteX59" fmla="*/ 79235 w 361670"/>
                <a:gd name="connsiteY59" fmla="*/ 183859 h 361333"/>
                <a:gd name="connsiteX60" fmla="*/ 81152 w 361670"/>
                <a:gd name="connsiteY60" fmla="*/ 186412 h 361333"/>
                <a:gd name="connsiteX61" fmla="*/ 100961 w 361670"/>
                <a:gd name="connsiteY61" fmla="*/ 210671 h 361333"/>
                <a:gd name="connsiteX62" fmla="*/ 110546 w 361670"/>
                <a:gd name="connsiteY62" fmla="*/ 218332 h 361333"/>
                <a:gd name="connsiteX63" fmla="*/ 132911 w 361670"/>
                <a:gd name="connsiteY63" fmla="*/ 229185 h 361333"/>
                <a:gd name="connsiteX64" fmla="*/ 135467 w 361670"/>
                <a:gd name="connsiteY64" fmla="*/ 237484 h 361333"/>
                <a:gd name="connsiteX65" fmla="*/ 127160 w 361670"/>
                <a:gd name="connsiteY65" fmla="*/ 240038 h 361333"/>
                <a:gd name="connsiteX66" fmla="*/ 104795 w 361670"/>
                <a:gd name="connsiteY66" fmla="*/ 229185 h 361333"/>
                <a:gd name="connsiteX67" fmla="*/ 90737 w 361670"/>
                <a:gd name="connsiteY67" fmla="*/ 218332 h 361333"/>
                <a:gd name="connsiteX68" fmla="*/ 71567 w 361670"/>
                <a:gd name="connsiteY68" fmla="*/ 194073 h 361333"/>
                <a:gd name="connsiteX69" fmla="*/ 69011 w 361670"/>
                <a:gd name="connsiteY69" fmla="*/ 175560 h 361333"/>
                <a:gd name="connsiteX70" fmla="*/ 78596 w 361670"/>
                <a:gd name="connsiteY70" fmla="*/ 169814 h 361333"/>
                <a:gd name="connsiteX71" fmla="*/ 72845 w 361670"/>
                <a:gd name="connsiteY71" fmla="*/ 120019 h 361333"/>
                <a:gd name="connsiteX72" fmla="*/ 68372 w 361670"/>
                <a:gd name="connsiteY72" fmla="*/ 114273 h 361333"/>
                <a:gd name="connsiteX73" fmla="*/ 65816 w 361670"/>
                <a:gd name="connsiteY73" fmla="*/ 113635 h 361333"/>
                <a:gd name="connsiteX74" fmla="*/ 65816 w 361670"/>
                <a:gd name="connsiteY74" fmla="*/ 114273 h 361333"/>
                <a:gd name="connsiteX75" fmla="*/ 61343 w 361670"/>
                <a:gd name="connsiteY75" fmla="*/ 174283 h 361333"/>
                <a:gd name="connsiteX76" fmla="*/ 62621 w 361670"/>
                <a:gd name="connsiteY76" fmla="*/ 185135 h 361333"/>
                <a:gd name="connsiteX77" fmla="*/ 78596 w 361670"/>
                <a:gd name="connsiteY77" fmla="*/ 229185 h 361333"/>
                <a:gd name="connsiteX78" fmla="*/ 90737 w 361670"/>
                <a:gd name="connsiteY78" fmla="*/ 245145 h 361333"/>
                <a:gd name="connsiteX79" fmla="*/ 129716 w 361670"/>
                <a:gd name="connsiteY79" fmla="*/ 273873 h 361333"/>
                <a:gd name="connsiteX80" fmla="*/ 144412 w 361670"/>
                <a:gd name="connsiteY80" fmla="*/ 296855 h 361333"/>
                <a:gd name="connsiteX81" fmla="*/ 138662 w 361670"/>
                <a:gd name="connsiteY81" fmla="*/ 303877 h 361333"/>
                <a:gd name="connsiteX82" fmla="*/ 138022 w 361670"/>
                <a:gd name="connsiteY82" fmla="*/ 303877 h 361333"/>
                <a:gd name="connsiteX83" fmla="*/ 131633 w 361670"/>
                <a:gd name="connsiteY83" fmla="*/ 298132 h 361333"/>
                <a:gd name="connsiteX84" fmla="*/ 122048 w 361670"/>
                <a:gd name="connsiteY84" fmla="*/ 284087 h 361333"/>
                <a:gd name="connsiteX85" fmla="*/ 83069 w 361670"/>
                <a:gd name="connsiteY85" fmla="*/ 255359 h 361333"/>
                <a:gd name="connsiteX86" fmla="*/ 66455 w 361670"/>
                <a:gd name="connsiteY86" fmla="*/ 233654 h 361333"/>
                <a:gd name="connsiteX87" fmla="*/ 50480 w 361670"/>
                <a:gd name="connsiteY87" fmla="*/ 189604 h 361333"/>
                <a:gd name="connsiteX88" fmla="*/ 47925 w 361670"/>
                <a:gd name="connsiteY88" fmla="*/ 173006 h 361333"/>
                <a:gd name="connsiteX89" fmla="*/ 52398 w 361670"/>
                <a:gd name="connsiteY89" fmla="*/ 112996 h 361333"/>
                <a:gd name="connsiteX90" fmla="*/ 64538 w 361670"/>
                <a:gd name="connsiteY90" fmla="*/ 100867 h 361333"/>
                <a:gd name="connsiteX91" fmla="*/ 84986 w 361670"/>
                <a:gd name="connsiteY91" fmla="*/ 116827 h 361333"/>
                <a:gd name="connsiteX92" fmla="*/ 84986 w 361670"/>
                <a:gd name="connsiteY92" fmla="*/ 117465 h 361333"/>
                <a:gd name="connsiteX93" fmla="*/ 90737 w 361670"/>
                <a:gd name="connsiteY93" fmla="*/ 169176 h 361333"/>
                <a:gd name="connsiteX94" fmla="*/ 97766 w 361670"/>
                <a:gd name="connsiteY94" fmla="*/ 171729 h 361333"/>
                <a:gd name="connsiteX95" fmla="*/ 121409 w 361670"/>
                <a:gd name="connsiteY95" fmla="*/ 189604 h 361333"/>
                <a:gd name="connsiteX96" fmla="*/ 127799 w 361670"/>
                <a:gd name="connsiteY96" fmla="*/ 190243 h 361333"/>
                <a:gd name="connsiteX97" fmla="*/ 181474 w 361670"/>
                <a:gd name="connsiteY97" fmla="*/ 231738 h 361333"/>
                <a:gd name="connsiteX98" fmla="*/ 235150 w 361670"/>
                <a:gd name="connsiteY98" fmla="*/ 190243 h 361333"/>
                <a:gd name="connsiteX99" fmla="*/ 241540 w 361670"/>
                <a:gd name="connsiteY99" fmla="*/ 189604 h 361333"/>
                <a:gd name="connsiteX100" fmla="*/ 265821 w 361670"/>
                <a:gd name="connsiteY100" fmla="*/ 171729 h 361333"/>
                <a:gd name="connsiteX101" fmla="*/ 272850 w 361670"/>
                <a:gd name="connsiteY101" fmla="*/ 169814 h 361333"/>
                <a:gd name="connsiteX102" fmla="*/ 278601 w 361670"/>
                <a:gd name="connsiteY102" fmla="*/ 118104 h 361333"/>
                <a:gd name="connsiteX103" fmla="*/ 278601 w 361670"/>
                <a:gd name="connsiteY103" fmla="*/ 117465 h 361333"/>
                <a:gd name="connsiteX104" fmla="*/ 299049 w 361670"/>
                <a:gd name="connsiteY104" fmla="*/ 101505 h 361333"/>
                <a:gd name="connsiteX105" fmla="*/ 311190 w 361670"/>
                <a:gd name="connsiteY105" fmla="*/ 113635 h 361333"/>
                <a:gd name="connsiteX106" fmla="*/ 315663 w 361670"/>
                <a:gd name="connsiteY106" fmla="*/ 173644 h 361333"/>
                <a:gd name="connsiteX107" fmla="*/ 313107 w 361670"/>
                <a:gd name="connsiteY107" fmla="*/ 190243 h 361333"/>
                <a:gd name="connsiteX108" fmla="*/ 296493 w 361670"/>
                <a:gd name="connsiteY108" fmla="*/ 23493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361670" h="361333">
                  <a:moveTo>
                    <a:pt x="180835" y="0"/>
                  </a:moveTo>
                  <a:cubicBezTo>
                    <a:pt x="80513" y="0"/>
                    <a:pt x="0" y="81076"/>
                    <a:pt x="0" y="180667"/>
                  </a:cubicBezTo>
                  <a:cubicBezTo>
                    <a:pt x="0" y="280895"/>
                    <a:pt x="81152" y="361333"/>
                    <a:pt x="180835" y="361333"/>
                  </a:cubicBezTo>
                  <a:cubicBezTo>
                    <a:pt x="280518" y="361333"/>
                    <a:pt x="361670" y="280257"/>
                    <a:pt x="361670" y="180667"/>
                  </a:cubicBezTo>
                  <a:cubicBezTo>
                    <a:pt x="361670" y="80438"/>
                    <a:pt x="280518" y="0"/>
                    <a:pt x="180835" y="0"/>
                  </a:cubicBezTo>
                  <a:close/>
                  <a:moveTo>
                    <a:pt x="129716" y="83630"/>
                  </a:moveTo>
                  <a:cubicBezTo>
                    <a:pt x="136744" y="75331"/>
                    <a:pt x="146329" y="70862"/>
                    <a:pt x="156553" y="70224"/>
                  </a:cubicBezTo>
                  <a:cubicBezTo>
                    <a:pt x="165499" y="70224"/>
                    <a:pt x="174445" y="73416"/>
                    <a:pt x="181474" y="79800"/>
                  </a:cubicBezTo>
                  <a:cubicBezTo>
                    <a:pt x="188503" y="73416"/>
                    <a:pt x="197449" y="70224"/>
                    <a:pt x="206395" y="70224"/>
                  </a:cubicBezTo>
                  <a:cubicBezTo>
                    <a:pt x="216619" y="70224"/>
                    <a:pt x="226204" y="75331"/>
                    <a:pt x="233233" y="83630"/>
                  </a:cubicBezTo>
                  <a:cubicBezTo>
                    <a:pt x="246013" y="98952"/>
                    <a:pt x="245373" y="123211"/>
                    <a:pt x="231316" y="138532"/>
                  </a:cubicBezTo>
                  <a:lnTo>
                    <a:pt x="185947" y="183220"/>
                  </a:lnTo>
                  <a:cubicBezTo>
                    <a:pt x="184669" y="184497"/>
                    <a:pt x="183391" y="185135"/>
                    <a:pt x="181474" y="185135"/>
                  </a:cubicBezTo>
                  <a:cubicBezTo>
                    <a:pt x="179557" y="185135"/>
                    <a:pt x="178279" y="184497"/>
                    <a:pt x="177001" y="183220"/>
                  </a:cubicBezTo>
                  <a:lnTo>
                    <a:pt x="131633" y="138532"/>
                  </a:lnTo>
                  <a:cubicBezTo>
                    <a:pt x="117575" y="123211"/>
                    <a:pt x="116936" y="98952"/>
                    <a:pt x="129716" y="83630"/>
                  </a:cubicBezTo>
                  <a:close/>
                  <a:moveTo>
                    <a:pt x="296493" y="234930"/>
                  </a:moveTo>
                  <a:cubicBezTo>
                    <a:pt x="293298" y="243868"/>
                    <a:pt x="287547" y="250890"/>
                    <a:pt x="279879" y="256636"/>
                  </a:cubicBezTo>
                  <a:lnTo>
                    <a:pt x="240901" y="285364"/>
                  </a:lnTo>
                  <a:cubicBezTo>
                    <a:pt x="235150" y="289833"/>
                    <a:pt x="231955" y="294301"/>
                    <a:pt x="231316" y="299409"/>
                  </a:cubicBezTo>
                  <a:cubicBezTo>
                    <a:pt x="231316" y="302601"/>
                    <a:pt x="228121" y="305154"/>
                    <a:pt x="224926" y="305154"/>
                  </a:cubicBezTo>
                  <a:cubicBezTo>
                    <a:pt x="224926" y="305154"/>
                    <a:pt x="224287" y="305154"/>
                    <a:pt x="224287" y="305154"/>
                  </a:cubicBezTo>
                  <a:cubicBezTo>
                    <a:pt x="221092" y="304516"/>
                    <a:pt x="217897" y="301962"/>
                    <a:pt x="218536" y="298132"/>
                  </a:cubicBezTo>
                  <a:cubicBezTo>
                    <a:pt x="219175" y="289194"/>
                    <a:pt x="224287" y="281533"/>
                    <a:pt x="233233" y="275149"/>
                  </a:cubicBezTo>
                  <a:lnTo>
                    <a:pt x="272211" y="246422"/>
                  </a:lnTo>
                  <a:cubicBezTo>
                    <a:pt x="277962" y="242591"/>
                    <a:pt x="281796" y="236846"/>
                    <a:pt x="284352" y="230462"/>
                  </a:cubicBezTo>
                  <a:lnTo>
                    <a:pt x="300327" y="186412"/>
                  </a:lnTo>
                  <a:cubicBezTo>
                    <a:pt x="301605" y="182582"/>
                    <a:pt x="302244" y="179390"/>
                    <a:pt x="301605" y="175560"/>
                  </a:cubicBezTo>
                  <a:lnTo>
                    <a:pt x="297132" y="115550"/>
                  </a:lnTo>
                  <a:cubicBezTo>
                    <a:pt x="297132" y="115550"/>
                    <a:pt x="297132" y="114912"/>
                    <a:pt x="297132" y="114912"/>
                  </a:cubicBezTo>
                  <a:cubicBezTo>
                    <a:pt x="297132" y="114912"/>
                    <a:pt x="295854" y="114912"/>
                    <a:pt x="294576" y="115550"/>
                  </a:cubicBezTo>
                  <a:cubicBezTo>
                    <a:pt x="293298" y="116188"/>
                    <a:pt x="291381" y="117465"/>
                    <a:pt x="290103" y="121296"/>
                  </a:cubicBezTo>
                  <a:lnTo>
                    <a:pt x="284352" y="171091"/>
                  </a:lnTo>
                  <a:cubicBezTo>
                    <a:pt x="288186" y="172368"/>
                    <a:pt x="292020" y="174283"/>
                    <a:pt x="293937" y="176836"/>
                  </a:cubicBezTo>
                  <a:cubicBezTo>
                    <a:pt x="295215" y="178752"/>
                    <a:pt x="299688" y="186412"/>
                    <a:pt x="290742" y="195350"/>
                  </a:cubicBezTo>
                  <a:lnTo>
                    <a:pt x="272211" y="218971"/>
                  </a:lnTo>
                  <a:cubicBezTo>
                    <a:pt x="268377" y="223439"/>
                    <a:pt x="263904" y="227270"/>
                    <a:pt x="258153" y="229823"/>
                  </a:cubicBezTo>
                  <a:lnTo>
                    <a:pt x="235788" y="240676"/>
                  </a:lnTo>
                  <a:cubicBezTo>
                    <a:pt x="232593" y="241953"/>
                    <a:pt x="228760" y="240676"/>
                    <a:pt x="227482" y="238122"/>
                  </a:cubicBezTo>
                  <a:cubicBezTo>
                    <a:pt x="226204" y="234930"/>
                    <a:pt x="227482" y="231100"/>
                    <a:pt x="230038" y="229823"/>
                  </a:cubicBezTo>
                  <a:lnTo>
                    <a:pt x="252403" y="218971"/>
                  </a:lnTo>
                  <a:cubicBezTo>
                    <a:pt x="256236" y="217055"/>
                    <a:pt x="259431" y="214502"/>
                    <a:pt x="261987" y="211310"/>
                  </a:cubicBezTo>
                  <a:lnTo>
                    <a:pt x="281157" y="187051"/>
                  </a:lnTo>
                  <a:cubicBezTo>
                    <a:pt x="283074" y="184497"/>
                    <a:pt x="283713" y="183859"/>
                    <a:pt x="283713" y="183859"/>
                  </a:cubicBezTo>
                  <a:cubicBezTo>
                    <a:pt x="283074" y="182582"/>
                    <a:pt x="276045" y="181305"/>
                    <a:pt x="270294" y="183859"/>
                  </a:cubicBezTo>
                  <a:cubicBezTo>
                    <a:pt x="262626" y="187051"/>
                    <a:pt x="255597" y="194073"/>
                    <a:pt x="247929" y="201095"/>
                  </a:cubicBezTo>
                  <a:cubicBezTo>
                    <a:pt x="246651" y="202372"/>
                    <a:pt x="245373" y="203011"/>
                    <a:pt x="243456" y="203011"/>
                  </a:cubicBezTo>
                  <a:cubicBezTo>
                    <a:pt x="243456" y="203011"/>
                    <a:pt x="240261" y="203011"/>
                    <a:pt x="235788" y="203649"/>
                  </a:cubicBezTo>
                  <a:cubicBezTo>
                    <a:pt x="214702" y="205564"/>
                    <a:pt x="196810" y="221524"/>
                    <a:pt x="191059" y="242591"/>
                  </a:cubicBezTo>
                  <a:cubicBezTo>
                    <a:pt x="188503" y="252806"/>
                    <a:pt x="187864" y="258551"/>
                    <a:pt x="187864" y="270681"/>
                  </a:cubicBezTo>
                  <a:cubicBezTo>
                    <a:pt x="187864" y="274511"/>
                    <a:pt x="185308" y="277065"/>
                    <a:pt x="181474" y="277065"/>
                  </a:cubicBezTo>
                  <a:cubicBezTo>
                    <a:pt x="181474" y="277065"/>
                    <a:pt x="181474" y="277065"/>
                    <a:pt x="181474" y="277065"/>
                  </a:cubicBezTo>
                  <a:cubicBezTo>
                    <a:pt x="181474" y="277065"/>
                    <a:pt x="181474" y="277065"/>
                    <a:pt x="181474" y="277065"/>
                  </a:cubicBezTo>
                  <a:cubicBezTo>
                    <a:pt x="177640" y="277065"/>
                    <a:pt x="175084" y="274511"/>
                    <a:pt x="175084" y="270681"/>
                  </a:cubicBezTo>
                  <a:cubicBezTo>
                    <a:pt x="175084" y="258551"/>
                    <a:pt x="174445" y="252806"/>
                    <a:pt x="171889" y="242591"/>
                  </a:cubicBezTo>
                  <a:cubicBezTo>
                    <a:pt x="166138" y="221524"/>
                    <a:pt x="148247" y="206203"/>
                    <a:pt x="127160" y="203649"/>
                  </a:cubicBezTo>
                  <a:cubicBezTo>
                    <a:pt x="122687" y="203011"/>
                    <a:pt x="119492" y="203011"/>
                    <a:pt x="119492" y="203011"/>
                  </a:cubicBezTo>
                  <a:cubicBezTo>
                    <a:pt x="117575" y="203011"/>
                    <a:pt x="116297" y="202372"/>
                    <a:pt x="115019" y="201095"/>
                  </a:cubicBezTo>
                  <a:cubicBezTo>
                    <a:pt x="107351" y="194073"/>
                    <a:pt x="99683" y="187051"/>
                    <a:pt x="92654" y="183859"/>
                  </a:cubicBezTo>
                  <a:cubicBezTo>
                    <a:pt x="86903" y="181305"/>
                    <a:pt x="80513" y="182582"/>
                    <a:pt x="79235" y="183859"/>
                  </a:cubicBezTo>
                  <a:cubicBezTo>
                    <a:pt x="79235" y="183859"/>
                    <a:pt x="79874" y="185135"/>
                    <a:pt x="81152" y="186412"/>
                  </a:cubicBezTo>
                  <a:lnTo>
                    <a:pt x="100961" y="210671"/>
                  </a:lnTo>
                  <a:cubicBezTo>
                    <a:pt x="103517" y="213863"/>
                    <a:pt x="106712" y="216417"/>
                    <a:pt x="110546" y="218332"/>
                  </a:cubicBezTo>
                  <a:lnTo>
                    <a:pt x="132911" y="229185"/>
                  </a:lnTo>
                  <a:cubicBezTo>
                    <a:pt x="136106" y="230462"/>
                    <a:pt x="137384" y="234292"/>
                    <a:pt x="135467" y="237484"/>
                  </a:cubicBezTo>
                  <a:cubicBezTo>
                    <a:pt x="134189" y="240676"/>
                    <a:pt x="130354" y="241953"/>
                    <a:pt x="127160" y="240038"/>
                  </a:cubicBezTo>
                  <a:lnTo>
                    <a:pt x="104795" y="229185"/>
                  </a:lnTo>
                  <a:cubicBezTo>
                    <a:pt x="99683" y="226631"/>
                    <a:pt x="94571" y="222801"/>
                    <a:pt x="90737" y="218332"/>
                  </a:cubicBezTo>
                  <a:lnTo>
                    <a:pt x="71567" y="194073"/>
                  </a:lnTo>
                  <a:cubicBezTo>
                    <a:pt x="63260" y="185135"/>
                    <a:pt x="67094" y="178113"/>
                    <a:pt x="69011" y="175560"/>
                  </a:cubicBezTo>
                  <a:cubicBezTo>
                    <a:pt x="70928" y="172368"/>
                    <a:pt x="74762" y="170452"/>
                    <a:pt x="78596" y="169814"/>
                  </a:cubicBezTo>
                  <a:lnTo>
                    <a:pt x="72845" y="120019"/>
                  </a:lnTo>
                  <a:cubicBezTo>
                    <a:pt x="71567" y="116188"/>
                    <a:pt x="69011" y="114912"/>
                    <a:pt x="68372" y="114273"/>
                  </a:cubicBezTo>
                  <a:cubicBezTo>
                    <a:pt x="67094" y="113635"/>
                    <a:pt x="66455" y="113635"/>
                    <a:pt x="65816" y="113635"/>
                  </a:cubicBezTo>
                  <a:cubicBezTo>
                    <a:pt x="65816" y="113635"/>
                    <a:pt x="65816" y="113635"/>
                    <a:pt x="65816" y="114273"/>
                  </a:cubicBezTo>
                  <a:lnTo>
                    <a:pt x="61343" y="174283"/>
                  </a:lnTo>
                  <a:cubicBezTo>
                    <a:pt x="61343" y="178113"/>
                    <a:pt x="61343" y="181944"/>
                    <a:pt x="62621" y="185135"/>
                  </a:cubicBezTo>
                  <a:lnTo>
                    <a:pt x="78596" y="229185"/>
                  </a:lnTo>
                  <a:cubicBezTo>
                    <a:pt x="81152" y="235569"/>
                    <a:pt x="84986" y="240676"/>
                    <a:pt x="90737" y="245145"/>
                  </a:cubicBezTo>
                  <a:lnTo>
                    <a:pt x="129716" y="273873"/>
                  </a:lnTo>
                  <a:cubicBezTo>
                    <a:pt x="138662" y="280257"/>
                    <a:pt x="143774" y="287917"/>
                    <a:pt x="144412" y="296855"/>
                  </a:cubicBezTo>
                  <a:cubicBezTo>
                    <a:pt x="145052" y="300047"/>
                    <a:pt x="141857" y="303239"/>
                    <a:pt x="138662" y="303877"/>
                  </a:cubicBezTo>
                  <a:cubicBezTo>
                    <a:pt x="138662" y="303877"/>
                    <a:pt x="138022" y="303877"/>
                    <a:pt x="138022" y="303877"/>
                  </a:cubicBezTo>
                  <a:cubicBezTo>
                    <a:pt x="134828" y="303877"/>
                    <a:pt x="132272" y="301324"/>
                    <a:pt x="131633" y="298132"/>
                  </a:cubicBezTo>
                  <a:cubicBezTo>
                    <a:pt x="130994" y="293025"/>
                    <a:pt x="127799" y="288556"/>
                    <a:pt x="122048" y="284087"/>
                  </a:cubicBezTo>
                  <a:lnTo>
                    <a:pt x="83069" y="255359"/>
                  </a:lnTo>
                  <a:cubicBezTo>
                    <a:pt x="75401" y="249614"/>
                    <a:pt x="69650" y="242591"/>
                    <a:pt x="66455" y="233654"/>
                  </a:cubicBezTo>
                  <a:lnTo>
                    <a:pt x="50480" y="189604"/>
                  </a:lnTo>
                  <a:cubicBezTo>
                    <a:pt x="48563" y="184497"/>
                    <a:pt x="47925" y="178752"/>
                    <a:pt x="47925" y="173006"/>
                  </a:cubicBezTo>
                  <a:lnTo>
                    <a:pt x="52398" y="112996"/>
                  </a:lnTo>
                  <a:cubicBezTo>
                    <a:pt x="53036" y="105974"/>
                    <a:pt x="57509" y="101505"/>
                    <a:pt x="64538" y="100867"/>
                  </a:cubicBezTo>
                  <a:cubicBezTo>
                    <a:pt x="72206" y="100228"/>
                    <a:pt x="81791" y="105974"/>
                    <a:pt x="84986" y="116827"/>
                  </a:cubicBezTo>
                  <a:cubicBezTo>
                    <a:pt x="84986" y="116827"/>
                    <a:pt x="84986" y="117465"/>
                    <a:pt x="84986" y="117465"/>
                  </a:cubicBezTo>
                  <a:lnTo>
                    <a:pt x="90737" y="169176"/>
                  </a:lnTo>
                  <a:cubicBezTo>
                    <a:pt x="93293" y="169814"/>
                    <a:pt x="95210" y="170452"/>
                    <a:pt x="97766" y="171729"/>
                  </a:cubicBezTo>
                  <a:cubicBezTo>
                    <a:pt x="106073" y="175560"/>
                    <a:pt x="113741" y="181944"/>
                    <a:pt x="121409" y="189604"/>
                  </a:cubicBezTo>
                  <a:cubicBezTo>
                    <a:pt x="123326" y="189604"/>
                    <a:pt x="125243" y="189604"/>
                    <a:pt x="127799" y="190243"/>
                  </a:cubicBezTo>
                  <a:cubicBezTo>
                    <a:pt x="152080" y="192796"/>
                    <a:pt x="172528" y="208756"/>
                    <a:pt x="181474" y="231738"/>
                  </a:cubicBezTo>
                  <a:cubicBezTo>
                    <a:pt x="190420" y="209395"/>
                    <a:pt x="210868" y="192796"/>
                    <a:pt x="235150" y="190243"/>
                  </a:cubicBezTo>
                  <a:cubicBezTo>
                    <a:pt x="237706" y="190243"/>
                    <a:pt x="240261" y="189604"/>
                    <a:pt x="241540" y="189604"/>
                  </a:cubicBezTo>
                  <a:cubicBezTo>
                    <a:pt x="249208" y="182582"/>
                    <a:pt x="257514" y="175560"/>
                    <a:pt x="265821" y="171729"/>
                  </a:cubicBezTo>
                  <a:cubicBezTo>
                    <a:pt x="267738" y="170452"/>
                    <a:pt x="270294" y="169814"/>
                    <a:pt x="272850" y="169814"/>
                  </a:cubicBezTo>
                  <a:lnTo>
                    <a:pt x="278601" y="118104"/>
                  </a:lnTo>
                  <a:cubicBezTo>
                    <a:pt x="278601" y="118104"/>
                    <a:pt x="278601" y="117465"/>
                    <a:pt x="278601" y="117465"/>
                  </a:cubicBezTo>
                  <a:cubicBezTo>
                    <a:pt x="281796" y="105974"/>
                    <a:pt x="291381" y="100867"/>
                    <a:pt x="299049" y="101505"/>
                  </a:cubicBezTo>
                  <a:cubicBezTo>
                    <a:pt x="305439" y="102144"/>
                    <a:pt x="310551" y="106612"/>
                    <a:pt x="311190" y="113635"/>
                  </a:cubicBezTo>
                  <a:lnTo>
                    <a:pt x="315663" y="173644"/>
                  </a:lnTo>
                  <a:cubicBezTo>
                    <a:pt x="316302" y="179390"/>
                    <a:pt x="315024" y="184497"/>
                    <a:pt x="313107" y="190243"/>
                  </a:cubicBezTo>
                  <a:lnTo>
                    <a:pt x="296493" y="234930"/>
                  </a:lnTo>
                  <a:close/>
                </a:path>
              </a:pathLst>
            </a:custGeom>
            <a:solidFill>
              <a:srgbClr val="66C1CB"/>
            </a:solid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pic>
          <p:nvPicPr>
            <p:cNvPr id="5" name="Picture 4">
              <a:extLst>
                <a:ext uri="{FF2B5EF4-FFF2-40B4-BE49-F238E27FC236}">
                  <a16:creationId xmlns:a16="http://schemas.microsoft.com/office/drawing/2014/main" id="{A7A38945-3F77-CB02-299A-B204AE0A10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752" y="1086594"/>
              <a:ext cx="1897626" cy="772672"/>
            </a:xfrm>
            <a:prstGeom prst="rect">
              <a:avLst/>
            </a:prstGeom>
          </p:spPr>
        </p:pic>
        <p:sp>
          <p:nvSpPr>
            <p:cNvPr id="6" name="TextBox 5">
              <a:extLst>
                <a:ext uri="{FF2B5EF4-FFF2-40B4-BE49-F238E27FC236}">
                  <a16:creationId xmlns:a16="http://schemas.microsoft.com/office/drawing/2014/main" id="{0F20AD07-ABBD-7D85-CFF5-189EEE87B69D}"/>
                </a:ext>
              </a:extLst>
            </p:cNvPr>
            <p:cNvSpPr txBox="1"/>
            <p:nvPr/>
          </p:nvSpPr>
          <p:spPr>
            <a:xfrm>
              <a:off x="1098500" y="1867064"/>
              <a:ext cx="3156156"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 </a:t>
              </a:r>
              <a:r>
                <a:rPr kumimoji="0" 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 nombre)</a:t>
              </a:r>
              <a:r>
                <a:rPr kumimoji="0" 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reconozco en: </a:t>
              </a:r>
              <a:r>
                <a:rPr kumimoji="0" 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mbre del profesional a reconocer)</a:t>
              </a:r>
            </a:p>
          </p:txBody>
        </p:sp>
        <p:sp>
          <p:nvSpPr>
            <p:cNvPr id="7" name="Rectangle 6">
              <a:extLst>
                <a:ext uri="{FF2B5EF4-FFF2-40B4-BE49-F238E27FC236}">
                  <a16:creationId xmlns:a16="http://schemas.microsoft.com/office/drawing/2014/main" id="{5E9F460A-BDB2-2160-73EB-B6E08A75D4E3}"/>
                </a:ext>
              </a:extLst>
            </p:cNvPr>
            <p:cNvSpPr/>
            <p:nvPr/>
          </p:nvSpPr>
          <p:spPr bwMode="gray">
            <a:xfrm>
              <a:off x="1098500" y="4052568"/>
              <a:ext cx="3353755" cy="946167"/>
            </a:xfrm>
            <a:prstGeom prst="rect">
              <a:avLst/>
            </a:prstGeom>
            <a:solidFill>
              <a:sysClr val="window" lastClr="FFFFFF">
                <a:lumMod val="95000"/>
              </a:sysClr>
            </a:solidFill>
            <a:ln w="19050" algn="ctr">
              <a:noFill/>
              <a:miter lim="800000"/>
              <a:headEnd/>
              <a:tailEnd/>
            </a:ln>
          </p:spPr>
          <p:txBody>
            <a:bodyPr wrap="square" lIns="88900" tIns="88900" rIns="88900" bIns="88900" rtlCol="0" anchor="t"/>
            <a:lstStyle/>
            <a:p>
              <a:pPr marL="0" marR="0" lvl="0"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s-MX" sz="1000" b="0" i="0" u="none" strike="noStrike" kern="0" cap="none" spc="0" normalizeH="0" baseline="0" noProof="0">
                  <a:ln>
                    <a:noFill/>
                  </a:ln>
                  <a:solidFill>
                    <a:prstClr val="black"/>
                  </a:solidFill>
                  <a:effectLst/>
                  <a:uLnTx/>
                  <a:uFillTx/>
                  <a:latin typeface="Calibri Light"/>
                </a:rPr>
                <a:t>Si tienes algún comentario adicional colócalo aquí</a:t>
              </a:r>
              <a:endParaRPr kumimoji="0" lang="en-US" sz="1000" b="0" i="0" u="none" strike="noStrike" kern="0" cap="none" spc="0" normalizeH="0" baseline="0" noProof="0">
                <a:ln>
                  <a:noFill/>
                </a:ln>
                <a:solidFill>
                  <a:prstClr val="black"/>
                </a:solidFill>
                <a:effectLst/>
                <a:uLnTx/>
                <a:uFillTx/>
                <a:latin typeface="Calibri Light"/>
              </a:endParaRPr>
            </a:p>
          </p:txBody>
        </p:sp>
        <p:sp>
          <p:nvSpPr>
            <p:cNvPr id="8" name="TextBox 7">
              <a:extLst>
                <a:ext uri="{FF2B5EF4-FFF2-40B4-BE49-F238E27FC236}">
                  <a16:creationId xmlns:a16="http://schemas.microsoft.com/office/drawing/2014/main" id="{8864EA8B-9589-A18B-DE53-3DBAC514230A}"/>
                </a:ext>
              </a:extLst>
            </p:cNvPr>
            <p:cNvSpPr txBox="1"/>
            <p:nvPr/>
          </p:nvSpPr>
          <p:spPr>
            <a:xfrm>
              <a:off x="1098500" y="2700182"/>
              <a:ext cx="3156156" cy="1107996"/>
            </a:xfrm>
            <a:prstGeom prst="rect">
              <a:avLst/>
            </a:prstGeom>
            <a:noFill/>
          </p:spPr>
          <p:txBody>
            <a:bodyPr wrap="square" rtlCol="0">
              <a:spAutoFit/>
            </a:bodyPr>
            <a:lstStyle>
              <a:defPPr>
                <a:defRPr lang="en-US"/>
              </a:defPPr>
              <a:lvl1pPr>
                <a:defRPr sz="11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e se caracteriza por poner en práctica el  valor de la </a:t>
              </a:r>
              <a:r>
                <a:rPr kumimoji="0" lang="es-MX" altLang="es-MX" sz="11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umildad: </a:t>
              </a:r>
            </a:p>
            <a:p>
              <a:pPr marL="0" marR="0" lvl="0" indent="0" defTabSz="914400" eaLnBrk="1" fontAlgn="auto" latinLnBrk="0" hangingPunct="1">
                <a:lnSpc>
                  <a:spcPct val="100000"/>
                </a:lnSpc>
                <a:spcBef>
                  <a:spcPts val="0"/>
                </a:spcBef>
                <a:spcAft>
                  <a:spcPts val="0"/>
                </a:spcAft>
                <a:buClrTx/>
                <a:buSzTx/>
                <a:buFontTx/>
                <a:buNone/>
                <a:tabLst/>
                <a:defRPr/>
              </a:pPr>
              <a:endPar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s-MX" altLang="es-MX" sz="11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rindar comunicación asertiva con todo el equipo, permitiendo actuar con base en nuestros logros y derrotas.</a:t>
              </a:r>
            </a:p>
          </p:txBody>
        </p:sp>
      </p:grpSp>
    </p:spTree>
    <p:extLst>
      <p:ext uri="{BB962C8B-B14F-4D97-AF65-F5344CB8AC3E}">
        <p14:creationId xmlns:p14="http://schemas.microsoft.com/office/powerpoint/2010/main" val="21201027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F4A84AD9-FC41-4B4E-C9F5-67B9A4E027C8}"/>
              </a:ext>
            </a:extLst>
          </p:cNvPr>
          <p:cNvSpPr txBox="1">
            <a:spLocks/>
          </p:cNvSpPr>
          <p:nvPr/>
        </p:nvSpPr>
        <p:spPr bwMode="gray">
          <a:xfrm>
            <a:off x="501651" y="241300"/>
            <a:ext cx="11162349"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MX"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rPr>
              <a:t>Micrófono abierto: Compártenos ¿Qué descubriste durante esta actividad?</a:t>
            </a:r>
            <a:endParaRPr kumimoji="0" lang="en-US" sz="2100" b="0" i="0" u="none" strike="noStrike" kern="1200" cap="none" spc="0" normalizeH="0" baseline="0" noProof="0">
              <a:ln>
                <a:noFill/>
              </a:ln>
              <a:solidFill>
                <a:sysClr val="window" lastClr="FFFFFF"/>
              </a:solidFill>
              <a:effectLst/>
              <a:uLnTx/>
              <a:uFillTx/>
              <a:latin typeface="Calibri Light"/>
              <a:ea typeface="+mj-ea"/>
              <a:cs typeface="Calibri Light" panose="020F0302020204030204" pitchFamily="34" charset="0"/>
            </a:endParaRPr>
          </a:p>
        </p:txBody>
      </p:sp>
      <p:pic>
        <p:nvPicPr>
          <p:cNvPr id="3" name="Picture 4" descr="Microphone PNG Image | Blue texture background, Microphone, Png">
            <a:extLst>
              <a:ext uri="{FF2B5EF4-FFF2-40B4-BE49-F238E27FC236}">
                <a16:creationId xmlns:a16="http://schemas.microsoft.com/office/drawing/2014/main" id="{2ED24813-3B1A-26AD-9C76-667E70D091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9513" y="1584511"/>
            <a:ext cx="1744161" cy="475080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Executive and Leadership Search | AMN Healthcare">
            <a:extLst>
              <a:ext uri="{FF2B5EF4-FFF2-40B4-BE49-F238E27FC236}">
                <a16:creationId xmlns:a16="http://schemas.microsoft.com/office/drawing/2014/main" id="{00F42D4B-4425-7593-A2BD-5667A7BCB3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4845" y="874775"/>
            <a:ext cx="7941012" cy="5580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0958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427B905-838B-A156-08EC-C59B188D6E7A}"/>
              </a:ext>
            </a:extLst>
          </p:cNvPr>
          <p:cNvPicPr>
            <a:picLocks noChangeAspect="1"/>
          </p:cNvPicPr>
          <p:nvPr/>
        </p:nvPicPr>
        <p:blipFill rotWithShape="1">
          <a:blip r:embed="rId2"/>
          <a:srcRect t="10970" b="6498"/>
          <a:stretch/>
        </p:blipFill>
        <p:spPr>
          <a:xfrm>
            <a:off x="0" y="598989"/>
            <a:ext cx="12192000" cy="5660021"/>
          </a:xfrm>
          <a:prstGeom prst="rect">
            <a:avLst/>
          </a:prstGeom>
        </p:spPr>
      </p:pic>
    </p:spTree>
    <p:extLst>
      <p:ext uri="{BB962C8B-B14F-4D97-AF65-F5344CB8AC3E}">
        <p14:creationId xmlns:p14="http://schemas.microsoft.com/office/powerpoint/2010/main" val="164251739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AED2E0A-B583-0C5B-0155-D52990E34214}"/>
              </a:ext>
            </a:extLst>
          </p:cNvPr>
          <p:cNvSpPr txBox="1"/>
          <p:nvPr/>
        </p:nvSpPr>
        <p:spPr>
          <a:xfrm rot="10800000" flipH="1" flipV="1">
            <a:off x="574821" y="2136338"/>
            <a:ext cx="5043926" cy="1477328"/>
          </a:xfrm>
          <a:prstGeom prst="rect">
            <a:avLst/>
          </a:prstGeom>
          <a:noFill/>
        </p:spPr>
        <p:txBody>
          <a:bodyPr wrap="square" lIns="0" tIns="0" rIns="0" bIns="0" rtlCol="0">
            <a:spAutoFit/>
          </a:bodyPr>
          <a:lstStyle/>
          <a:p>
            <a:pPr eaLnBrk="1" fontAlgn="auto" hangingPunct="1">
              <a:spcBef>
                <a:spcPts val="600"/>
              </a:spcBef>
              <a:spcAft>
                <a:spcPts val="0"/>
              </a:spcAft>
              <a:buSzPct val="100000"/>
            </a:pPr>
            <a:r>
              <a:rPr lang="es-MX" sz="2400" i="1">
                <a:solidFill>
                  <a:prstClr val="white"/>
                </a:solidFill>
                <a:latin typeface="Calibri Light"/>
              </a:rPr>
              <a:t>“Cuando ya no somos capaces de cambiar una situación, nos encontramos ante el desafío de cambiarnos a nosotros mismos”</a:t>
            </a:r>
            <a:endParaRPr lang="en-US" sz="2400" i="1">
              <a:solidFill>
                <a:prstClr val="white"/>
              </a:solidFill>
              <a:latin typeface="Calibri Light"/>
            </a:endParaRPr>
          </a:p>
        </p:txBody>
      </p:sp>
      <p:sp>
        <p:nvSpPr>
          <p:cNvPr id="3" name="TextBox 2">
            <a:extLst>
              <a:ext uri="{FF2B5EF4-FFF2-40B4-BE49-F238E27FC236}">
                <a16:creationId xmlns:a16="http://schemas.microsoft.com/office/drawing/2014/main" id="{2ED20A1A-F20B-D1AE-DEAF-FC65B2C3FE40}"/>
              </a:ext>
            </a:extLst>
          </p:cNvPr>
          <p:cNvSpPr txBox="1"/>
          <p:nvPr/>
        </p:nvSpPr>
        <p:spPr>
          <a:xfrm rot="10800000" flipH="1" flipV="1">
            <a:off x="3644879" y="3739271"/>
            <a:ext cx="2235712" cy="369332"/>
          </a:xfrm>
          <a:prstGeom prst="rect">
            <a:avLst/>
          </a:prstGeom>
          <a:noFill/>
        </p:spPr>
        <p:txBody>
          <a:bodyPr wrap="square" lIns="0" tIns="0" rIns="0" bIns="0" rtlCol="0">
            <a:spAutoFit/>
          </a:bodyPr>
          <a:lstStyle/>
          <a:p>
            <a:pPr eaLnBrk="1" fontAlgn="auto" hangingPunct="1">
              <a:spcBef>
                <a:spcPts val="600"/>
              </a:spcBef>
              <a:spcAft>
                <a:spcPts val="0"/>
              </a:spcAft>
              <a:buSzPct val="100000"/>
            </a:pPr>
            <a:r>
              <a:rPr lang="es-MX" sz="2400" b="1" err="1">
                <a:solidFill>
                  <a:prstClr val="white"/>
                </a:solidFill>
                <a:latin typeface="Calibri Light"/>
              </a:rPr>
              <a:t>Viktor</a:t>
            </a:r>
            <a:r>
              <a:rPr lang="es-MX" sz="2400" b="1">
                <a:solidFill>
                  <a:prstClr val="white"/>
                </a:solidFill>
                <a:latin typeface="Calibri Light"/>
              </a:rPr>
              <a:t> E. Frankl</a:t>
            </a:r>
            <a:endParaRPr lang="en-US" sz="2400" b="1">
              <a:solidFill>
                <a:prstClr val="white"/>
              </a:solidFill>
              <a:latin typeface="Calibri Light"/>
            </a:endParaRPr>
          </a:p>
        </p:txBody>
      </p:sp>
      <p:pic>
        <p:nvPicPr>
          <p:cNvPr id="4" name="Picture 2" descr="7 razones por las que tememos a los cambios - Emprendedor">
            <a:extLst>
              <a:ext uri="{FF2B5EF4-FFF2-40B4-BE49-F238E27FC236}">
                <a16:creationId xmlns:a16="http://schemas.microsoft.com/office/drawing/2014/main" id="{1CE7768B-E4A0-18E3-2399-FBC1007D1B7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3921" r="7244"/>
          <a:stretch/>
        </p:blipFill>
        <p:spPr bwMode="auto">
          <a:xfrm>
            <a:off x="6142434" y="0"/>
            <a:ext cx="6049566"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81541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6FC2B4"/>
        </a:solidFill>
        <a:effectLst/>
      </p:bgPr>
    </p:bg>
    <p:spTree>
      <p:nvGrpSpPr>
        <p:cNvPr id="1" name=""/>
        <p:cNvGrpSpPr/>
        <p:nvPr/>
      </p:nvGrpSpPr>
      <p:grpSpPr>
        <a:xfrm>
          <a:off x="0" y="0"/>
          <a:ext cx="0" cy="0"/>
          <a:chOff x="0" y="0"/>
          <a:chExt cx="0" cy="0"/>
        </a:xfrm>
      </p:grpSpPr>
      <p:sp>
        <p:nvSpPr>
          <p:cNvPr id="73730" name="Title 1">
            <a:extLst>
              <a:ext uri="{FF2B5EF4-FFF2-40B4-BE49-F238E27FC236}">
                <a16:creationId xmlns:a16="http://schemas.microsoft.com/office/drawing/2014/main" id="{5C315F77-9983-3F8B-CED7-59B032306F56}"/>
              </a:ext>
            </a:extLst>
          </p:cNvPr>
          <p:cNvSpPr>
            <a:spLocks noGrp="1" noChangeArrowheads="1"/>
          </p:cNvSpPr>
          <p:nvPr>
            <p:ph type="title"/>
          </p:nvPr>
        </p:nvSpPr>
        <p:spPr>
          <a:xfrm>
            <a:off x="413535" y="1998984"/>
            <a:ext cx="4424362" cy="3114675"/>
          </a:xfrm>
        </p:spPr>
        <p:txBody>
          <a:bodyPr/>
          <a:lstStyle/>
          <a:p>
            <a:pPr eaLnBrk="1" hangingPunct="1"/>
            <a:r>
              <a:rPr lang="es-MX" altLang="en-US" sz="6000" b="1">
                <a:solidFill>
                  <a:schemeClr val="bg1"/>
                </a:solidFill>
              </a:rPr>
              <a:t>Ya volvemos</a:t>
            </a:r>
            <a:r>
              <a:rPr lang="es-MX" altLang="en-US" sz="6000">
                <a:solidFill>
                  <a:schemeClr val="bg1"/>
                </a:solidFill>
              </a:rPr>
              <a:t>	</a:t>
            </a:r>
          </a:p>
        </p:txBody>
      </p:sp>
      <p:pic>
        <p:nvPicPr>
          <p:cNvPr id="73731" name="Picture 8">
            <a:extLst>
              <a:ext uri="{FF2B5EF4-FFF2-40B4-BE49-F238E27FC236}">
                <a16:creationId xmlns:a16="http://schemas.microsoft.com/office/drawing/2014/main" id="{0698DFB1-0D2F-58C4-F2B4-015827345D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51513" y="895350"/>
            <a:ext cx="4876800" cy="48768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4382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835DD686-4BA3-2249-24C0-9E621C6CC5BD}"/>
              </a:ext>
            </a:extLst>
          </p:cNvPr>
          <p:cNvSpPr/>
          <p:nvPr/>
        </p:nvSpPr>
        <p:spPr>
          <a:xfrm>
            <a:off x="5894388" y="698500"/>
            <a:ext cx="4768850" cy="464185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65D8BC5F-C4A2-5F6B-B43B-D7048C7204C5}"/>
              </a:ext>
            </a:extLst>
          </p:cNvPr>
          <p:cNvSpPr/>
          <p:nvPr/>
        </p:nvSpPr>
        <p:spPr>
          <a:xfrm>
            <a:off x="5702300" y="531813"/>
            <a:ext cx="5456238" cy="54784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descr="&quot;&quot;">
            <a:extLst>
              <a:ext uri="{FF2B5EF4-FFF2-40B4-BE49-F238E27FC236}">
                <a16:creationId xmlns:a16="http://schemas.microsoft.com/office/drawing/2014/main" id="{B5355716-A5EB-817D-DE1F-FA1656F02484}"/>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0D1907C-764A-23E6-27BB-1A4B2444CAE5}"/>
              </a:ext>
            </a:extLst>
          </p:cNvPr>
          <p:cNvSpPr>
            <a:spLocks noGrp="1" noRot="1" noChangeAspect="1" noMove="1" noResize="1" noEditPoints="1" noAdjustHandles="1" noChangeArrowheads="1" noChangeShapeType="1" noTextEdit="1"/>
          </p:cNvSpPr>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28" name="Title 1">
            <a:extLst>
              <a:ext uri="{FF2B5EF4-FFF2-40B4-BE49-F238E27FC236}">
                <a16:creationId xmlns:a16="http://schemas.microsoft.com/office/drawing/2014/main" id="{FA61EF79-4883-0DC9-9810-0F6E00966299}"/>
              </a:ext>
            </a:extLst>
          </p:cNvPr>
          <p:cNvSpPr>
            <a:spLocks noGrp="1" noChangeArrowheads="1"/>
          </p:cNvSpPr>
          <p:nvPr>
            <p:ph type="title"/>
          </p:nvPr>
        </p:nvSpPr>
        <p:spPr>
          <a:xfrm>
            <a:off x="477838" y="1122363"/>
            <a:ext cx="4022725" cy="3203575"/>
          </a:xfrm>
        </p:spPr>
        <p:txBody>
          <a:bodyPr anchor="b"/>
          <a:lstStyle/>
          <a:p>
            <a:pPr eaLnBrk="1" hangingPunct="1"/>
            <a:r>
              <a:rPr lang="es-MX" altLang="en-US" sz="4800"/>
              <a:t>Entrevista a</a:t>
            </a:r>
            <a:br>
              <a:rPr lang="es-MX" altLang="en-US" sz="4800"/>
            </a:br>
            <a:r>
              <a:rPr lang="es-MX" altLang="en-US" sz="4800"/>
              <a:t>Sergio Vargas</a:t>
            </a:r>
          </a:p>
        </p:txBody>
      </p:sp>
      <p:sp>
        <p:nvSpPr>
          <p:cNvPr id="14" name="Rectangle 13" descr="&quot;&quot;">
            <a:extLst>
              <a:ext uri="{FF2B5EF4-FFF2-40B4-BE49-F238E27FC236}">
                <a16:creationId xmlns:a16="http://schemas.microsoft.com/office/drawing/2014/main" id="{60E1AECD-C764-CAF3-E7A5-20EFDD21696F}"/>
              </a:ext>
            </a:extLst>
          </p:cNvPr>
          <p:cNvSpPr>
            <a:spLocks noGrp="1" noRot="1" noChangeAspect="1" noMove="1" noResize="1" noEditPoints="1" noAdjustHandles="1" noChangeArrowheads="1" noChangeShapeType="1" noTextEdit="1"/>
          </p:cNvSpPr>
          <p:nvPr/>
        </p:nvSpPr>
        <p:spPr>
          <a:xfrm rot="5400000">
            <a:off x="760413" y="346075"/>
            <a:ext cx="146050" cy="704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descr="&quot;&quot;">
            <a:extLst>
              <a:ext uri="{FF2B5EF4-FFF2-40B4-BE49-F238E27FC236}">
                <a16:creationId xmlns:a16="http://schemas.microsoft.com/office/drawing/2014/main" id="{7F80706C-8253-6867-CAD3-E73B89594CAE}"/>
              </a:ext>
            </a:extLst>
          </p:cNvPr>
          <p:cNvSpPr>
            <a:spLocks noGrp="1" noRot="1" noChangeAspect="1" noMove="1" noResize="1" noEditPoints="1" noAdjustHandles="1" noChangeArrowheads="1" noChangeShapeType="1" noTextEdit="1"/>
          </p:cNvSpPr>
          <p:nvPr/>
        </p:nvSpPr>
        <p:spPr>
          <a:xfrm>
            <a:off x="481013" y="4546600"/>
            <a:ext cx="3978275" cy="19050"/>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1B62EBC2-F3DC-2C4B-C3B1-3449AB40CD27}"/>
              </a:ext>
            </a:extLst>
          </p:cNvPr>
          <p:cNvSpPr/>
          <p:nvPr/>
        </p:nvSpPr>
        <p:spPr>
          <a:xfrm>
            <a:off x="392113" y="531813"/>
            <a:ext cx="882650" cy="404812"/>
          </a:xfrm>
          <a:prstGeom prst="ellipse">
            <a:avLst/>
          </a:prstGeom>
        </p:spPr>
        <p:style>
          <a:lnRef idx="2">
            <a:schemeClr val="dk1">
              <a:shade val="50000"/>
            </a:schemeClr>
          </a:lnRef>
          <a:fillRef idx="1">
            <a:schemeClr val="dk1"/>
          </a:fillRef>
          <a:effectRef idx="0">
            <a:schemeClr val="dk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14E8FE49-CEBB-DCC2-9206-4E28B18D4441}"/>
              </a:ext>
            </a:extLst>
          </p:cNvPr>
          <p:cNvGrpSpPr/>
          <p:nvPr/>
        </p:nvGrpSpPr>
        <p:grpSpPr>
          <a:xfrm>
            <a:off x="5837238" y="688975"/>
            <a:ext cx="5295600" cy="5302800"/>
            <a:chOff x="6650038" y="1095375"/>
            <a:chExt cx="4602162" cy="4641850"/>
          </a:xfrm>
        </p:grpSpPr>
        <p:sp>
          <p:nvSpPr>
            <p:cNvPr id="15" name="Oval 14">
              <a:extLst>
                <a:ext uri="{FF2B5EF4-FFF2-40B4-BE49-F238E27FC236}">
                  <a16:creationId xmlns:a16="http://schemas.microsoft.com/office/drawing/2014/main" id="{C0C59DF8-2F28-E7DC-AA0E-619006779D3D}"/>
                </a:ext>
              </a:extLst>
            </p:cNvPr>
            <p:cNvSpPr/>
            <p:nvPr/>
          </p:nvSpPr>
          <p:spPr>
            <a:xfrm>
              <a:off x="6650038" y="1095375"/>
              <a:ext cx="4602162" cy="464185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person in a suit and tie&#10;&#10;Description automatically generated">
              <a:extLst>
                <a:ext uri="{FF2B5EF4-FFF2-40B4-BE49-F238E27FC236}">
                  <a16:creationId xmlns:a16="http://schemas.microsoft.com/office/drawing/2014/main" id="{F3D88215-E642-1208-711E-B47536FF5435}"/>
                </a:ext>
              </a:extLst>
            </p:cNvPr>
            <p:cNvPicPr>
              <a:picLocks noChangeAspect="1"/>
            </p:cNvPicPr>
            <p:nvPr/>
          </p:nvPicPr>
          <p:blipFill rotWithShape="1">
            <a:blip r:embed="rId2"/>
            <a:srcRect r="19437"/>
            <a:stretch/>
          </p:blipFill>
          <p:spPr>
            <a:xfrm>
              <a:off x="6764595" y="1208294"/>
              <a:ext cx="4393943" cy="4441412"/>
            </a:xfrm>
            <a:prstGeom prst="ellipse">
              <a:avLst/>
            </a:prstGeom>
          </p:spPr>
        </p:pic>
      </p:grpSp>
    </p:spTree>
  </p:cSld>
  <p:clrMapOvr>
    <a:overrideClrMapping bg1="dk1" tx1="lt1" bg2="dk2" tx2="lt2" accent1="accent1" accent2="accent2" accent3="accent3" accent4="accent4" accent5="accent5" accent6="accent6" hlink="hlink" folHlink="folHlink"/>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useBgFill="1">
        <p:nvSpPr>
          <p:cNvPr id="10" name="Rectangle 9" descr="&quot;&quot;">
            <a:extLst>
              <a:ext uri="{FF2B5EF4-FFF2-40B4-BE49-F238E27FC236}">
                <a16:creationId xmlns:a16="http://schemas.microsoft.com/office/drawing/2014/main" id="{F093B491-3164-3521-9221-0B27335EBE87}"/>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D88BB4D1-FC06-B675-3AAA-833D67E84140}"/>
              </a:ext>
            </a:extLst>
          </p:cNvPr>
          <p:cNvSpPr>
            <a:spLocks noGrp="1" noRot="1" noChangeAspect="1" noMove="1" noResize="1" noEditPoints="1" noAdjustHandles="1" noChangeArrowheads="1" noChangeShapeType="1" noTextEdit="1"/>
          </p:cNvSpPr>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384" name="Title 1">
            <a:extLst>
              <a:ext uri="{FF2B5EF4-FFF2-40B4-BE49-F238E27FC236}">
                <a16:creationId xmlns:a16="http://schemas.microsoft.com/office/drawing/2014/main" id="{7B746431-8F64-9326-C315-83DA590AB400}"/>
              </a:ext>
            </a:extLst>
          </p:cNvPr>
          <p:cNvSpPr>
            <a:spLocks noGrp="1" noChangeArrowheads="1"/>
          </p:cNvSpPr>
          <p:nvPr>
            <p:ph type="title"/>
          </p:nvPr>
        </p:nvSpPr>
        <p:spPr>
          <a:xfrm>
            <a:off x="477838" y="1122363"/>
            <a:ext cx="5659437" cy="3203575"/>
          </a:xfrm>
        </p:spPr>
        <p:txBody>
          <a:bodyPr anchor="b"/>
          <a:lstStyle/>
          <a:p>
            <a:pPr eaLnBrk="1" hangingPunct="1"/>
            <a:r>
              <a:rPr lang="es-MX" altLang="en-US" sz="4800"/>
              <a:t>Reconocimiento a</a:t>
            </a:r>
            <a:br>
              <a:rPr lang="es-MX" altLang="en-US" sz="4800"/>
            </a:br>
            <a:r>
              <a:rPr lang="es-MX" altLang="en-US" sz="4800"/>
              <a:t>Luis Javier Fernández</a:t>
            </a:r>
          </a:p>
        </p:txBody>
      </p:sp>
      <p:sp>
        <p:nvSpPr>
          <p:cNvPr id="14" name="Rectangle 13" descr="&quot;&quot;">
            <a:extLst>
              <a:ext uri="{FF2B5EF4-FFF2-40B4-BE49-F238E27FC236}">
                <a16:creationId xmlns:a16="http://schemas.microsoft.com/office/drawing/2014/main" id="{33FD6F14-B086-9744-D534-0857B1C00640}"/>
              </a:ext>
            </a:extLst>
          </p:cNvPr>
          <p:cNvSpPr>
            <a:spLocks noGrp="1" noRot="1" noChangeAspect="1" noMove="1" noResize="1" noEditPoints="1" noAdjustHandles="1" noChangeArrowheads="1" noChangeShapeType="1" noTextEdit="1"/>
          </p:cNvSpPr>
          <p:nvPr/>
        </p:nvSpPr>
        <p:spPr>
          <a:xfrm rot="5400000">
            <a:off x="760413" y="346075"/>
            <a:ext cx="146050" cy="704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descr="&quot;&quot;">
            <a:extLst>
              <a:ext uri="{FF2B5EF4-FFF2-40B4-BE49-F238E27FC236}">
                <a16:creationId xmlns:a16="http://schemas.microsoft.com/office/drawing/2014/main" id="{1EE954DA-C39C-8D7A-8DA5-4C3D3FCC5C6D}"/>
              </a:ext>
            </a:extLst>
          </p:cNvPr>
          <p:cNvSpPr>
            <a:spLocks noGrp="1" noRot="1" noChangeAspect="1" noMove="1" noResize="1" noEditPoints="1" noAdjustHandles="1" noChangeArrowheads="1" noChangeShapeType="1" noTextEdit="1"/>
          </p:cNvSpPr>
          <p:nvPr/>
        </p:nvSpPr>
        <p:spPr>
          <a:xfrm>
            <a:off x="481013" y="4546600"/>
            <a:ext cx="3978275" cy="19050"/>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62A06DD6-F70A-FB7C-2474-D76ED7C8775B}"/>
              </a:ext>
            </a:extLst>
          </p:cNvPr>
          <p:cNvSpPr/>
          <p:nvPr/>
        </p:nvSpPr>
        <p:spPr>
          <a:xfrm>
            <a:off x="392113" y="531813"/>
            <a:ext cx="882650" cy="404812"/>
          </a:xfrm>
          <a:prstGeom prst="ellipse">
            <a:avLst/>
          </a:prstGeom>
        </p:spPr>
        <p:style>
          <a:lnRef idx="2">
            <a:schemeClr val="dk1">
              <a:shade val="50000"/>
            </a:schemeClr>
          </a:lnRef>
          <a:fillRef idx="1">
            <a:schemeClr val="dk1"/>
          </a:fillRef>
          <a:effectRef idx="0">
            <a:schemeClr val="dk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94E43BC5-6B23-91B1-68A1-610364C5006D}"/>
              </a:ext>
            </a:extLst>
          </p:cNvPr>
          <p:cNvGrpSpPr/>
          <p:nvPr/>
        </p:nvGrpSpPr>
        <p:grpSpPr>
          <a:xfrm>
            <a:off x="5661300" y="549967"/>
            <a:ext cx="5901811" cy="5302800"/>
            <a:chOff x="6431756" y="954087"/>
            <a:chExt cx="5114925" cy="4808538"/>
          </a:xfrm>
        </p:grpSpPr>
        <p:sp>
          <p:nvSpPr>
            <p:cNvPr id="15" name="Oval 14">
              <a:extLst>
                <a:ext uri="{FF2B5EF4-FFF2-40B4-BE49-F238E27FC236}">
                  <a16:creationId xmlns:a16="http://schemas.microsoft.com/office/drawing/2014/main" id="{CFFE52E3-161C-3A25-A7FF-EC28E3F151B0}"/>
                </a:ext>
              </a:extLst>
            </p:cNvPr>
            <p:cNvSpPr/>
            <p:nvPr/>
          </p:nvSpPr>
          <p:spPr>
            <a:xfrm>
              <a:off x="6650038" y="1095375"/>
              <a:ext cx="4602162" cy="464185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1389" name="Picture 8" descr="A close-up of a person&#10;&#10;Description automatically generated">
              <a:extLst>
                <a:ext uri="{FF2B5EF4-FFF2-40B4-BE49-F238E27FC236}">
                  <a16:creationId xmlns:a16="http://schemas.microsoft.com/office/drawing/2014/main" id="{541DF73D-831F-4B10-66EC-367537DE5C41}"/>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8643" t="22777" r="2922" b="30788"/>
            <a:stretch>
              <a:fillRect/>
            </a:stretch>
          </p:blipFill>
          <p:spPr bwMode="auto">
            <a:xfrm>
              <a:off x="6431756" y="954087"/>
              <a:ext cx="5114925" cy="480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overrideClrMapping bg1="dk1" tx1="lt1" bg2="dk2" tx2="lt2" accent1="accent1" accent2="accent2" accent3="accent3" accent4="accent4" accent5="accent5" accent6="accent6" hlink="hlink" folHlink="folHlink"/>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8464D98-57F6-F899-627F-88EBADA7427F}"/>
              </a:ext>
            </a:extLst>
          </p:cNvPr>
          <p:cNvGrpSpPr/>
          <p:nvPr/>
        </p:nvGrpSpPr>
        <p:grpSpPr>
          <a:xfrm>
            <a:off x="1385802" y="622002"/>
            <a:ext cx="4142192" cy="5444501"/>
            <a:chOff x="6219515" y="836153"/>
            <a:chExt cx="4154744" cy="5461000"/>
          </a:xfrm>
        </p:grpSpPr>
        <p:sp>
          <p:nvSpPr>
            <p:cNvPr id="4" name="Rectangle: Rounded Corners 3">
              <a:extLst>
                <a:ext uri="{FF2B5EF4-FFF2-40B4-BE49-F238E27FC236}">
                  <a16:creationId xmlns:a16="http://schemas.microsoft.com/office/drawing/2014/main" id="{10572675-69DA-15A2-A4F0-D50D04FB985A}"/>
                </a:ext>
              </a:extLst>
            </p:cNvPr>
            <p:cNvSpPr/>
            <p:nvPr/>
          </p:nvSpPr>
          <p:spPr>
            <a:xfrm>
              <a:off x="6484987" y="836153"/>
              <a:ext cx="3889272" cy="5185696"/>
            </a:xfrm>
            <a:prstGeom prst="roundRect">
              <a:avLst/>
            </a:prstGeom>
            <a:solidFill>
              <a:srgbClr val="6FC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Image">
              <a:extLst>
                <a:ext uri="{FF2B5EF4-FFF2-40B4-BE49-F238E27FC236}">
                  <a16:creationId xmlns:a16="http://schemas.microsoft.com/office/drawing/2014/main" id="{C0B3DD10-AD93-9D24-FAE1-E68D8574B5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9515" y="1111457"/>
              <a:ext cx="3889272" cy="5185696"/>
            </a:xfrm>
            <a:prstGeom prst="round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F67F8CEE-E8AF-E1E3-E32F-13D2381494E4}"/>
              </a:ext>
            </a:extLst>
          </p:cNvPr>
          <p:cNvGrpSpPr/>
          <p:nvPr/>
        </p:nvGrpSpPr>
        <p:grpSpPr>
          <a:xfrm>
            <a:off x="6410737" y="244649"/>
            <a:ext cx="4210626" cy="2452793"/>
            <a:chOff x="971550" y="2179230"/>
            <a:chExt cx="5067299" cy="2951826"/>
          </a:xfrm>
        </p:grpSpPr>
        <p:sp>
          <p:nvSpPr>
            <p:cNvPr id="7" name="Rectangle: Rounded Corners 6">
              <a:extLst>
                <a:ext uri="{FF2B5EF4-FFF2-40B4-BE49-F238E27FC236}">
                  <a16:creationId xmlns:a16="http://schemas.microsoft.com/office/drawing/2014/main" id="{9826FE2A-BAEF-75FB-8850-263C79EB4D9D}"/>
                </a:ext>
              </a:extLst>
            </p:cNvPr>
            <p:cNvSpPr/>
            <p:nvPr/>
          </p:nvSpPr>
          <p:spPr>
            <a:xfrm>
              <a:off x="1276349" y="2179230"/>
              <a:ext cx="4762500" cy="2676525"/>
            </a:xfrm>
            <a:prstGeom prst="round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E1D81B06-131B-6CDE-1EF3-EC2DADB2BD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550" y="2454531"/>
              <a:ext cx="4762500" cy="2676525"/>
            </a:xfrm>
            <a:prstGeom prst="round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89F40100-279D-6A89-9636-EA459D3C63DF}"/>
              </a:ext>
            </a:extLst>
          </p:cNvPr>
          <p:cNvGrpSpPr/>
          <p:nvPr/>
        </p:nvGrpSpPr>
        <p:grpSpPr>
          <a:xfrm>
            <a:off x="7230486" y="2942210"/>
            <a:ext cx="2822870" cy="3710749"/>
            <a:chOff x="3468944" y="2120027"/>
            <a:chExt cx="3303254" cy="4342228"/>
          </a:xfrm>
        </p:grpSpPr>
        <p:sp>
          <p:nvSpPr>
            <p:cNvPr id="11" name="Rectangle: Rounded Corners 10">
              <a:extLst>
                <a:ext uri="{FF2B5EF4-FFF2-40B4-BE49-F238E27FC236}">
                  <a16:creationId xmlns:a16="http://schemas.microsoft.com/office/drawing/2014/main" id="{E48BA2B7-969A-4576-78A1-16ACBB466865}"/>
                </a:ext>
              </a:extLst>
            </p:cNvPr>
            <p:cNvSpPr/>
            <p:nvPr/>
          </p:nvSpPr>
          <p:spPr>
            <a:xfrm>
              <a:off x="3763526" y="2120027"/>
              <a:ext cx="3008672" cy="4055806"/>
            </a:xfrm>
            <a:prstGeom prst="round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6">
              <a:extLst>
                <a:ext uri="{FF2B5EF4-FFF2-40B4-BE49-F238E27FC236}">
                  <a16:creationId xmlns:a16="http://schemas.microsoft.com/office/drawing/2014/main" id="{DFD0CF4C-A643-2758-A779-B23881D580E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793" t="21788" r="8848"/>
            <a:stretch/>
          </p:blipFill>
          <p:spPr bwMode="auto">
            <a:xfrm>
              <a:off x="3468944" y="2406449"/>
              <a:ext cx="3008672" cy="4055806"/>
            </a:xfrm>
            <a:prstGeom prst="round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223377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useBgFill="1">
        <p:nvSpPr>
          <p:cNvPr id="10" name="Rectangle 9" descr="&quot;&quot;">
            <a:extLst>
              <a:ext uri="{FF2B5EF4-FFF2-40B4-BE49-F238E27FC236}">
                <a16:creationId xmlns:a16="http://schemas.microsoft.com/office/drawing/2014/main" id="{84AE8D6C-96AB-B8EF-1C2D-C22DD3F157C3}"/>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0D4608C8-B7DE-6490-8722-14FA503D6D78}"/>
              </a:ext>
            </a:extLst>
          </p:cNvPr>
          <p:cNvSpPr>
            <a:spLocks noGrp="1" noRot="1" noChangeAspect="1" noMove="1" noResize="1" noEditPoints="1" noAdjustHandles="1" noChangeArrowheads="1" noChangeShapeType="1" noTextEdit="1"/>
          </p:cNvSpPr>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694" name="Title 1">
            <a:extLst>
              <a:ext uri="{FF2B5EF4-FFF2-40B4-BE49-F238E27FC236}">
                <a16:creationId xmlns:a16="http://schemas.microsoft.com/office/drawing/2014/main" id="{0196DD1B-029D-EE31-CF53-B001B59D34F9}"/>
              </a:ext>
            </a:extLst>
          </p:cNvPr>
          <p:cNvSpPr>
            <a:spLocks noGrp="1" noChangeArrowheads="1"/>
          </p:cNvSpPr>
          <p:nvPr>
            <p:ph type="title"/>
          </p:nvPr>
        </p:nvSpPr>
        <p:spPr>
          <a:xfrm>
            <a:off x="477838" y="1122363"/>
            <a:ext cx="4022725" cy="3203575"/>
          </a:xfrm>
        </p:spPr>
        <p:txBody>
          <a:bodyPr anchor="b"/>
          <a:lstStyle/>
          <a:p>
            <a:pPr eaLnBrk="1" hangingPunct="1"/>
            <a:r>
              <a:rPr lang="en-US" altLang="en-US" sz="4800"/>
              <a:t>Participa en la encuesta</a:t>
            </a:r>
          </a:p>
        </p:txBody>
      </p:sp>
      <p:sp>
        <p:nvSpPr>
          <p:cNvPr id="14" name="Rectangle 13" descr="&quot;&quot;">
            <a:extLst>
              <a:ext uri="{FF2B5EF4-FFF2-40B4-BE49-F238E27FC236}">
                <a16:creationId xmlns:a16="http://schemas.microsoft.com/office/drawing/2014/main" id="{336DC260-2748-6E06-CD2F-AA8573E6BFD8}"/>
              </a:ext>
            </a:extLst>
          </p:cNvPr>
          <p:cNvSpPr>
            <a:spLocks noGrp="1" noRot="1" noChangeAspect="1" noMove="1" noResize="1" noEditPoints="1" noAdjustHandles="1" noChangeArrowheads="1" noChangeShapeType="1" noTextEdit="1"/>
          </p:cNvSpPr>
          <p:nvPr/>
        </p:nvSpPr>
        <p:spPr>
          <a:xfrm rot="5400000">
            <a:off x="760413" y="346075"/>
            <a:ext cx="146050" cy="704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descr="&quot;&quot;">
            <a:extLst>
              <a:ext uri="{FF2B5EF4-FFF2-40B4-BE49-F238E27FC236}">
                <a16:creationId xmlns:a16="http://schemas.microsoft.com/office/drawing/2014/main" id="{780B9305-7F31-7C44-5A8D-16667ACAF6F6}"/>
              </a:ext>
            </a:extLst>
          </p:cNvPr>
          <p:cNvSpPr>
            <a:spLocks noGrp="1" noRot="1" noChangeAspect="1" noMove="1" noResize="1" noEditPoints="1" noAdjustHandles="1" noChangeArrowheads="1" noChangeShapeType="1" noTextEdit="1"/>
          </p:cNvSpPr>
          <p:nvPr/>
        </p:nvSpPr>
        <p:spPr>
          <a:xfrm>
            <a:off x="481013" y="4546600"/>
            <a:ext cx="3978275" cy="19050"/>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73D59C01-3FDE-C351-BFB4-ACEEF58361E9}"/>
              </a:ext>
            </a:extLst>
          </p:cNvPr>
          <p:cNvSpPr/>
          <p:nvPr/>
        </p:nvSpPr>
        <p:spPr>
          <a:xfrm>
            <a:off x="392113" y="531813"/>
            <a:ext cx="882650" cy="404812"/>
          </a:xfrm>
          <a:prstGeom prst="ellipse">
            <a:avLst/>
          </a:prstGeom>
        </p:spPr>
        <p:style>
          <a:lnRef idx="2">
            <a:schemeClr val="dk1">
              <a:shade val="50000"/>
            </a:schemeClr>
          </a:lnRef>
          <a:fillRef idx="1">
            <a:schemeClr val="dk1"/>
          </a:fillRef>
          <a:effectRef idx="0">
            <a:schemeClr val="dk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F60086BF-966F-6489-49DB-096E7710C638}"/>
              </a:ext>
            </a:extLst>
          </p:cNvPr>
          <p:cNvGrpSpPr/>
          <p:nvPr/>
        </p:nvGrpSpPr>
        <p:grpSpPr>
          <a:xfrm>
            <a:off x="4860101" y="284956"/>
            <a:ext cx="7262813" cy="6288087"/>
            <a:chOff x="5012501" y="280014"/>
            <a:chExt cx="7262813" cy="6288087"/>
          </a:xfrm>
        </p:grpSpPr>
        <p:pic>
          <p:nvPicPr>
            <p:cNvPr id="114698" name="Picture 3" descr="A hand holding a pen&#10;&#10;Description automatically generated with low confidence">
              <a:extLst>
                <a:ext uri="{FF2B5EF4-FFF2-40B4-BE49-F238E27FC236}">
                  <a16:creationId xmlns:a16="http://schemas.microsoft.com/office/drawing/2014/main" id="{A33C97B7-0C6C-0252-E992-4E72EA1EECB3}"/>
                </a:ext>
              </a:extLst>
            </p:cNvPr>
            <p:cNvPicPr>
              <a:picLocks noChangeAspect="1" noChangeArrowheads="1"/>
            </p:cNvPicPr>
            <p:nvPr/>
          </p:nvPicPr>
          <p:blipFill>
            <a:blip r:embed="rId2">
              <a:clrChange>
                <a:clrFrom>
                  <a:srgbClr val="000000"/>
                </a:clrFrom>
                <a:clrTo>
                  <a:srgbClr val="000000">
                    <a:alpha val="0"/>
                  </a:srgbClr>
                </a:clrTo>
              </a:clrChange>
              <a:extLst>
                <a:ext uri="{28A0092B-C50C-407E-A947-70E740481C1C}">
                  <a14:useLocalDpi xmlns:a14="http://schemas.microsoft.com/office/drawing/2010/main" val="0"/>
                </a:ext>
              </a:extLst>
            </a:blip>
            <a:srcRect t="27037" b="24260"/>
            <a:stretch>
              <a:fillRect/>
            </a:stretch>
          </p:blipFill>
          <p:spPr bwMode="auto">
            <a:xfrm>
              <a:off x="5012501" y="280014"/>
              <a:ext cx="7262813" cy="628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386" name="Picture 2" descr="Para qué sirve una encuesta de satisfacción?">
              <a:extLst>
                <a:ext uri="{FF2B5EF4-FFF2-40B4-BE49-F238E27FC236}">
                  <a16:creationId xmlns:a16="http://schemas.microsoft.com/office/drawing/2014/main" id="{D36DCE6E-C98F-ED98-7447-26521DC7E64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407" r="7343"/>
            <a:stretch/>
          </p:blipFill>
          <p:spPr bwMode="auto">
            <a:xfrm>
              <a:off x="6096000" y="825863"/>
              <a:ext cx="5085144" cy="5042502"/>
            </a:xfrm>
            <a:prstGeom prst="ellipse">
              <a:avLst/>
            </a:prstGeom>
            <a:noFill/>
            <a:extLst>
              <a:ext uri="{909E8E84-426E-40DD-AFC4-6F175D3DCCD1}">
                <a14:hiddenFill xmlns:a14="http://schemas.microsoft.com/office/drawing/2010/main">
                  <a:solidFill>
                    <a:srgbClr val="FFFFFF"/>
                  </a:solidFill>
                </a14:hiddenFill>
              </a:ext>
            </a:extLst>
          </p:spPr>
        </p:pic>
      </p:grpSp>
    </p:spTree>
  </p:cSld>
  <p:clrMapOvr>
    <a:overrideClrMapping bg1="dk1" tx1="lt1" bg2="dk2" tx2="lt2" accent1="accent1" accent2="accent2" accent3="accent3" accent4="accent4" accent5="accent5" accent6="accent6" hlink="hlink" folHlink="folHlink"/>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616DD739-2AD7-A8A2-5809-0A3FCB7EC92F}"/>
              </a:ext>
            </a:extLst>
          </p:cNvPr>
          <p:cNvSpPr/>
          <p:nvPr/>
        </p:nvSpPr>
        <p:spPr>
          <a:xfrm>
            <a:off x="5391150" y="839788"/>
            <a:ext cx="5624513" cy="540226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5715" name="Picture 3">
            <a:extLst>
              <a:ext uri="{FF2B5EF4-FFF2-40B4-BE49-F238E27FC236}">
                <a16:creationId xmlns:a16="http://schemas.microsoft.com/office/drawing/2014/main" id="{0990A18F-2AD5-BA36-BA95-244DC71EA0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4700" y="0"/>
            <a:ext cx="9775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716" name="Title 1">
            <a:extLst>
              <a:ext uri="{FF2B5EF4-FFF2-40B4-BE49-F238E27FC236}">
                <a16:creationId xmlns:a16="http://schemas.microsoft.com/office/drawing/2014/main" id="{39954554-9D8A-15E3-7C95-8B8537241158}"/>
              </a:ext>
            </a:extLst>
          </p:cNvPr>
          <p:cNvSpPr>
            <a:spLocks noGrp="1" noChangeArrowheads="1"/>
          </p:cNvSpPr>
          <p:nvPr>
            <p:ph type="title"/>
          </p:nvPr>
        </p:nvSpPr>
        <p:spPr>
          <a:xfrm>
            <a:off x="477838" y="1122363"/>
            <a:ext cx="4022725" cy="3203575"/>
          </a:xfrm>
        </p:spPr>
        <p:txBody>
          <a:bodyPr anchor="b"/>
          <a:lstStyle/>
          <a:p>
            <a:pPr eaLnBrk="1" hangingPunct="1"/>
            <a:r>
              <a:rPr lang="en-US" altLang="en-US" sz="8000" b="1"/>
              <a:t>¡Gracia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146" name="Title 1">
            <a:extLst>
              <a:ext uri="{FF2B5EF4-FFF2-40B4-BE49-F238E27FC236}">
                <a16:creationId xmlns:a16="http://schemas.microsoft.com/office/drawing/2014/main" id="{867E2409-AD0F-A3E1-4322-4FC8117BD04E}"/>
              </a:ext>
            </a:extLst>
          </p:cNvPr>
          <p:cNvSpPr txBox="1">
            <a:spLocks noChangeArrowheads="1"/>
          </p:cNvSpPr>
          <p:nvPr/>
        </p:nvSpPr>
        <p:spPr bwMode="auto">
          <a:xfrm>
            <a:off x="379413" y="244475"/>
            <a:ext cx="10996612"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s-MX" altLang="es-MX" sz="2800" b="1" i="0" u="none" strike="noStrike" kern="1200" cap="none" spc="0" normalizeH="0" baseline="0" noProof="0">
                <a:ln>
                  <a:noFill/>
                </a:ln>
                <a:solidFill>
                  <a:srgbClr val="0097A9"/>
                </a:solidFill>
                <a:effectLst/>
                <a:uLnTx/>
                <a:uFillTx/>
                <a:latin typeface="Calibri Light" panose="020F0302020204030204" pitchFamily="34" charset="0"/>
                <a:ea typeface="+mn-ea"/>
                <a:cs typeface="+mn-cs"/>
              </a:rPr>
              <a:t>Semblanza</a:t>
            </a:r>
          </a:p>
        </p:txBody>
      </p:sp>
      <p:sp>
        <p:nvSpPr>
          <p:cNvPr id="6155" name="TextBox 30">
            <a:extLst>
              <a:ext uri="{FF2B5EF4-FFF2-40B4-BE49-F238E27FC236}">
                <a16:creationId xmlns:a16="http://schemas.microsoft.com/office/drawing/2014/main" id="{1C258B34-56B6-1E24-3219-BCB5292ADC45}"/>
              </a:ext>
            </a:extLst>
          </p:cNvPr>
          <p:cNvSpPr txBox="1">
            <a:spLocks noChangeArrowheads="1"/>
          </p:cNvSpPr>
          <p:nvPr/>
        </p:nvSpPr>
        <p:spPr bwMode="auto">
          <a:xfrm>
            <a:off x="4299267" y="3707839"/>
            <a:ext cx="3473450" cy="2554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Socio de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Auditoría</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desde</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el</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2000.</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Supervisor de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auditoría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estado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financiero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y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evaluación</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de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empresa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con fines de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inversión</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fusión</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y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adquisición</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Líder</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de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Operacione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del </a:t>
            </a:r>
            <a:r>
              <a:rPr kumimoji="0" lang="en-US" altLang="en-US" sz="1600" b="0" i="1" u="none" strike="noStrike" kern="1200" cap="none" spc="0" normalizeH="0" baseline="0" noProof="0">
                <a:ln>
                  <a:noFill/>
                </a:ln>
                <a:solidFill>
                  <a:srgbClr val="FFFFFF"/>
                </a:solidFill>
                <a:effectLst/>
                <a:uLnTx/>
                <a:uFillTx/>
                <a:latin typeface="Calibri" panose="020F0502020204030204" pitchFamily="34" charset="0"/>
                <a:ea typeface="+mn-ea"/>
                <a:cs typeface="+mn-cs"/>
              </a:rPr>
              <a:t>Marketplace</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México -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Centroamérica</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Miembr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del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Comité</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Directiv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1" u="none" strike="noStrike" kern="1200" cap="none" spc="0" normalizeH="0" baseline="0" noProof="0">
                <a:ln>
                  <a:noFill/>
                </a:ln>
                <a:solidFill>
                  <a:srgbClr val="FFFFFF"/>
                </a:solidFill>
                <a:effectLst/>
                <a:uLnTx/>
                <a:uFillTx/>
                <a:latin typeface="Calibri" panose="020F0502020204030204" pitchFamily="34" charset="0"/>
                <a:ea typeface="+mn-ea"/>
                <a:cs typeface="+mn-cs"/>
              </a:rPr>
              <a:t>Deloitte</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1" u="none" strike="noStrike" kern="1200" cap="none" spc="0" normalizeH="0" baseline="0" noProof="0">
                <a:ln>
                  <a:noFill/>
                </a:ln>
                <a:solidFill>
                  <a:srgbClr val="FFFFFF"/>
                </a:solidFill>
                <a:effectLst/>
                <a:uLnTx/>
                <a:uFillTx/>
                <a:latin typeface="Calibri" panose="020F0502020204030204" pitchFamily="34" charset="0"/>
                <a:ea typeface="+mn-ea"/>
                <a:cs typeface="+mn-cs"/>
              </a:rPr>
              <a:t>Spanish Latin America.</a:t>
            </a:r>
          </a:p>
        </p:txBody>
      </p:sp>
      <p:sp>
        <p:nvSpPr>
          <p:cNvPr id="6147" name="TextBox 1">
            <a:extLst>
              <a:ext uri="{FF2B5EF4-FFF2-40B4-BE49-F238E27FC236}">
                <a16:creationId xmlns:a16="http://schemas.microsoft.com/office/drawing/2014/main" id="{9EB88B15-D50F-2D1E-AE80-3F3C70667DCB}"/>
              </a:ext>
            </a:extLst>
          </p:cNvPr>
          <p:cNvSpPr txBox="1">
            <a:spLocks noChangeArrowheads="1"/>
          </p:cNvSpPr>
          <p:nvPr/>
        </p:nvSpPr>
        <p:spPr bwMode="auto">
          <a:xfrm>
            <a:off x="606679" y="3671761"/>
            <a:ext cx="3316097" cy="2800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ontador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Públic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 Instituto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Politécnic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Nacional.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Contador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Públic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Certificad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en México (CPC) y en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lo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Estado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Unidos (CPA).</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Maestría</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en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Administración</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y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Finanza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 Universidad de Texas y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el</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Instituto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Tecnológic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de Monterrey.</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Diplomad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en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programa</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D -1 de Alta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Dirección</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 IPADE.</a:t>
            </a:r>
          </a:p>
        </p:txBody>
      </p:sp>
      <p:sp>
        <p:nvSpPr>
          <p:cNvPr id="6152" name="TextBox 27">
            <a:extLst>
              <a:ext uri="{FF2B5EF4-FFF2-40B4-BE49-F238E27FC236}">
                <a16:creationId xmlns:a16="http://schemas.microsoft.com/office/drawing/2014/main" id="{B7E370A6-1252-C21B-78A0-8E32D3E063F4}"/>
              </a:ext>
            </a:extLst>
          </p:cNvPr>
          <p:cNvSpPr txBox="1">
            <a:spLocks noChangeArrowheads="1"/>
          </p:cNvSpPr>
          <p:nvPr/>
        </p:nvSpPr>
        <p:spPr bwMode="auto">
          <a:xfrm>
            <a:off x="7991856" y="3687272"/>
            <a:ext cx="3755898" cy="3046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Miembr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del Instituto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Mexican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de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Contadore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Público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C.</a:t>
            </a: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Expositor y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conferencista</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en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curso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y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seminario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nivel</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nacional</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e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internacional</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organizado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por</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instituciones</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com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la Universidad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Panamericana</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Escuela Superior de Comercio,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Administración</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del Instituto </a:t>
            </a:r>
            <a:r>
              <a:rPr kumimoji="0" lang="en-US" altLang="en-US" sz="1600" b="0" i="0" u="none" strike="noStrike" kern="1200" cap="none" spc="0" normalizeH="0" baseline="0" noProof="0" err="1">
                <a:ln>
                  <a:noFill/>
                </a:ln>
                <a:solidFill>
                  <a:srgbClr val="FFFFFF"/>
                </a:solidFill>
                <a:effectLst/>
                <a:uLnTx/>
                <a:uFillTx/>
                <a:latin typeface="Calibri" panose="020F0502020204030204" pitchFamily="34" charset="0"/>
                <a:ea typeface="+mn-ea"/>
                <a:cs typeface="+mn-cs"/>
              </a:rPr>
              <a:t>Politécnico</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Nacional y </a:t>
            </a:r>
            <a:r>
              <a:rPr kumimoji="0" lang="en-US" altLang="en-US" sz="1600" b="0" i="1" u="none" strike="noStrike" kern="1200" cap="none" spc="0" normalizeH="0" baseline="0" noProof="0">
                <a:ln>
                  <a:noFill/>
                </a:ln>
                <a:solidFill>
                  <a:srgbClr val="FFFFFF"/>
                </a:solidFill>
                <a:effectLst/>
                <a:uLnTx/>
                <a:uFillTx/>
                <a:latin typeface="Calibri" panose="020F0502020204030204" pitchFamily="34" charset="0"/>
                <a:ea typeface="+mn-ea"/>
                <a:cs typeface="+mn-cs"/>
              </a:rPr>
              <a:t>Deloitte</a:t>
            </a:r>
            <a:r>
              <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 </a:t>
            </a:r>
            <a:r>
              <a:rPr kumimoji="0" lang="en-US" altLang="en-US" sz="1600" b="0" i="1" u="none" strike="noStrike" kern="1200" cap="none" spc="0" normalizeH="0" baseline="0" noProof="0" err="1">
                <a:ln>
                  <a:noFill/>
                </a:ln>
                <a:solidFill>
                  <a:srgbClr val="FFFFFF"/>
                </a:solidFill>
                <a:effectLst/>
                <a:uLnTx/>
                <a:uFillTx/>
                <a:latin typeface="Calibri" panose="020F0502020204030204" pitchFamily="34" charset="0"/>
                <a:ea typeface="+mn-ea"/>
                <a:cs typeface="+mn-cs"/>
              </a:rPr>
              <a:t>Touche</a:t>
            </a:r>
            <a:r>
              <a:rPr kumimoji="0" lang="en-US" altLang="en-US" sz="1600" b="0" i="1" u="none" strike="noStrike" kern="1200" cap="none" spc="0" normalizeH="0" baseline="0" noProof="0">
                <a:ln>
                  <a:noFill/>
                </a:ln>
                <a:solidFill>
                  <a:srgbClr val="FFFFFF"/>
                </a:solidFill>
                <a:effectLst/>
                <a:uLnTx/>
                <a:uFillTx/>
                <a:latin typeface="Calibri" panose="020F0502020204030204" pitchFamily="34" charset="0"/>
                <a:ea typeface="+mn-ea"/>
                <a:cs typeface="+mn-cs"/>
              </a:rPr>
              <a:t> Tohmatsu International.</a:t>
            </a:r>
            <a:endParaRPr kumimoji="0" lang="en-US" alt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pic>
        <p:nvPicPr>
          <p:cNvPr id="2" name="Picture 1">
            <a:extLst>
              <a:ext uri="{FF2B5EF4-FFF2-40B4-BE49-F238E27FC236}">
                <a16:creationId xmlns:a16="http://schemas.microsoft.com/office/drawing/2014/main" id="{15313171-5DFB-2DFB-30F4-0876932E4A24}"/>
              </a:ext>
            </a:extLst>
          </p:cNvPr>
          <p:cNvPicPr>
            <a:picLocks noChangeAspect="1"/>
          </p:cNvPicPr>
          <p:nvPr/>
        </p:nvPicPr>
        <p:blipFill>
          <a:blip r:embed="rId2"/>
          <a:stretch>
            <a:fillRect/>
          </a:stretch>
        </p:blipFill>
        <p:spPr>
          <a:xfrm>
            <a:off x="1324065" y="1812122"/>
            <a:ext cx="1794040" cy="1951495"/>
          </a:xfrm>
          <a:prstGeom prst="rect">
            <a:avLst/>
          </a:prstGeom>
        </p:spPr>
      </p:pic>
      <p:pic>
        <p:nvPicPr>
          <p:cNvPr id="3" name="Picture 2">
            <a:extLst>
              <a:ext uri="{FF2B5EF4-FFF2-40B4-BE49-F238E27FC236}">
                <a16:creationId xmlns:a16="http://schemas.microsoft.com/office/drawing/2014/main" id="{EC7B83EE-457E-DC90-DF30-94D85BDEF6B8}"/>
              </a:ext>
            </a:extLst>
          </p:cNvPr>
          <p:cNvPicPr>
            <a:picLocks noChangeAspect="1"/>
          </p:cNvPicPr>
          <p:nvPr/>
        </p:nvPicPr>
        <p:blipFill>
          <a:blip r:embed="rId3"/>
          <a:stretch>
            <a:fillRect/>
          </a:stretch>
        </p:blipFill>
        <p:spPr>
          <a:xfrm>
            <a:off x="4798318" y="1812122"/>
            <a:ext cx="2430772" cy="1951200"/>
          </a:xfrm>
          <a:prstGeom prst="rect">
            <a:avLst/>
          </a:prstGeom>
        </p:spPr>
      </p:pic>
      <p:pic>
        <p:nvPicPr>
          <p:cNvPr id="4" name="Picture 3">
            <a:extLst>
              <a:ext uri="{FF2B5EF4-FFF2-40B4-BE49-F238E27FC236}">
                <a16:creationId xmlns:a16="http://schemas.microsoft.com/office/drawing/2014/main" id="{773954B4-448D-AEA4-3E8E-813E9C0785FB}"/>
              </a:ext>
            </a:extLst>
          </p:cNvPr>
          <p:cNvPicPr>
            <a:picLocks noChangeAspect="1"/>
          </p:cNvPicPr>
          <p:nvPr/>
        </p:nvPicPr>
        <p:blipFill>
          <a:blip r:embed="rId4"/>
          <a:stretch>
            <a:fillRect/>
          </a:stretch>
        </p:blipFill>
        <p:spPr>
          <a:xfrm>
            <a:off x="8704569" y="1812122"/>
            <a:ext cx="2330472" cy="1951200"/>
          </a:xfrm>
          <a:prstGeom prst="rect">
            <a:avLst/>
          </a:prstGeom>
        </p:spPr>
      </p:pic>
      <p:sp>
        <p:nvSpPr>
          <p:cNvPr id="9" name="TextBox 3">
            <a:extLst>
              <a:ext uri="{FF2B5EF4-FFF2-40B4-BE49-F238E27FC236}">
                <a16:creationId xmlns:a16="http://schemas.microsoft.com/office/drawing/2014/main" id="{33DE9ECF-8497-A5CB-6718-DB1550E81D5E}"/>
              </a:ext>
            </a:extLst>
          </p:cNvPr>
          <p:cNvSpPr txBox="1">
            <a:spLocks noChangeArrowheads="1"/>
          </p:cNvSpPr>
          <p:nvPr/>
        </p:nvSpPr>
        <p:spPr bwMode="auto">
          <a:xfrm>
            <a:off x="606678" y="934920"/>
            <a:ext cx="1122565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MX" alt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Ingresó a la Firma en 1989 y a inicios del FY24 se le nombró </a:t>
            </a:r>
            <a:r>
              <a:rPr kumimoji="0" lang="es-MX" altLang="en-US" sz="1800" b="0" i="1" u="none" strike="noStrike" kern="1200" cap="none" spc="0" normalizeH="0" baseline="0" noProof="0" err="1">
                <a:ln>
                  <a:noFill/>
                </a:ln>
                <a:solidFill>
                  <a:prstClr val="white"/>
                </a:solidFill>
                <a:effectLst/>
                <a:uLnTx/>
                <a:uFillTx/>
                <a:latin typeface="Calibri" panose="020F0502020204030204" pitchFamily="34" charset="0"/>
                <a:ea typeface="+mn-ea"/>
                <a:cs typeface="+mn-cs"/>
              </a:rPr>
              <a:t>Chief</a:t>
            </a:r>
            <a:r>
              <a:rPr kumimoji="0" lang="es-MX" altLang="en-US" sz="1800" b="0" i="1" u="none" strike="noStrike" kern="1200" cap="none" spc="0" normalizeH="0" baseline="0" noProof="0">
                <a:ln>
                  <a:noFill/>
                </a:ln>
                <a:solidFill>
                  <a:prstClr val="white"/>
                </a:solidFill>
                <a:effectLst/>
                <a:uLnTx/>
                <a:uFillTx/>
                <a:latin typeface="Calibri" panose="020F0502020204030204" pitchFamily="34" charset="0"/>
                <a:ea typeface="+mn-ea"/>
                <a:cs typeface="+mn-cs"/>
              </a:rPr>
              <a:t> </a:t>
            </a:r>
            <a:r>
              <a:rPr kumimoji="0" lang="es-MX" altLang="en-US" sz="1800" b="0" i="1" u="none" strike="noStrike" kern="1200" cap="none" spc="0" normalizeH="0" baseline="0" noProof="0" err="1">
                <a:ln>
                  <a:noFill/>
                </a:ln>
                <a:solidFill>
                  <a:prstClr val="white"/>
                </a:solidFill>
                <a:effectLst/>
                <a:uLnTx/>
                <a:uFillTx/>
                <a:latin typeface="Calibri" panose="020F0502020204030204" pitchFamily="34" charset="0"/>
                <a:ea typeface="+mn-ea"/>
                <a:cs typeface="+mn-cs"/>
              </a:rPr>
              <a:t>Operating</a:t>
            </a:r>
            <a:r>
              <a:rPr kumimoji="0" lang="es-MX" altLang="en-US" sz="1800" b="0" i="1" u="none" strike="noStrike" kern="1200" cap="none" spc="0" normalizeH="0" baseline="0" noProof="0">
                <a:ln>
                  <a:noFill/>
                </a:ln>
                <a:solidFill>
                  <a:prstClr val="white"/>
                </a:solidFill>
                <a:effectLst/>
                <a:uLnTx/>
                <a:uFillTx/>
                <a:latin typeface="Calibri" panose="020F0502020204030204" pitchFamily="34" charset="0"/>
                <a:ea typeface="+mn-ea"/>
                <a:cs typeface="+mn-cs"/>
              </a:rPr>
              <a:t> </a:t>
            </a:r>
            <a:r>
              <a:rPr kumimoji="0" lang="es-MX" altLang="en-US" sz="1800" b="0" i="1" u="none" strike="noStrike" kern="1200" cap="none" spc="0" normalizeH="0" baseline="0" noProof="0" err="1">
                <a:ln>
                  <a:noFill/>
                </a:ln>
                <a:solidFill>
                  <a:prstClr val="white"/>
                </a:solidFill>
                <a:effectLst/>
                <a:uLnTx/>
                <a:uFillTx/>
                <a:latin typeface="Calibri" panose="020F0502020204030204" pitchFamily="34" charset="0"/>
                <a:ea typeface="+mn-ea"/>
                <a:cs typeface="+mn-cs"/>
              </a:rPr>
              <a:t>Officer</a:t>
            </a:r>
            <a:r>
              <a:rPr kumimoji="0" lang="es-MX" alt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 quedando como responsable de Tecnología y de Administración y Finanzas. </a:t>
            </a:r>
            <a:endParaRPr kumimoji="0" lang="en-US" alt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8800962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p:nvSpPr>
          <p:cNvPr id="100354" name="Title 1">
            <a:extLst>
              <a:ext uri="{FF2B5EF4-FFF2-40B4-BE49-F238E27FC236}">
                <a16:creationId xmlns:a16="http://schemas.microsoft.com/office/drawing/2014/main" id="{7E887238-6AEC-3F9C-D513-7B07208C0E41}"/>
              </a:ext>
            </a:extLst>
          </p:cNvPr>
          <p:cNvSpPr>
            <a:spLocks noGrp="1" noChangeArrowheads="1"/>
          </p:cNvSpPr>
          <p:nvPr>
            <p:ph type="title"/>
          </p:nvPr>
        </p:nvSpPr>
        <p:spPr>
          <a:xfrm>
            <a:off x="274638" y="1871663"/>
            <a:ext cx="4424362" cy="3114675"/>
          </a:xfrm>
        </p:spPr>
        <p:txBody>
          <a:bodyPr/>
          <a:lstStyle/>
          <a:p>
            <a:pPr eaLnBrk="1" hangingPunct="1"/>
            <a:r>
              <a:rPr lang="es-MX" altLang="en-US" sz="6000" b="1">
                <a:solidFill>
                  <a:schemeClr val="bg1"/>
                </a:solidFill>
              </a:rPr>
              <a:t>Preguntas y respuestas</a:t>
            </a:r>
            <a:r>
              <a:rPr lang="es-MX" altLang="en-US" sz="6000">
                <a:solidFill>
                  <a:schemeClr val="bg1"/>
                </a:solidFill>
              </a:rPr>
              <a:t>	</a:t>
            </a:r>
          </a:p>
        </p:txBody>
      </p:sp>
      <p:pic>
        <p:nvPicPr>
          <p:cNvPr id="100355" name="Picture 3">
            <a:extLst>
              <a:ext uri="{FF2B5EF4-FFF2-40B4-BE49-F238E27FC236}">
                <a16:creationId xmlns:a16="http://schemas.microsoft.com/office/drawing/2014/main" id="{DF9D978E-00D8-821F-514E-D4AC3175E1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43663" y="963613"/>
            <a:ext cx="4424362" cy="442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6FC2B4"/>
        </a:solidFill>
        <a:effectLst/>
      </p:bgPr>
    </p:bg>
    <p:spTree>
      <p:nvGrpSpPr>
        <p:cNvPr id="1" name=""/>
        <p:cNvGrpSpPr/>
        <p:nvPr/>
      </p:nvGrpSpPr>
      <p:grpSpPr>
        <a:xfrm>
          <a:off x="0" y="0"/>
          <a:ext cx="0" cy="0"/>
          <a:chOff x="0" y="0"/>
          <a:chExt cx="0" cy="0"/>
        </a:xfrm>
      </p:grpSpPr>
      <p:sp>
        <p:nvSpPr>
          <p:cNvPr id="73730" name="Title 1">
            <a:extLst>
              <a:ext uri="{FF2B5EF4-FFF2-40B4-BE49-F238E27FC236}">
                <a16:creationId xmlns:a16="http://schemas.microsoft.com/office/drawing/2014/main" id="{5C315F77-9983-3F8B-CED7-59B032306F56}"/>
              </a:ext>
            </a:extLst>
          </p:cNvPr>
          <p:cNvSpPr>
            <a:spLocks noGrp="1" noChangeArrowheads="1"/>
          </p:cNvSpPr>
          <p:nvPr>
            <p:ph type="title"/>
          </p:nvPr>
        </p:nvSpPr>
        <p:spPr>
          <a:xfrm>
            <a:off x="413535" y="1998984"/>
            <a:ext cx="4424362" cy="3114675"/>
          </a:xfrm>
        </p:spPr>
        <p:txBody>
          <a:bodyPr/>
          <a:lstStyle/>
          <a:p>
            <a:pPr eaLnBrk="1" hangingPunct="1"/>
            <a:r>
              <a:rPr lang="es-MX" altLang="en-US" sz="6000" b="1">
                <a:solidFill>
                  <a:schemeClr val="bg1"/>
                </a:solidFill>
              </a:rPr>
              <a:t>Ya volvemos</a:t>
            </a:r>
            <a:r>
              <a:rPr lang="es-MX" altLang="en-US" sz="6000">
                <a:solidFill>
                  <a:schemeClr val="bg1"/>
                </a:solidFill>
              </a:rPr>
              <a:t>	</a:t>
            </a:r>
          </a:p>
        </p:txBody>
      </p:sp>
      <p:pic>
        <p:nvPicPr>
          <p:cNvPr id="73731" name="Picture 8">
            <a:extLst>
              <a:ext uri="{FF2B5EF4-FFF2-40B4-BE49-F238E27FC236}">
                <a16:creationId xmlns:a16="http://schemas.microsoft.com/office/drawing/2014/main" id="{0698DFB1-0D2F-58C4-F2B4-015827345D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51513" y="895350"/>
            <a:ext cx="4876800" cy="48768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11.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2.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a06554d-3de1-4c4c-b8c3-db2ba959e584" xsi:nil="true"/>
    <lcf76f155ced4ddcb4097134ff3c332f xmlns="ada39b22-7520-43b4-b979-ffa326a7b90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1A5EBFF0ED7224AA7F257ABE4475546" ma:contentTypeVersion="15" ma:contentTypeDescription="Create a new document." ma:contentTypeScope="" ma:versionID="d466b9472532fc992494b8ad601d7d3c">
  <xsd:schema xmlns:xsd="http://www.w3.org/2001/XMLSchema" xmlns:xs="http://www.w3.org/2001/XMLSchema" xmlns:p="http://schemas.microsoft.com/office/2006/metadata/properties" xmlns:ns2="ada39b22-7520-43b4-b979-ffa326a7b902" xmlns:ns3="da06554d-3de1-4c4c-b8c3-db2ba959e584" targetNamespace="http://schemas.microsoft.com/office/2006/metadata/properties" ma:root="true" ma:fieldsID="50a5dd362dde15edbcea8d207d8d7315" ns2:_="" ns3:_="">
    <xsd:import namespace="ada39b22-7520-43b4-b979-ffa326a7b902"/>
    <xsd:import namespace="da06554d-3de1-4c4c-b8c3-db2ba959e584"/>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a39b22-7520-43b4-b979-ffa326a7b9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a06554d-3de1-4c4c-b8c3-db2ba959e58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08287e1c-2f1d-4ab1-8473-da66772342e8}" ma:internalName="TaxCatchAll" ma:showField="CatchAllData" ma:web="da06554d-3de1-4c4c-b8c3-db2ba959e5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63D59D-FE91-4C56-A326-EC32EF276BE9}">
  <ds:schemaRefs>
    <ds:schemaRef ds:uri="ada39b22-7520-43b4-b979-ffa326a7b902"/>
    <ds:schemaRef ds:uri="da06554d-3de1-4c4c-b8c3-db2ba959e58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801A5F2-5510-4657-A228-C315C4ED638B}">
  <ds:schemaRefs>
    <ds:schemaRef ds:uri="http://schemas.microsoft.com/sharepoint/v3/contenttype/forms"/>
  </ds:schemaRefs>
</ds:datastoreItem>
</file>

<file path=customXml/itemProps3.xml><?xml version="1.0" encoding="utf-8"?>
<ds:datastoreItem xmlns:ds="http://schemas.openxmlformats.org/officeDocument/2006/customXml" ds:itemID="{19F13C59-FF0F-4F6B-908B-E36A093EA8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a39b22-7520-43b4-b979-ffa326a7b902"/>
    <ds:schemaRef ds:uri="da06554d-3de1-4c4c-b8c3-db2ba959e5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63</Slides>
  <Notes>13</Notes>
  <HiddenSlides>0</HiddenSlides>
  <ScaleCrop>false</ScaleCrop>
  <HeadingPairs>
    <vt:vector size="4" baseType="variant">
      <vt:variant>
        <vt:lpstr>Theme</vt:lpstr>
      </vt:variant>
      <vt:variant>
        <vt:i4>12</vt:i4>
      </vt:variant>
      <vt:variant>
        <vt:lpstr>Slide Titles</vt:lpstr>
      </vt:variant>
      <vt:variant>
        <vt:i4>63</vt:i4>
      </vt:variant>
    </vt:vector>
  </HeadingPairs>
  <TitlesOfParts>
    <vt:vector size="75" baseType="lpstr">
      <vt:lpstr>Office Theme</vt:lpstr>
      <vt:lpstr>5_Office Theme</vt:lpstr>
      <vt:lpstr>7_Office Theme</vt:lpstr>
      <vt:lpstr>2_Office Theme</vt:lpstr>
      <vt:lpstr>1_Office Theme</vt:lpstr>
      <vt:lpstr>3_Office Theme</vt:lpstr>
      <vt:lpstr>4_Office Theme</vt:lpstr>
      <vt:lpstr>6_Office Theme</vt:lpstr>
      <vt:lpstr>8_Office Theme</vt:lpstr>
      <vt:lpstr>Deloitte Brand Theme</vt:lpstr>
      <vt:lpstr>9_Office Theme</vt:lpstr>
      <vt:lpstr>11_Office Theme</vt:lpstr>
      <vt:lpstr>PowerPoint Presentation</vt:lpstr>
      <vt:lpstr>PowerPoint Presentation</vt:lpstr>
      <vt:lpstr>Agenda</vt:lpstr>
      <vt:lpstr>Dinámica: Maratón</vt:lpstr>
      <vt:lpstr>PowerPoint Presentation</vt:lpstr>
      <vt:lpstr>Entrevista a Sergio Vargas</vt:lpstr>
      <vt:lpstr>PowerPoint Presentation</vt:lpstr>
      <vt:lpstr>Preguntas y respuestas </vt:lpstr>
      <vt:lpstr>Ya volvemos </vt:lpstr>
      <vt:lpstr>Foros TI</vt:lpstr>
      <vt:lpstr>PowerPoint Presentation</vt:lpstr>
      <vt:lpstr>Para empezar, ¿qué es una I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a Revolución Tecnológica de la IA</vt:lpstr>
      <vt:lpstr>PowerPoint Presentation</vt:lpstr>
      <vt:lpstr>Bienvenidos FY24</vt:lpstr>
      <vt:lpstr>PowerPoint Presentation</vt:lpstr>
      <vt:lpstr>Dinámica de reflexión</vt:lpstr>
      <vt:lpstr>Las dos hormiga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a volvemos </vt:lpstr>
      <vt:lpstr>Reconocimiento a Luis Javier Fernández</vt:lpstr>
      <vt:lpstr>PowerPoint Presentation</vt:lpstr>
      <vt:lpstr>Participa en la encuesta</vt:lpstr>
      <vt:lpstr>¡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yes, Ivan De Jesus</dc:creator>
  <cp:revision>2</cp:revision>
  <cp:lastPrinted>2023-05-19T13:55:06Z</cp:lastPrinted>
  <dcterms:created xsi:type="dcterms:W3CDTF">2023-05-09T16:07:28Z</dcterms:created>
  <dcterms:modified xsi:type="dcterms:W3CDTF">2023-12-01T15:0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09T16:07:2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71c9f57-f8b1-4a0f-9060-54b593849d44</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51A5EBFF0ED7224AA7F257ABE4475546</vt:lpwstr>
  </property>
</Properties>
</file>